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5.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7.xml" ContentType="application/vnd.openxmlformats-officedocument.theme+xml"/>
  <Override PartName="/ppt/slideLayouts/slideLayout113.xml" ContentType="application/vnd.openxmlformats-officedocument.presentationml.slideLayout+xml"/>
  <Override PartName="/ppt/theme/theme8.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2" r:id="rId1"/>
    <p:sldMasterId id="2147483716" r:id="rId2"/>
    <p:sldMasterId id="2147483746" r:id="rId3"/>
    <p:sldMasterId id="2147483769" r:id="rId4"/>
    <p:sldMasterId id="2147483775" r:id="rId5"/>
    <p:sldMasterId id="2147483788" r:id="rId6"/>
    <p:sldMasterId id="2147483816" r:id="rId7"/>
    <p:sldMasterId id="2147483830" r:id="rId8"/>
  </p:sldMasterIdLst>
  <p:sldIdLst>
    <p:sldId id="1448943306" r:id="rId9"/>
    <p:sldId id="2147326983" r:id="rId10"/>
    <p:sldId id="1448943379" r:id="rId11"/>
    <p:sldId id="1448943386" r:id="rId12"/>
    <p:sldId id="1448943380" r:id="rId13"/>
    <p:sldId id="1448943384" r:id="rId14"/>
    <p:sldId id="256" r:id="rId15"/>
    <p:sldId id="1448943324" r:id="rId16"/>
    <p:sldId id="1448943311" r:id="rId17"/>
    <p:sldId id="1448943312" r:id="rId18"/>
    <p:sldId id="2147326986" r:id="rId19"/>
    <p:sldId id="257" r:id="rId20"/>
    <p:sldId id="1448943376" r:id="rId21"/>
    <p:sldId id="1448943335" r:id="rId22"/>
    <p:sldId id="1448943336" r:id="rId23"/>
    <p:sldId id="1448943337" r:id="rId24"/>
    <p:sldId id="304" r:id="rId25"/>
    <p:sldId id="1448943313" r:id="rId26"/>
    <p:sldId id="1448943314" r:id="rId27"/>
    <p:sldId id="2147326985" r:id="rId28"/>
    <p:sldId id="2147326984" r:id="rId29"/>
    <p:sldId id="1448943387" r:id="rId30"/>
    <p:sldId id="1448943389" r:id="rId31"/>
    <p:sldId id="1448943388" r:id="rId32"/>
    <p:sldId id="1448943390" r:id="rId33"/>
    <p:sldId id="1448943394" r:id="rId34"/>
    <p:sldId id="1448943382" r:id="rId35"/>
    <p:sldId id="1448943395" r:id="rId36"/>
    <p:sldId id="1448943396" r:id="rId37"/>
    <p:sldId id="1448943393" r:id="rId38"/>
    <p:sldId id="1448943391" r:id="rId39"/>
    <p:sldId id="1448943392" r:id="rId40"/>
    <p:sldId id="1448943345" r:id="rId41"/>
    <p:sldId id="297" r:id="rId42"/>
    <p:sldId id="298" r:id="rId43"/>
    <p:sldId id="271" r:id="rId44"/>
    <p:sldId id="273" r:id="rId45"/>
    <p:sldId id="274" r:id="rId46"/>
    <p:sldId id="299" r:id="rId47"/>
    <p:sldId id="300" r:id="rId48"/>
    <p:sldId id="301" r:id="rId49"/>
    <p:sldId id="302" r:id="rId50"/>
    <p:sldId id="303" r:id="rId51"/>
    <p:sldId id="314" r:id="rId52"/>
    <p:sldId id="317" r:id="rId5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548" autoAdjust="0"/>
    <p:restoredTop sz="94660"/>
  </p:normalViewPr>
  <p:slideViewPr>
    <p:cSldViewPr snapToGrid="0">
      <p:cViewPr varScale="1">
        <p:scale>
          <a:sx n="82" d="100"/>
          <a:sy n="82" d="100"/>
        </p:scale>
        <p:origin x="480"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viewProps" Target="view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 Type="http://schemas.openxmlformats.org/officeDocument/2006/relationships/slideMaster" Target="slideMasters/slideMaster5.xml"/><Relationship Id="rId19" Type="http://schemas.openxmlformats.org/officeDocument/2006/relationships/slide" Target="slides/slide11.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43.xml"/><Relationship Id="rId3"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tableStyles" Target="tableStyles.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https://thermofisher.sharepoint.com/sites/functions/Marketing/Pages/Customer-Value-Proposition.aspx" TargetMode="External"/><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4.pn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4.pn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4.pn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4.png"/><Relationship Id="rId2" Type="http://schemas.openxmlformats.org/officeDocument/2006/relationships/image" Target="../media/image12.png"/><Relationship Id="rId1" Type="http://schemas.openxmlformats.org/officeDocument/2006/relationships/slideMaster" Target="../slideMasters/slideMaster2.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https://thermofisher.sharepoint.com/sites/functions/Marketing/Pages/Customer-Value-Proposition.aspx" TargetMode="External"/><Relationship Id="rId1" Type="http://schemas.openxmlformats.org/officeDocument/2006/relationships/slideMaster" Target="../slideMasters/slideMaster3.xml"/><Relationship Id="rId4" Type="http://schemas.openxmlformats.org/officeDocument/2006/relationships/image" Target="../media/image21.sv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image" Target="../media/image7.png"/><Relationship Id="rId7" Type="http://schemas.openxmlformats.org/officeDocument/2006/relationships/image" Target="../media/image22.png"/><Relationship Id="rId2" Type="http://schemas.openxmlformats.org/officeDocument/2006/relationships/image" Target="../media/image6.png"/><Relationship Id="rId1" Type="http://schemas.openxmlformats.org/officeDocument/2006/relationships/slideMaster" Target="../slideMasters/slideMaster3.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4.png"/><Relationship Id="rId2" Type="http://schemas.openxmlformats.org/officeDocument/2006/relationships/image" Target="../media/image12.png"/><Relationship Id="rId1" Type="http://schemas.openxmlformats.org/officeDocument/2006/relationships/slideMaster" Target="../slideMasters/slideMaster3.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4.png"/><Relationship Id="rId2" Type="http://schemas.openxmlformats.org/officeDocument/2006/relationships/image" Target="../media/image12.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https://thermofisher.sharepoint.com/sites/functions/Marketing/Pages/Customer-Value-Proposition.aspx" TargetMode="External"/><Relationship Id="rId1" Type="http://schemas.openxmlformats.org/officeDocument/2006/relationships/slideMaster" Target="../slideMasters/slideMaster6.xml"/><Relationship Id="rId4" Type="http://schemas.openxmlformats.org/officeDocument/2006/relationships/image" Target="../media/image4.sv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Master" Target="../slideMasters/slideMaster6.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4.png"/><Relationship Id="rId2" Type="http://schemas.openxmlformats.org/officeDocument/2006/relationships/image" Target="../media/image12.png"/><Relationship Id="rId1" Type="http://schemas.openxmlformats.org/officeDocument/2006/relationships/slideMaster" Target="../slideMasters/slideMaster6.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4.png"/><Relationship Id="rId2" Type="http://schemas.openxmlformats.org/officeDocument/2006/relationships/image" Target="../media/image12.png"/><Relationship Id="rId1" Type="http://schemas.openxmlformats.org/officeDocument/2006/relationships/slideMaster" Target="../slideMasters/slideMaster6.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4.png"/><Relationship Id="rId2" Type="http://schemas.openxmlformats.org/officeDocument/2006/relationships/image" Target="../media/image12.png"/><Relationship Id="rId1" Type="http://schemas.openxmlformats.org/officeDocument/2006/relationships/slideMaster" Target="../slideMasters/slideMaster6.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xml"/><Relationship Id="rId1" Type="http://schemas.openxmlformats.org/officeDocument/2006/relationships/tags" Target="../tags/tag9.xml"/></Relationships>
</file>

<file path=ppt/slideLayouts/_rels/slideLayout91.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1.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xml"/><Relationship Id="rId1" Type="http://schemas.openxmlformats.org/officeDocument/2006/relationships/tags" Target="../tags/tag12.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mportant Disclaimer">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0081F8D7-94E1-D14A-9B72-83893197CFDB}"/>
              </a:ext>
            </a:extLst>
          </p:cNvPr>
          <p:cNvSpPr/>
          <p:nvPr userDrawn="1"/>
        </p:nvSpPr>
        <p:spPr>
          <a:xfrm>
            <a:off x="304802" y="1447801"/>
            <a:ext cx="4876801" cy="234730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46" name="Text Placeholder 9">
            <a:extLst>
              <a:ext uri="{FF2B5EF4-FFF2-40B4-BE49-F238E27FC236}">
                <a16:creationId xmlns:a16="http://schemas.microsoft.com/office/drawing/2014/main" id="{4DB97ED0-9771-E044-B63D-01D4F8A70AD0}"/>
              </a:ext>
            </a:extLst>
          </p:cNvPr>
          <p:cNvSpPr txBox="1">
            <a:spLocks/>
          </p:cNvSpPr>
          <p:nvPr userDrawn="1"/>
        </p:nvSpPr>
        <p:spPr>
          <a:xfrm>
            <a:off x="300227" y="3966984"/>
            <a:ext cx="4869915" cy="2586217"/>
          </a:xfrm>
          <a:prstGeom prst="rect">
            <a:avLst/>
          </a:prstGeom>
        </p:spPr>
        <p:txBody>
          <a:bodyPr vert="horz" lIns="0" tIns="0" rIns="0" bIns="0" numCol="1" rtlCol="0" anchor="t">
            <a:noAutofit/>
          </a:bodyPr>
          <a:lstStyle>
            <a:lvl1pPr marL="0" indent="0" algn="l" defTabSz="914400" rtl="0" eaLnBrk="1" latinLnBrk="0" hangingPunct="1">
              <a:lnSpc>
                <a:spcPct val="100000"/>
              </a:lnSpc>
              <a:spcBef>
                <a:spcPts val="400"/>
              </a:spcBef>
              <a:buClr>
                <a:schemeClr val="accent4"/>
              </a:buClr>
              <a:buSzPct val="100000"/>
              <a:buFont typeface="Arial" panose="020B0604020202020204" pitchFamily="34" charset="0"/>
              <a:buNone/>
              <a:tabLst/>
              <a:defRPr sz="2000" b="0" kern="1200">
                <a:solidFill>
                  <a:schemeClr val="tx1"/>
                </a:solidFill>
                <a:latin typeface="+mn-lt"/>
                <a:ea typeface="+mn-ea"/>
                <a:cs typeface="+mn-cs"/>
              </a:defRPr>
            </a:lvl1pPr>
            <a:lvl2pPr marL="236537" marR="0" indent="0" algn="l" defTabSz="914400" rtl="0" eaLnBrk="1" fontAlgn="auto" latinLnBrk="0" hangingPunct="1">
              <a:lnSpc>
                <a:spcPct val="100000"/>
              </a:lnSpc>
              <a:spcBef>
                <a:spcPts val="400"/>
              </a:spcBef>
              <a:spcAft>
                <a:spcPts val="0"/>
              </a:spcAft>
              <a:buClrTx/>
              <a:buSzPct val="76000"/>
              <a:buFont typeface="Arial" panose="020B0604020202020204" pitchFamily="34" charset="0"/>
              <a:buNone/>
              <a:tabLst/>
              <a:defRPr sz="1800" b="0" kern="1200">
                <a:solidFill>
                  <a:schemeClr val="tx1"/>
                </a:solidFill>
                <a:latin typeface="+mn-lt"/>
                <a:ea typeface="+mn-ea"/>
                <a:cs typeface="+mn-cs"/>
              </a:defRPr>
            </a:lvl2pPr>
            <a:lvl3pPr marL="749300" marR="0" indent="-285750" algn="l" defTabSz="914400" rtl="0" eaLnBrk="1" fontAlgn="auto" latinLnBrk="0" hangingPunct="1">
              <a:lnSpc>
                <a:spcPct val="100000"/>
              </a:lnSpc>
              <a:spcBef>
                <a:spcPts val="400"/>
              </a:spcBef>
              <a:spcAft>
                <a:spcPts val="0"/>
              </a:spcAft>
              <a:buClrTx/>
              <a:buSzPct val="80000"/>
              <a:buFont typeface="System Font Regular"/>
              <a:buChar char="-"/>
              <a:tabLst/>
              <a:defRPr sz="1400" b="0" kern="1200">
                <a:solidFill>
                  <a:schemeClr val="tx1"/>
                </a:solidFill>
                <a:latin typeface="+mn-lt"/>
                <a:ea typeface="+mn-ea"/>
                <a:cs typeface="+mn-cs"/>
              </a:defRPr>
            </a:lvl3pPr>
            <a:lvl4pPr marL="690563" marR="0" indent="0" algn="l" defTabSz="914400" rtl="0" eaLnBrk="1" fontAlgn="auto" latinLnBrk="0" hangingPunct="1">
              <a:lnSpc>
                <a:spcPct val="100000"/>
              </a:lnSpc>
              <a:spcBef>
                <a:spcPts val="400"/>
              </a:spcBef>
              <a:spcAft>
                <a:spcPts val="0"/>
              </a:spcAft>
              <a:buClrTx/>
              <a:buSzPct val="80000"/>
              <a:buFont typeface="Arial" panose="020B0604020202020204" pitchFamily="34" charset="0"/>
              <a:buNone/>
              <a:tabLst/>
              <a:defRPr sz="1200" b="0" kern="1200">
                <a:solidFill>
                  <a:schemeClr val="tx1"/>
                </a:solidFill>
                <a:latin typeface="+mn-lt"/>
                <a:ea typeface="+mn-ea"/>
                <a:cs typeface="+mn-cs"/>
              </a:defRPr>
            </a:lvl4pPr>
            <a:lvl5pPr marL="909637" marR="0" indent="0" algn="l" defTabSz="914400" rtl="0" eaLnBrk="1" fontAlgn="auto" latinLnBrk="0" hangingPunct="1">
              <a:lnSpc>
                <a:spcPct val="100000"/>
              </a:lnSpc>
              <a:spcBef>
                <a:spcPts val="400"/>
              </a:spcBef>
              <a:spcAft>
                <a:spcPts val="0"/>
              </a:spcAft>
              <a:buClrTx/>
              <a:buSzPct val="80000"/>
              <a:buFont typeface="Arial" panose="020B0604020202020204" pitchFamily="34" charset="0"/>
              <a:buNone/>
              <a:tabLst/>
              <a:defRPr sz="11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40000"/>
              </a:lnSpc>
            </a:pPr>
            <a:r>
              <a:rPr lang="en-US" sz="900" b="1"/>
              <a:t>External disclaimer criteria:</a:t>
            </a:r>
          </a:p>
          <a:p>
            <a:pPr marL="128584" indent="-128584">
              <a:lnSpc>
                <a:spcPct val="140000"/>
              </a:lnSpc>
              <a:buFont typeface="Arial" panose="020B0604020202020204" pitchFamily="34" charset="0"/>
              <a:buChar char="•"/>
            </a:pPr>
            <a:r>
              <a:rPr lang="en-US" sz="675"/>
              <a:t>Before sharing confidential information externally, ensure you have a confidential disclosure agreement (CDA) in place. The </a:t>
            </a:r>
            <a:r>
              <a:rPr lang="en-US" sz="675" b="1"/>
              <a:t>“Proprietary &amp; Confidential” </a:t>
            </a:r>
            <a:r>
              <a:rPr lang="en-US" sz="675"/>
              <a:t>disclaimer does not replace a CDA.</a:t>
            </a:r>
          </a:p>
          <a:p>
            <a:pPr marL="128584" indent="-128584">
              <a:lnSpc>
                <a:spcPct val="140000"/>
              </a:lnSpc>
              <a:buFont typeface="Arial" panose="020B0604020202020204" pitchFamily="34" charset="0"/>
              <a:buChar char="•"/>
            </a:pPr>
            <a:r>
              <a:rPr lang="en-US" sz="675"/>
              <a:t>Before removing the </a:t>
            </a:r>
            <a:r>
              <a:rPr lang="en-US" sz="675" b="1"/>
              <a:t>“Proprietary &amp; Confidential” </a:t>
            </a:r>
            <a:r>
              <a:rPr lang="en-US" sz="675"/>
              <a:t>disclaimer to exhibit content externally, you must ensure the content is appropriate from a Business, Division or Group entity; Legal; and Regulatory Affairs perspective. This means following your business’s, division’s or group’s process for obtaining Legal and Regulatory Affairs approval.</a:t>
            </a:r>
          </a:p>
          <a:p>
            <a:pPr marL="128584" indent="-128584">
              <a:lnSpc>
                <a:spcPct val="140000"/>
              </a:lnSpc>
              <a:buFont typeface="Arial" panose="020B0604020202020204" pitchFamily="34" charset="0"/>
              <a:buChar char="•"/>
            </a:pPr>
            <a:r>
              <a:rPr lang="en-US" sz="675"/>
              <a:t>If you’re importing slides from the </a:t>
            </a:r>
            <a:r>
              <a:rPr lang="en-US" sz="675">
                <a:hlinkClick r:id="rId2">
                  <a:extLst>
                    <a:ext uri="{A12FA001-AC4F-418D-AE19-62706E023703}">
                      <ahyp:hlinkClr xmlns:ahyp="http://schemas.microsoft.com/office/drawing/2018/hyperlinkcolor" val="tx"/>
                    </a:ext>
                  </a:extLst>
                </a:hlinkClick>
              </a:rPr>
              <a:t>Customer Value Proposition</a:t>
            </a:r>
            <a:r>
              <a:rPr lang="en-US" sz="675"/>
              <a:t> deck, which is cleared for external use and not considered Proprietary &amp; Confidential, you can leave a disclaimer off those slides and simply list the author’s email and date published on those slides.</a:t>
            </a:r>
          </a:p>
        </p:txBody>
      </p:sp>
      <p:pic>
        <p:nvPicPr>
          <p:cNvPr id="47" name="Graphic 46">
            <a:extLst>
              <a:ext uri="{FF2B5EF4-FFF2-40B4-BE49-F238E27FC236}">
                <a16:creationId xmlns:a16="http://schemas.microsoft.com/office/drawing/2014/main" id="{5957BB70-3758-2241-95DE-E49DED9F761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44035" y="1665185"/>
            <a:ext cx="356616" cy="365760"/>
          </a:xfrm>
          <a:prstGeom prst="rect">
            <a:avLst/>
          </a:prstGeom>
        </p:spPr>
      </p:pic>
      <p:cxnSp>
        <p:nvCxnSpPr>
          <p:cNvPr id="48" name="Straight Connector 47">
            <a:extLst>
              <a:ext uri="{FF2B5EF4-FFF2-40B4-BE49-F238E27FC236}">
                <a16:creationId xmlns:a16="http://schemas.microsoft.com/office/drawing/2014/main" id="{63783495-6D28-834A-90D4-F810D049B150}"/>
              </a:ext>
            </a:extLst>
          </p:cNvPr>
          <p:cNvCxnSpPr>
            <a:cxnSpLocks/>
          </p:cNvCxnSpPr>
          <p:nvPr userDrawn="1"/>
        </p:nvCxnSpPr>
        <p:spPr>
          <a:xfrm>
            <a:off x="5505901" y="1481339"/>
            <a:ext cx="0" cy="472440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23692791-F43E-EE45-B104-207B0D8D1E5C}"/>
              </a:ext>
            </a:extLst>
          </p:cNvPr>
          <p:cNvSpPr txBox="1"/>
          <p:nvPr userDrawn="1"/>
        </p:nvSpPr>
        <p:spPr>
          <a:xfrm>
            <a:off x="1143002" y="1667692"/>
            <a:ext cx="3807134" cy="1873031"/>
          </a:xfrm>
          <a:prstGeom prst="rect">
            <a:avLst/>
          </a:prstGeom>
          <a:noFill/>
        </p:spPr>
        <p:txBody>
          <a:bodyPr wrap="square" lIns="0" tIns="0" rIns="0" bIns="0" rtlCol="0">
            <a:normAutofit/>
          </a:bodyPr>
          <a:lstStyle/>
          <a:p>
            <a:pPr defTabSz="685778">
              <a:lnSpc>
                <a:spcPct val="120000"/>
              </a:lnSpc>
              <a:spcBef>
                <a:spcPts val="150"/>
              </a:spcBef>
              <a:buClr>
                <a:schemeClr val="tx2"/>
              </a:buClr>
              <a:buSzPct val="100000"/>
            </a:pPr>
            <a:r>
              <a:rPr lang="en-US" sz="825" b="1">
                <a:solidFill>
                  <a:schemeClr val="bg1"/>
                </a:solidFill>
              </a:rPr>
              <a:t>Important:</a:t>
            </a:r>
            <a:r>
              <a:rPr lang="en-US" sz="825">
                <a:solidFill>
                  <a:schemeClr val="bg1"/>
                </a:solidFill>
              </a:rPr>
              <a:t> This template contains a default </a:t>
            </a:r>
            <a:r>
              <a:rPr lang="en-US" sz="825" b="1">
                <a:solidFill>
                  <a:schemeClr val="bg1"/>
                </a:solidFill>
              </a:rPr>
              <a:t>“Proprietary &amp; Confidential” </a:t>
            </a:r>
            <a:r>
              <a:rPr lang="en-US" sz="825">
                <a:solidFill>
                  <a:schemeClr val="bg1"/>
                </a:solidFill>
              </a:rPr>
              <a:t>disclaimer in the footer. It is designed to protect information that we want to protect as </a:t>
            </a:r>
            <a:r>
              <a:rPr lang="en-US" sz="825" b="1">
                <a:solidFill>
                  <a:schemeClr val="bg1"/>
                </a:solidFill>
              </a:rPr>
              <a:t>internal use only </a:t>
            </a:r>
            <a:r>
              <a:rPr lang="en-US" sz="825">
                <a:solidFill>
                  <a:schemeClr val="bg1"/>
                </a:solidFill>
              </a:rPr>
              <a:t>and don't want to share with third parties.  You should use this unless your material meets criteria that would allow it be shared externally.</a:t>
            </a:r>
            <a:br>
              <a:rPr lang="en-US" sz="825">
                <a:solidFill>
                  <a:schemeClr val="bg1"/>
                </a:solidFill>
              </a:rPr>
            </a:br>
            <a:endParaRPr lang="en-US" sz="825">
              <a:solidFill>
                <a:schemeClr val="bg1"/>
              </a:solidFill>
            </a:endParaRPr>
          </a:p>
          <a:p>
            <a:pPr defTabSz="685778">
              <a:lnSpc>
                <a:spcPct val="120000"/>
              </a:lnSpc>
              <a:spcBef>
                <a:spcPts val="150"/>
              </a:spcBef>
              <a:buClr>
                <a:schemeClr val="tx2"/>
              </a:buClr>
              <a:buSzPct val="100000"/>
            </a:pPr>
            <a:r>
              <a:rPr lang="en-US" sz="825">
                <a:solidFill>
                  <a:schemeClr val="bg1"/>
                </a:solidFill>
              </a:rPr>
              <a:t>To edit the footer, click Insert &gt; Header &amp; Footer, make the change in the pop-up window, and then choose “Apply” for one slide or “Apply to all” for the entire deck.</a:t>
            </a:r>
          </a:p>
        </p:txBody>
      </p:sp>
      <p:sp>
        <p:nvSpPr>
          <p:cNvPr id="79" name="Footer Placeholder 1">
            <a:extLst>
              <a:ext uri="{FF2B5EF4-FFF2-40B4-BE49-F238E27FC236}">
                <a16:creationId xmlns:a16="http://schemas.microsoft.com/office/drawing/2014/main" id="{555EAE1F-5676-C34A-8CF6-B38C31AF80D9}"/>
              </a:ext>
            </a:extLst>
          </p:cNvPr>
          <p:cNvSpPr>
            <a:spLocks noGrp="1"/>
          </p:cNvSpPr>
          <p:nvPr>
            <p:ph type="ftr" sz="quarter" idx="11"/>
          </p:nvPr>
        </p:nvSpPr>
        <p:spPr>
          <a:xfrm>
            <a:off x="304801" y="6553202"/>
            <a:ext cx="5791200" cy="304799"/>
          </a:xfrm>
        </p:spPr>
        <p:txBody>
          <a:bodyPr/>
          <a:lstStyle/>
          <a:p>
            <a:r>
              <a:rPr lang="en-US"/>
              <a:t>Proprietary &amp; Confidential |  </a:t>
            </a:r>
            <a:r>
              <a:rPr lang="en-US" err="1"/>
              <a:t>authoremail@thermofisher.com</a:t>
            </a:r>
            <a:r>
              <a:rPr lang="en-US"/>
              <a:t> | 5-August-2020</a:t>
            </a:r>
          </a:p>
        </p:txBody>
      </p:sp>
      <p:sp>
        <p:nvSpPr>
          <p:cNvPr id="80" name="Slide Number Placeholder 2">
            <a:extLst>
              <a:ext uri="{FF2B5EF4-FFF2-40B4-BE49-F238E27FC236}">
                <a16:creationId xmlns:a16="http://schemas.microsoft.com/office/drawing/2014/main" id="{B2F62D11-9A5D-6545-93AD-739D274B4BC5}"/>
              </a:ext>
            </a:extLst>
          </p:cNvPr>
          <p:cNvSpPr>
            <a:spLocks noGrp="1"/>
          </p:cNvSpPr>
          <p:nvPr>
            <p:ph type="sldNum" sz="quarter" idx="13"/>
          </p:nvPr>
        </p:nvSpPr>
        <p:spPr>
          <a:xfrm>
            <a:off x="2" y="6553202"/>
            <a:ext cx="304799" cy="304799"/>
          </a:xfrm>
        </p:spPr>
        <p:txBody>
          <a:bodyPr/>
          <a:lstStyle/>
          <a:p>
            <a:fld id="{89006F1E-66CD-4A4B-9370-B4A3080F0E6C}" type="slidenum">
              <a:rPr lang="en-US" smtClean="0"/>
              <a:pPr/>
              <a:t>‹#›</a:t>
            </a:fld>
            <a:endParaRPr lang="en-US"/>
          </a:p>
        </p:txBody>
      </p:sp>
      <p:sp>
        <p:nvSpPr>
          <p:cNvPr id="82" name="Title 6">
            <a:extLst>
              <a:ext uri="{FF2B5EF4-FFF2-40B4-BE49-F238E27FC236}">
                <a16:creationId xmlns:a16="http://schemas.microsoft.com/office/drawing/2014/main" id="{E671D4F8-A815-C84C-8B84-2BC0FD804D52}"/>
              </a:ext>
            </a:extLst>
          </p:cNvPr>
          <p:cNvSpPr txBox="1">
            <a:spLocks/>
          </p:cNvSpPr>
          <p:nvPr/>
        </p:nvSpPr>
        <p:spPr>
          <a:xfrm>
            <a:off x="304801" y="304800"/>
            <a:ext cx="9753600" cy="381001"/>
          </a:xfrm>
          <a:prstGeom prst="rect">
            <a:avLst/>
          </a:prstGeom>
        </p:spPr>
        <p:txBody>
          <a:bodyPr lIns="0" tIns="0" rIns="0" bIns="0"/>
          <a:lst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a:lstStyle>
          <a:p>
            <a:r>
              <a:rPr lang="en-US" sz="2100"/>
              <a:t>Footer content</a:t>
            </a:r>
          </a:p>
        </p:txBody>
      </p:sp>
      <p:sp>
        <p:nvSpPr>
          <p:cNvPr id="83" name="Text Placeholder 9">
            <a:extLst>
              <a:ext uri="{FF2B5EF4-FFF2-40B4-BE49-F238E27FC236}">
                <a16:creationId xmlns:a16="http://schemas.microsoft.com/office/drawing/2014/main" id="{B9D80A7B-7EE9-C344-B667-9AC3E29BB508}"/>
              </a:ext>
            </a:extLst>
          </p:cNvPr>
          <p:cNvSpPr txBox="1">
            <a:spLocks/>
          </p:cNvSpPr>
          <p:nvPr/>
        </p:nvSpPr>
        <p:spPr>
          <a:xfrm>
            <a:off x="300227" y="893065"/>
            <a:ext cx="11591546" cy="381001"/>
          </a:xfrm>
          <a:prstGeom prst="rect">
            <a:avLst/>
          </a:prstGeom>
        </p:spPr>
        <p:txBody>
          <a:bodyPr vert="horz" lIns="0" tIns="0" rIns="0" bIns="0" rtlCol="0" anchor="t">
            <a:noAutofit/>
          </a:bodyPr>
          <a:lstStyle>
            <a:defPPr>
              <a:defRPr lang="en-US"/>
            </a:defPPr>
            <a:lvl1pPr marL="0" algn="l" defTabSz="457200" rtl="0" eaLnBrk="1" latinLnBrk="0" hangingPunct="1">
              <a:defRPr lang="en-US" sz="800" kern="1200">
                <a:solidFill>
                  <a:schemeClr val="accent5"/>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500" b="0">
                <a:solidFill>
                  <a:schemeClr val="tx1"/>
                </a:solidFill>
              </a:rPr>
              <a:t>Including confidentiality, product-use disclaimers, author, and date</a:t>
            </a:r>
          </a:p>
        </p:txBody>
      </p:sp>
      <p:sp>
        <p:nvSpPr>
          <p:cNvPr id="45" name="Rectangle 44">
            <a:extLst>
              <a:ext uri="{FF2B5EF4-FFF2-40B4-BE49-F238E27FC236}">
                <a16:creationId xmlns:a16="http://schemas.microsoft.com/office/drawing/2014/main" id="{25AC3306-F602-FF47-86A9-EF05C807374D}"/>
              </a:ext>
            </a:extLst>
          </p:cNvPr>
          <p:cNvSpPr/>
          <p:nvPr userDrawn="1"/>
        </p:nvSpPr>
        <p:spPr>
          <a:xfrm>
            <a:off x="5788337" y="2637632"/>
            <a:ext cx="1952553" cy="138499"/>
          </a:xfrm>
          <a:prstGeom prst="rect">
            <a:avLst/>
          </a:prstGeom>
        </p:spPr>
        <p:txBody>
          <a:bodyPr wrap="square" lIns="0" tIns="0" rIns="0" bIns="0">
            <a:spAutoFit/>
          </a:bodyPr>
          <a:lstStyle/>
          <a:p>
            <a:r>
              <a:rPr lang="en-US" sz="900" b="1"/>
              <a:t>Footer examples</a:t>
            </a:r>
            <a:endParaRPr lang="en-US" sz="900"/>
          </a:p>
        </p:txBody>
      </p:sp>
      <p:sp>
        <p:nvSpPr>
          <p:cNvPr id="50" name="Rectangle 49">
            <a:extLst>
              <a:ext uri="{FF2B5EF4-FFF2-40B4-BE49-F238E27FC236}">
                <a16:creationId xmlns:a16="http://schemas.microsoft.com/office/drawing/2014/main" id="{23960E65-62E9-7547-97E0-D130B22286C4}"/>
              </a:ext>
            </a:extLst>
          </p:cNvPr>
          <p:cNvSpPr/>
          <p:nvPr userDrawn="1"/>
        </p:nvSpPr>
        <p:spPr>
          <a:xfrm>
            <a:off x="5788336" y="1447802"/>
            <a:ext cx="6098864" cy="1135775"/>
          </a:xfrm>
          <a:prstGeom prst="rect">
            <a:avLst/>
          </a:prstGeom>
          <a:noFill/>
        </p:spPr>
        <p:txBody>
          <a:bodyPr wrap="square" lIns="0" tIns="0" rIns="0" bIns="0" rtlCol="0">
            <a:noAutofit/>
          </a:bodyPr>
          <a:lstStyle/>
          <a:p>
            <a:pPr defTabSz="685778">
              <a:lnSpc>
                <a:spcPct val="120000"/>
              </a:lnSpc>
              <a:spcBef>
                <a:spcPts val="150"/>
              </a:spcBef>
              <a:buClr>
                <a:schemeClr val="tx2"/>
              </a:buClr>
              <a:buSzPct val="100000"/>
            </a:pPr>
            <a:r>
              <a:rPr lang="en-US" sz="900" b="1"/>
              <a:t>All footers should contain an author’s or group’s email address and publication date for future reference.  </a:t>
            </a:r>
            <a:r>
              <a:rPr lang="en-US" sz="825" b="0"/>
              <a:t>Always use four digits for the year.</a:t>
            </a:r>
          </a:p>
          <a:p>
            <a:pPr marL="0" marR="0" lvl="0" indent="0" algn="l" defTabSz="685778" rtl="0" eaLnBrk="1" fontAlgn="auto" latinLnBrk="0" hangingPunct="1">
              <a:lnSpc>
                <a:spcPct val="120000"/>
              </a:lnSpc>
              <a:spcBef>
                <a:spcPts val="150"/>
              </a:spcBef>
              <a:spcAft>
                <a:spcPts val="0"/>
              </a:spcAft>
              <a:buClr>
                <a:schemeClr val="tx2"/>
              </a:buClr>
              <a:buSzPct val="100000"/>
              <a:buFontTx/>
              <a:buNone/>
              <a:tabLst/>
              <a:defRPr/>
            </a:pPr>
            <a:r>
              <a:rPr lang="en-US" sz="825"/>
              <a:t>A </a:t>
            </a:r>
            <a:r>
              <a:rPr lang="en-US" sz="825" b="1"/>
              <a:t>“</a:t>
            </a:r>
            <a:r>
              <a:rPr lang="en-US" sz="825" b="1" kern="1200">
                <a:solidFill>
                  <a:schemeClr val="tx1"/>
                </a:solidFill>
                <a:latin typeface="+mn-lt"/>
                <a:ea typeface="+mn-ea"/>
                <a:cs typeface="+mn-cs"/>
              </a:rPr>
              <a:t>For Research Use Only</a:t>
            </a:r>
            <a:r>
              <a:rPr lang="en-US" sz="825" b="1"/>
              <a:t>” </a:t>
            </a:r>
            <a:r>
              <a:rPr lang="en-US" sz="825"/>
              <a:t>or similar product-use disclaimer should appear on select slides as directed by Regulatory Affairs or Legal only. It should be added on appropriate slides as directed vs being added across the entire deck.</a:t>
            </a:r>
          </a:p>
          <a:p>
            <a:pPr defTabSz="685778">
              <a:lnSpc>
                <a:spcPct val="120000"/>
              </a:lnSpc>
              <a:spcBef>
                <a:spcPts val="150"/>
              </a:spcBef>
              <a:buClr>
                <a:schemeClr val="tx2"/>
              </a:buClr>
              <a:buSzPct val="100000"/>
            </a:pPr>
            <a:endParaRPr lang="en-US" sz="825" b="1"/>
          </a:p>
        </p:txBody>
      </p:sp>
      <p:sp>
        <p:nvSpPr>
          <p:cNvPr id="51" name="TextBox 50">
            <a:extLst>
              <a:ext uri="{FF2B5EF4-FFF2-40B4-BE49-F238E27FC236}">
                <a16:creationId xmlns:a16="http://schemas.microsoft.com/office/drawing/2014/main" id="{FF007E31-8387-6341-92E9-BBE1A50606DE}"/>
              </a:ext>
            </a:extLst>
          </p:cNvPr>
          <p:cNvSpPr txBox="1"/>
          <p:nvPr userDrawn="1"/>
        </p:nvSpPr>
        <p:spPr>
          <a:xfrm>
            <a:off x="9038025" y="6553200"/>
            <a:ext cx="2849177" cy="304800"/>
          </a:xfrm>
          <a:prstGeom prst="rect">
            <a:avLst/>
          </a:prstGeom>
          <a:noFill/>
        </p:spPr>
        <p:txBody>
          <a:bodyPr wrap="square" lIns="0" tIns="0" rIns="0" bIns="0" rtlCol="0" anchor="ctr">
            <a:noAutofit/>
          </a:bodyPr>
          <a:lstStyle/>
          <a:p>
            <a:pPr marL="0" indent="0" algn="r" defTabSz="685778">
              <a:lnSpc>
                <a:spcPct val="120000"/>
              </a:lnSpc>
              <a:spcBef>
                <a:spcPts val="150"/>
              </a:spcBef>
              <a:buClr>
                <a:schemeClr val="tx2"/>
              </a:buClr>
              <a:buSzPct val="100000"/>
              <a:buFont typeface="Arial" panose="020B0604020202020204" pitchFamily="34" charset="0"/>
              <a:buNone/>
            </a:pPr>
            <a:r>
              <a:rPr lang="en-US" sz="600" kern="1200">
                <a:solidFill>
                  <a:schemeClr val="accent5"/>
                </a:solidFill>
                <a:latin typeface="+mn-lt"/>
                <a:ea typeface="+mn-ea"/>
                <a:cs typeface="+mn-cs"/>
              </a:rPr>
              <a:t>2020 Template V1 published 5-August-2020</a:t>
            </a:r>
          </a:p>
        </p:txBody>
      </p:sp>
      <p:grpSp>
        <p:nvGrpSpPr>
          <p:cNvPr id="52" name="Group 51">
            <a:extLst>
              <a:ext uri="{FF2B5EF4-FFF2-40B4-BE49-F238E27FC236}">
                <a16:creationId xmlns:a16="http://schemas.microsoft.com/office/drawing/2014/main" id="{C9CC4B9B-0022-9243-85E2-88CFCF42B221}"/>
              </a:ext>
            </a:extLst>
          </p:cNvPr>
          <p:cNvGrpSpPr/>
          <p:nvPr userDrawn="1"/>
        </p:nvGrpSpPr>
        <p:grpSpPr>
          <a:xfrm>
            <a:off x="5788337" y="2980947"/>
            <a:ext cx="6027918" cy="552629"/>
            <a:chOff x="5788335" y="3097907"/>
            <a:chExt cx="6027917" cy="552630"/>
          </a:xfrm>
        </p:grpSpPr>
        <p:sp>
          <p:nvSpPr>
            <p:cNvPr id="54" name="Rectangle 53">
              <a:extLst>
                <a:ext uri="{FF2B5EF4-FFF2-40B4-BE49-F238E27FC236}">
                  <a16:creationId xmlns:a16="http://schemas.microsoft.com/office/drawing/2014/main" id="{AFDF3057-293D-7845-83FA-63A8080C0331}"/>
                </a:ext>
              </a:extLst>
            </p:cNvPr>
            <p:cNvSpPr/>
            <p:nvPr/>
          </p:nvSpPr>
          <p:spPr>
            <a:xfrm>
              <a:off x="5826082" y="3529285"/>
              <a:ext cx="4549321" cy="121252"/>
            </a:xfrm>
            <a:prstGeom prst="rect">
              <a:avLst/>
            </a:prstGeom>
          </p:spPr>
          <p:txBody>
            <a:bodyPr wrap="none" lIns="0" tIns="0" rIns="0" bIns="0">
              <a:spAutoFit/>
            </a:bodyPr>
            <a:lstStyle/>
            <a:p>
              <a:r>
                <a:rPr lang="en-US" sz="788"/>
                <a:t>Proprietary &amp; Confidential | For Research Use Only | </a:t>
              </a:r>
              <a:r>
                <a:rPr lang="en-US" sz="788" err="1"/>
                <a:t>authoremail@thermofisher.com</a:t>
              </a:r>
              <a:r>
                <a:rPr lang="en-US" sz="788"/>
                <a:t> | 5-August-2020</a:t>
              </a:r>
            </a:p>
          </p:txBody>
        </p:sp>
        <p:sp>
          <p:nvSpPr>
            <p:cNvPr id="56" name="Rectangle 55">
              <a:extLst>
                <a:ext uri="{FF2B5EF4-FFF2-40B4-BE49-F238E27FC236}">
                  <a16:creationId xmlns:a16="http://schemas.microsoft.com/office/drawing/2014/main" id="{4DB60CFA-FA50-6140-9323-F8017BB086F4}"/>
                </a:ext>
              </a:extLst>
            </p:cNvPr>
            <p:cNvSpPr/>
            <p:nvPr/>
          </p:nvSpPr>
          <p:spPr>
            <a:xfrm>
              <a:off x="7011571" y="3097910"/>
              <a:ext cx="619079" cy="184666"/>
            </a:xfrm>
            <a:prstGeom prst="rect">
              <a:avLst/>
            </a:prstGeom>
          </p:spPr>
          <p:txBody>
            <a:bodyPr wrap="none">
              <a:spAutoFit/>
            </a:bodyPr>
            <a:lstStyle/>
            <a:p>
              <a:pPr algn="ctr"/>
              <a:r>
                <a:rPr lang="en-US" sz="600" b="1"/>
                <a:t>Disclaimers</a:t>
              </a:r>
            </a:p>
          </p:txBody>
        </p:sp>
        <p:sp>
          <p:nvSpPr>
            <p:cNvPr id="57" name="Rectangle 56">
              <a:extLst>
                <a:ext uri="{FF2B5EF4-FFF2-40B4-BE49-F238E27FC236}">
                  <a16:creationId xmlns:a16="http://schemas.microsoft.com/office/drawing/2014/main" id="{9D13A8EF-9551-064B-9C13-D54C8100D205}"/>
                </a:ext>
              </a:extLst>
            </p:cNvPr>
            <p:cNvSpPr/>
            <p:nvPr/>
          </p:nvSpPr>
          <p:spPr>
            <a:xfrm>
              <a:off x="9538402" y="3097908"/>
              <a:ext cx="718465" cy="184666"/>
            </a:xfrm>
            <a:prstGeom prst="rect">
              <a:avLst/>
            </a:prstGeom>
          </p:spPr>
          <p:txBody>
            <a:bodyPr wrap="none">
              <a:spAutoFit/>
            </a:bodyPr>
            <a:lstStyle/>
            <a:p>
              <a:pPr algn="ctr"/>
              <a:r>
                <a:rPr lang="en-US" sz="600" b="1"/>
                <a:t>Author’s email</a:t>
              </a:r>
            </a:p>
          </p:txBody>
        </p:sp>
        <p:sp>
          <p:nvSpPr>
            <p:cNvPr id="59" name="Rectangle 58">
              <a:extLst>
                <a:ext uri="{FF2B5EF4-FFF2-40B4-BE49-F238E27FC236}">
                  <a16:creationId xmlns:a16="http://schemas.microsoft.com/office/drawing/2014/main" id="{D5641267-53C7-4847-A375-2753B43B2214}"/>
                </a:ext>
              </a:extLst>
            </p:cNvPr>
            <p:cNvSpPr/>
            <p:nvPr/>
          </p:nvSpPr>
          <p:spPr>
            <a:xfrm>
              <a:off x="11001044" y="3097907"/>
              <a:ext cx="734496" cy="184666"/>
            </a:xfrm>
            <a:prstGeom prst="rect">
              <a:avLst/>
            </a:prstGeom>
          </p:spPr>
          <p:txBody>
            <a:bodyPr wrap="none">
              <a:spAutoFit/>
            </a:bodyPr>
            <a:lstStyle/>
            <a:p>
              <a:pPr algn="ctr"/>
              <a:r>
                <a:rPr lang="en-US" sz="600" b="1"/>
                <a:t>Date published</a:t>
              </a:r>
            </a:p>
          </p:txBody>
        </p:sp>
        <p:sp>
          <p:nvSpPr>
            <p:cNvPr id="60" name="Left Brace 59">
              <a:extLst>
                <a:ext uri="{FF2B5EF4-FFF2-40B4-BE49-F238E27FC236}">
                  <a16:creationId xmlns:a16="http://schemas.microsoft.com/office/drawing/2014/main" id="{C9E8E1FC-BD9C-7E4D-9155-AC218F931E6B}"/>
                </a:ext>
              </a:extLst>
            </p:cNvPr>
            <p:cNvSpPr/>
            <p:nvPr/>
          </p:nvSpPr>
          <p:spPr>
            <a:xfrm rot="5400000">
              <a:off x="7252434" y="1882734"/>
              <a:ext cx="137356" cy="3065553"/>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p>
          </p:txBody>
        </p:sp>
        <p:sp>
          <p:nvSpPr>
            <p:cNvPr id="61" name="Left Brace 60">
              <a:extLst>
                <a:ext uri="{FF2B5EF4-FFF2-40B4-BE49-F238E27FC236}">
                  <a16:creationId xmlns:a16="http://schemas.microsoft.com/office/drawing/2014/main" id="{CAF8E30E-A971-3245-B5A1-59A016D2BDF0}"/>
                </a:ext>
              </a:extLst>
            </p:cNvPr>
            <p:cNvSpPr/>
            <p:nvPr/>
          </p:nvSpPr>
          <p:spPr>
            <a:xfrm rot="5400000">
              <a:off x="9824590" y="2447952"/>
              <a:ext cx="137355" cy="1935127"/>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p>
          </p:txBody>
        </p:sp>
        <p:sp>
          <p:nvSpPr>
            <p:cNvPr id="62" name="Left Brace 61">
              <a:extLst>
                <a:ext uri="{FF2B5EF4-FFF2-40B4-BE49-F238E27FC236}">
                  <a16:creationId xmlns:a16="http://schemas.microsoft.com/office/drawing/2014/main" id="{3DF20831-4F0F-1F4D-A1ED-6CDE187ABA67}"/>
                </a:ext>
              </a:extLst>
            </p:cNvPr>
            <p:cNvSpPr/>
            <p:nvPr userDrawn="1"/>
          </p:nvSpPr>
          <p:spPr>
            <a:xfrm rot="5400000">
              <a:off x="11295692" y="2963632"/>
              <a:ext cx="137354" cy="903767"/>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p>
          </p:txBody>
        </p:sp>
      </p:grpSp>
      <p:grpSp>
        <p:nvGrpSpPr>
          <p:cNvPr id="69" name="Group 68">
            <a:extLst>
              <a:ext uri="{FF2B5EF4-FFF2-40B4-BE49-F238E27FC236}">
                <a16:creationId xmlns:a16="http://schemas.microsoft.com/office/drawing/2014/main" id="{ADCC7EAB-1071-2443-BC4E-2E61AD774EB3}"/>
              </a:ext>
            </a:extLst>
          </p:cNvPr>
          <p:cNvGrpSpPr/>
          <p:nvPr userDrawn="1"/>
        </p:nvGrpSpPr>
        <p:grpSpPr>
          <a:xfrm>
            <a:off x="5788337" y="3890003"/>
            <a:ext cx="4389748" cy="541702"/>
            <a:chOff x="5788335" y="3923409"/>
            <a:chExt cx="4389748" cy="541702"/>
          </a:xfrm>
        </p:grpSpPr>
        <p:sp>
          <p:nvSpPr>
            <p:cNvPr id="71" name="Rectangle 70">
              <a:extLst>
                <a:ext uri="{FF2B5EF4-FFF2-40B4-BE49-F238E27FC236}">
                  <a16:creationId xmlns:a16="http://schemas.microsoft.com/office/drawing/2014/main" id="{8DEAE227-E5BE-904A-BFCC-50EA2483D0E1}"/>
                </a:ext>
              </a:extLst>
            </p:cNvPr>
            <p:cNvSpPr/>
            <p:nvPr/>
          </p:nvSpPr>
          <p:spPr>
            <a:xfrm>
              <a:off x="5826082" y="4343859"/>
              <a:ext cx="3310202" cy="121252"/>
            </a:xfrm>
            <a:prstGeom prst="rect">
              <a:avLst/>
            </a:prstGeom>
          </p:spPr>
          <p:txBody>
            <a:bodyPr wrap="none" lIns="0" tIns="0" rIns="0" bIns="0">
              <a:spAutoFit/>
            </a:bodyPr>
            <a:lstStyle/>
            <a:p>
              <a:r>
                <a:rPr lang="en-US" sz="788"/>
                <a:t>For Research Use Only | </a:t>
              </a:r>
              <a:r>
                <a:rPr lang="en-US" sz="788" err="1"/>
                <a:t>authoremail@thermofisher.com</a:t>
              </a:r>
              <a:r>
                <a:rPr lang="en-US" sz="788"/>
                <a:t> | 5-August-2020</a:t>
              </a:r>
            </a:p>
          </p:txBody>
        </p:sp>
        <p:sp>
          <p:nvSpPr>
            <p:cNvPr id="72" name="Rectangle 71">
              <a:extLst>
                <a:ext uri="{FF2B5EF4-FFF2-40B4-BE49-F238E27FC236}">
                  <a16:creationId xmlns:a16="http://schemas.microsoft.com/office/drawing/2014/main" id="{8262B94A-CDF8-6248-B4D3-D04C67489253}"/>
                </a:ext>
              </a:extLst>
            </p:cNvPr>
            <p:cNvSpPr/>
            <p:nvPr userDrawn="1"/>
          </p:nvSpPr>
          <p:spPr>
            <a:xfrm>
              <a:off x="6211153" y="3923412"/>
              <a:ext cx="619079" cy="184666"/>
            </a:xfrm>
            <a:prstGeom prst="rect">
              <a:avLst/>
            </a:prstGeom>
          </p:spPr>
          <p:txBody>
            <a:bodyPr wrap="none">
              <a:spAutoFit/>
            </a:bodyPr>
            <a:lstStyle/>
            <a:p>
              <a:pPr algn="ctr"/>
              <a:r>
                <a:rPr lang="en-US" sz="600" b="1"/>
                <a:t>Disclaimers</a:t>
              </a:r>
            </a:p>
          </p:txBody>
        </p:sp>
        <p:sp>
          <p:nvSpPr>
            <p:cNvPr id="73" name="Rectangle 72">
              <a:extLst>
                <a:ext uri="{FF2B5EF4-FFF2-40B4-BE49-F238E27FC236}">
                  <a16:creationId xmlns:a16="http://schemas.microsoft.com/office/drawing/2014/main" id="{96EC3CD9-96F0-F848-9D70-DC6BC4C588B0}"/>
                </a:ext>
              </a:extLst>
            </p:cNvPr>
            <p:cNvSpPr/>
            <p:nvPr userDrawn="1"/>
          </p:nvSpPr>
          <p:spPr>
            <a:xfrm>
              <a:off x="7914673" y="3923410"/>
              <a:ext cx="718465" cy="184666"/>
            </a:xfrm>
            <a:prstGeom prst="rect">
              <a:avLst/>
            </a:prstGeom>
          </p:spPr>
          <p:txBody>
            <a:bodyPr wrap="none">
              <a:spAutoFit/>
            </a:bodyPr>
            <a:lstStyle/>
            <a:p>
              <a:pPr algn="ctr"/>
              <a:r>
                <a:rPr lang="en-US" sz="600" b="1"/>
                <a:t>Author’s email</a:t>
              </a:r>
            </a:p>
          </p:txBody>
        </p:sp>
        <p:sp>
          <p:nvSpPr>
            <p:cNvPr id="74" name="Rectangle 73">
              <a:extLst>
                <a:ext uri="{FF2B5EF4-FFF2-40B4-BE49-F238E27FC236}">
                  <a16:creationId xmlns:a16="http://schemas.microsoft.com/office/drawing/2014/main" id="{F088D113-2507-AA47-BB48-FAF00FE54633}"/>
                </a:ext>
              </a:extLst>
            </p:cNvPr>
            <p:cNvSpPr/>
            <p:nvPr userDrawn="1"/>
          </p:nvSpPr>
          <p:spPr>
            <a:xfrm>
              <a:off x="9362874" y="3923409"/>
              <a:ext cx="734496" cy="184666"/>
            </a:xfrm>
            <a:prstGeom prst="rect">
              <a:avLst/>
            </a:prstGeom>
          </p:spPr>
          <p:txBody>
            <a:bodyPr wrap="none">
              <a:spAutoFit/>
            </a:bodyPr>
            <a:lstStyle/>
            <a:p>
              <a:pPr algn="ctr"/>
              <a:r>
                <a:rPr lang="en-US" sz="600" b="1"/>
                <a:t>Date published</a:t>
              </a:r>
            </a:p>
          </p:txBody>
        </p:sp>
        <p:sp>
          <p:nvSpPr>
            <p:cNvPr id="75" name="Left Brace 74">
              <a:extLst>
                <a:ext uri="{FF2B5EF4-FFF2-40B4-BE49-F238E27FC236}">
                  <a16:creationId xmlns:a16="http://schemas.microsoft.com/office/drawing/2014/main" id="{33912165-6C04-F34D-8A97-E920B407AA54}"/>
                </a:ext>
              </a:extLst>
            </p:cNvPr>
            <p:cNvSpPr/>
            <p:nvPr userDrawn="1"/>
          </p:nvSpPr>
          <p:spPr>
            <a:xfrm rot="5400000">
              <a:off x="6449400" y="3511270"/>
              <a:ext cx="137356" cy="1459485"/>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p>
          </p:txBody>
        </p:sp>
        <p:sp>
          <p:nvSpPr>
            <p:cNvPr id="76" name="Left Brace 75">
              <a:extLst>
                <a:ext uri="{FF2B5EF4-FFF2-40B4-BE49-F238E27FC236}">
                  <a16:creationId xmlns:a16="http://schemas.microsoft.com/office/drawing/2014/main" id="{F82EE3D1-89D0-6645-9D8B-24CA42BA0ADC}"/>
                </a:ext>
              </a:extLst>
            </p:cNvPr>
            <p:cNvSpPr/>
            <p:nvPr userDrawn="1"/>
          </p:nvSpPr>
          <p:spPr>
            <a:xfrm rot="5400000">
              <a:off x="8200860" y="3273454"/>
              <a:ext cx="137355" cy="1935127"/>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p>
          </p:txBody>
        </p:sp>
        <p:sp>
          <p:nvSpPr>
            <p:cNvPr id="77" name="Left Brace 76">
              <a:extLst>
                <a:ext uri="{FF2B5EF4-FFF2-40B4-BE49-F238E27FC236}">
                  <a16:creationId xmlns:a16="http://schemas.microsoft.com/office/drawing/2014/main" id="{A399837B-45C9-7343-B884-DE166B5EC1C1}"/>
                </a:ext>
              </a:extLst>
            </p:cNvPr>
            <p:cNvSpPr/>
            <p:nvPr userDrawn="1"/>
          </p:nvSpPr>
          <p:spPr>
            <a:xfrm rot="5400000">
              <a:off x="9657523" y="3789134"/>
              <a:ext cx="137354" cy="903767"/>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p>
          </p:txBody>
        </p:sp>
      </p:grpSp>
      <p:grpSp>
        <p:nvGrpSpPr>
          <p:cNvPr id="78" name="Group 77">
            <a:extLst>
              <a:ext uri="{FF2B5EF4-FFF2-40B4-BE49-F238E27FC236}">
                <a16:creationId xmlns:a16="http://schemas.microsoft.com/office/drawing/2014/main" id="{F0E03FFE-8C31-E44D-BE6B-C22B9CF70098}"/>
              </a:ext>
            </a:extLst>
          </p:cNvPr>
          <p:cNvGrpSpPr/>
          <p:nvPr userDrawn="1"/>
        </p:nvGrpSpPr>
        <p:grpSpPr>
          <a:xfrm>
            <a:off x="5788337" y="4788131"/>
            <a:ext cx="4519929" cy="547400"/>
            <a:chOff x="5788336" y="4908696"/>
            <a:chExt cx="4519929" cy="547400"/>
          </a:xfrm>
        </p:grpSpPr>
        <p:sp>
          <p:nvSpPr>
            <p:cNvPr id="81" name="Rectangle 80">
              <a:extLst>
                <a:ext uri="{FF2B5EF4-FFF2-40B4-BE49-F238E27FC236}">
                  <a16:creationId xmlns:a16="http://schemas.microsoft.com/office/drawing/2014/main" id="{01A73866-731B-9946-A849-187A98BD4E85}"/>
                </a:ext>
              </a:extLst>
            </p:cNvPr>
            <p:cNvSpPr/>
            <p:nvPr/>
          </p:nvSpPr>
          <p:spPr>
            <a:xfrm>
              <a:off x="5842103" y="5334844"/>
              <a:ext cx="3403176" cy="121252"/>
            </a:xfrm>
            <a:prstGeom prst="rect">
              <a:avLst/>
            </a:prstGeom>
          </p:spPr>
          <p:txBody>
            <a:bodyPr wrap="none" lIns="0" tIns="0" rIns="0" bIns="0">
              <a:spAutoFit/>
            </a:bodyPr>
            <a:lstStyle/>
            <a:p>
              <a:r>
                <a:rPr lang="en-US" sz="788"/>
                <a:t>Proprietary &amp; Confidential | </a:t>
              </a:r>
              <a:r>
                <a:rPr lang="en-US" sz="788" err="1"/>
                <a:t>authoremail@thermofisher.com</a:t>
              </a:r>
              <a:r>
                <a:rPr lang="en-US" sz="788"/>
                <a:t> | 5-August-2020</a:t>
              </a:r>
            </a:p>
          </p:txBody>
        </p:sp>
        <p:sp>
          <p:nvSpPr>
            <p:cNvPr id="85" name="Rectangle 84">
              <a:extLst>
                <a:ext uri="{FF2B5EF4-FFF2-40B4-BE49-F238E27FC236}">
                  <a16:creationId xmlns:a16="http://schemas.microsoft.com/office/drawing/2014/main" id="{8FD63569-449B-3E48-807D-D3F3AE9F8342}"/>
                </a:ext>
              </a:extLst>
            </p:cNvPr>
            <p:cNvSpPr/>
            <p:nvPr userDrawn="1"/>
          </p:nvSpPr>
          <p:spPr>
            <a:xfrm>
              <a:off x="6277994" y="4908699"/>
              <a:ext cx="619079" cy="184666"/>
            </a:xfrm>
            <a:prstGeom prst="rect">
              <a:avLst/>
            </a:prstGeom>
          </p:spPr>
          <p:txBody>
            <a:bodyPr wrap="none">
              <a:spAutoFit/>
            </a:bodyPr>
            <a:lstStyle/>
            <a:p>
              <a:pPr algn="ctr"/>
              <a:r>
                <a:rPr lang="en-US" sz="600" b="1"/>
                <a:t>Disclaimers</a:t>
              </a:r>
            </a:p>
          </p:txBody>
        </p:sp>
        <p:sp>
          <p:nvSpPr>
            <p:cNvPr id="86" name="Rectangle 85">
              <a:extLst>
                <a:ext uri="{FF2B5EF4-FFF2-40B4-BE49-F238E27FC236}">
                  <a16:creationId xmlns:a16="http://schemas.microsoft.com/office/drawing/2014/main" id="{0C656FAD-AD19-DC49-92E8-76EAC46938F6}"/>
                </a:ext>
              </a:extLst>
            </p:cNvPr>
            <p:cNvSpPr/>
            <p:nvPr userDrawn="1"/>
          </p:nvSpPr>
          <p:spPr>
            <a:xfrm>
              <a:off x="8044855" y="4908697"/>
              <a:ext cx="718465" cy="184666"/>
            </a:xfrm>
            <a:prstGeom prst="rect">
              <a:avLst/>
            </a:prstGeom>
          </p:spPr>
          <p:txBody>
            <a:bodyPr wrap="none">
              <a:spAutoFit/>
            </a:bodyPr>
            <a:lstStyle/>
            <a:p>
              <a:pPr algn="ctr"/>
              <a:r>
                <a:rPr lang="en-US" sz="600" b="1"/>
                <a:t>Author’s email</a:t>
              </a:r>
            </a:p>
          </p:txBody>
        </p:sp>
        <p:sp>
          <p:nvSpPr>
            <p:cNvPr id="103" name="Rectangle 102">
              <a:extLst>
                <a:ext uri="{FF2B5EF4-FFF2-40B4-BE49-F238E27FC236}">
                  <a16:creationId xmlns:a16="http://schemas.microsoft.com/office/drawing/2014/main" id="{DC8954A9-BBCF-F843-BCC2-DFD09FC6E9CD}"/>
                </a:ext>
              </a:extLst>
            </p:cNvPr>
            <p:cNvSpPr/>
            <p:nvPr userDrawn="1"/>
          </p:nvSpPr>
          <p:spPr>
            <a:xfrm>
              <a:off x="9493057" y="4908696"/>
              <a:ext cx="734496" cy="184666"/>
            </a:xfrm>
            <a:prstGeom prst="rect">
              <a:avLst/>
            </a:prstGeom>
          </p:spPr>
          <p:txBody>
            <a:bodyPr wrap="none">
              <a:spAutoFit/>
            </a:bodyPr>
            <a:lstStyle/>
            <a:p>
              <a:pPr algn="ctr"/>
              <a:r>
                <a:rPr lang="en-US" sz="600" b="1"/>
                <a:t>Date published</a:t>
              </a:r>
            </a:p>
          </p:txBody>
        </p:sp>
        <p:sp>
          <p:nvSpPr>
            <p:cNvPr id="104" name="Left Brace 103">
              <a:extLst>
                <a:ext uri="{FF2B5EF4-FFF2-40B4-BE49-F238E27FC236}">
                  <a16:creationId xmlns:a16="http://schemas.microsoft.com/office/drawing/2014/main" id="{6A6BA891-938B-7B46-9D54-7310473CEEDC}"/>
                </a:ext>
              </a:extLst>
            </p:cNvPr>
            <p:cNvSpPr/>
            <p:nvPr userDrawn="1"/>
          </p:nvSpPr>
          <p:spPr>
            <a:xfrm rot="5400000">
              <a:off x="6520304" y="4425654"/>
              <a:ext cx="137356" cy="1601292"/>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p>
          </p:txBody>
        </p:sp>
        <p:sp>
          <p:nvSpPr>
            <p:cNvPr id="105" name="Left Brace 104">
              <a:extLst>
                <a:ext uri="{FF2B5EF4-FFF2-40B4-BE49-F238E27FC236}">
                  <a16:creationId xmlns:a16="http://schemas.microsoft.com/office/drawing/2014/main" id="{2C270CE8-9750-7B45-B039-32F907449AF8}"/>
                </a:ext>
              </a:extLst>
            </p:cNvPr>
            <p:cNvSpPr/>
            <p:nvPr userDrawn="1"/>
          </p:nvSpPr>
          <p:spPr>
            <a:xfrm rot="5400000">
              <a:off x="8331042" y="4258741"/>
              <a:ext cx="137355" cy="1935127"/>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p>
          </p:txBody>
        </p:sp>
        <p:sp>
          <p:nvSpPr>
            <p:cNvPr id="106" name="Left Brace 105">
              <a:extLst>
                <a:ext uri="{FF2B5EF4-FFF2-40B4-BE49-F238E27FC236}">
                  <a16:creationId xmlns:a16="http://schemas.microsoft.com/office/drawing/2014/main" id="{BD54688D-F399-8D44-B80A-35A584C4E8A1}"/>
                </a:ext>
              </a:extLst>
            </p:cNvPr>
            <p:cNvSpPr/>
            <p:nvPr userDrawn="1"/>
          </p:nvSpPr>
          <p:spPr>
            <a:xfrm rot="5400000">
              <a:off x="9787705" y="4774421"/>
              <a:ext cx="137354" cy="903767"/>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p>
          </p:txBody>
        </p:sp>
      </p:grpSp>
      <p:grpSp>
        <p:nvGrpSpPr>
          <p:cNvPr id="107" name="Group 106">
            <a:extLst>
              <a:ext uri="{FF2B5EF4-FFF2-40B4-BE49-F238E27FC236}">
                <a16:creationId xmlns:a16="http://schemas.microsoft.com/office/drawing/2014/main" id="{F3B269BE-A155-AD4E-BB6F-14E01F7B2B53}"/>
              </a:ext>
            </a:extLst>
          </p:cNvPr>
          <p:cNvGrpSpPr/>
          <p:nvPr userDrawn="1"/>
        </p:nvGrpSpPr>
        <p:grpSpPr>
          <a:xfrm>
            <a:off x="5788334" y="5691960"/>
            <a:ext cx="2876667" cy="550835"/>
            <a:chOff x="5826081" y="5638800"/>
            <a:chExt cx="2876668" cy="550836"/>
          </a:xfrm>
        </p:grpSpPr>
        <p:sp>
          <p:nvSpPr>
            <p:cNvPr id="108" name="Rectangle 107">
              <a:extLst>
                <a:ext uri="{FF2B5EF4-FFF2-40B4-BE49-F238E27FC236}">
                  <a16:creationId xmlns:a16="http://schemas.microsoft.com/office/drawing/2014/main" id="{2837D300-05AE-6B41-B8F5-CB05D9A81C4D}"/>
                </a:ext>
              </a:extLst>
            </p:cNvPr>
            <p:cNvSpPr/>
            <p:nvPr/>
          </p:nvSpPr>
          <p:spPr>
            <a:xfrm>
              <a:off x="5826081" y="6068384"/>
              <a:ext cx="2192909" cy="121252"/>
            </a:xfrm>
            <a:prstGeom prst="rect">
              <a:avLst/>
            </a:prstGeom>
          </p:spPr>
          <p:txBody>
            <a:bodyPr wrap="none" lIns="0" tIns="0" rIns="0" bIns="0">
              <a:spAutoFit/>
            </a:bodyPr>
            <a:lstStyle/>
            <a:p>
              <a:pPr marL="0" marR="0" indent="0" algn="l" defTabSz="342889" rtl="0" eaLnBrk="1" fontAlgn="auto" latinLnBrk="0" hangingPunct="1">
                <a:lnSpc>
                  <a:spcPct val="100000"/>
                </a:lnSpc>
                <a:spcBef>
                  <a:spcPts val="0"/>
                </a:spcBef>
                <a:spcAft>
                  <a:spcPts val="0"/>
                </a:spcAft>
                <a:buClrTx/>
                <a:buSzTx/>
                <a:buFontTx/>
                <a:buNone/>
                <a:tabLst/>
                <a:defRPr/>
              </a:pPr>
              <a:r>
                <a:rPr lang="en-US" sz="788"/>
                <a:t> authoremail@thermofisher.com | 5-August-2020</a:t>
              </a:r>
            </a:p>
          </p:txBody>
        </p:sp>
        <p:sp>
          <p:nvSpPr>
            <p:cNvPr id="109" name="Rectangle 108">
              <a:extLst>
                <a:ext uri="{FF2B5EF4-FFF2-40B4-BE49-F238E27FC236}">
                  <a16:creationId xmlns:a16="http://schemas.microsoft.com/office/drawing/2014/main" id="{B2636A22-B29C-8347-827F-06CC739D8F27}"/>
                </a:ext>
              </a:extLst>
            </p:cNvPr>
            <p:cNvSpPr/>
            <p:nvPr userDrawn="1"/>
          </p:nvSpPr>
          <p:spPr>
            <a:xfrm>
              <a:off x="6439340" y="5638801"/>
              <a:ext cx="718465" cy="184666"/>
            </a:xfrm>
            <a:prstGeom prst="rect">
              <a:avLst/>
            </a:prstGeom>
          </p:spPr>
          <p:txBody>
            <a:bodyPr wrap="none">
              <a:spAutoFit/>
            </a:bodyPr>
            <a:lstStyle/>
            <a:p>
              <a:pPr algn="ctr"/>
              <a:r>
                <a:rPr lang="en-US" sz="600" b="1"/>
                <a:t>Author’s email</a:t>
              </a:r>
            </a:p>
          </p:txBody>
        </p:sp>
        <p:sp>
          <p:nvSpPr>
            <p:cNvPr id="110" name="Rectangle 109">
              <a:extLst>
                <a:ext uri="{FF2B5EF4-FFF2-40B4-BE49-F238E27FC236}">
                  <a16:creationId xmlns:a16="http://schemas.microsoft.com/office/drawing/2014/main" id="{DBE3A603-FB25-6640-8CE8-A9490CC8FD57}"/>
                </a:ext>
              </a:extLst>
            </p:cNvPr>
            <p:cNvSpPr/>
            <p:nvPr userDrawn="1"/>
          </p:nvSpPr>
          <p:spPr>
            <a:xfrm>
              <a:off x="7887541" y="5638800"/>
              <a:ext cx="734496" cy="184666"/>
            </a:xfrm>
            <a:prstGeom prst="rect">
              <a:avLst/>
            </a:prstGeom>
          </p:spPr>
          <p:txBody>
            <a:bodyPr wrap="none">
              <a:spAutoFit/>
            </a:bodyPr>
            <a:lstStyle/>
            <a:p>
              <a:pPr algn="ctr"/>
              <a:r>
                <a:rPr lang="en-US" sz="600" b="1"/>
                <a:t>Date published</a:t>
              </a:r>
            </a:p>
          </p:txBody>
        </p:sp>
        <p:sp>
          <p:nvSpPr>
            <p:cNvPr id="111" name="Left Brace 110">
              <a:extLst>
                <a:ext uri="{FF2B5EF4-FFF2-40B4-BE49-F238E27FC236}">
                  <a16:creationId xmlns:a16="http://schemas.microsoft.com/office/drawing/2014/main" id="{2BD98F31-696C-874F-A675-84D3E0D98D96}"/>
                </a:ext>
              </a:extLst>
            </p:cNvPr>
            <p:cNvSpPr/>
            <p:nvPr userDrawn="1"/>
          </p:nvSpPr>
          <p:spPr>
            <a:xfrm rot="5400000">
              <a:off x="6725526" y="4988845"/>
              <a:ext cx="137355" cy="1935127"/>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p>
          </p:txBody>
        </p:sp>
        <p:sp>
          <p:nvSpPr>
            <p:cNvPr id="112" name="Left Brace 111">
              <a:extLst>
                <a:ext uri="{FF2B5EF4-FFF2-40B4-BE49-F238E27FC236}">
                  <a16:creationId xmlns:a16="http://schemas.microsoft.com/office/drawing/2014/main" id="{5DFD7081-3892-7148-86E2-00827E674843}"/>
                </a:ext>
              </a:extLst>
            </p:cNvPr>
            <p:cNvSpPr/>
            <p:nvPr userDrawn="1"/>
          </p:nvSpPr>
          <p:spPr>
            <a:xfrm rot="5400000">
              <a:off x="8182189" y="5504525"/>
              <a:ext cx="137354" cy="903767"/>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p>
          </p:txBody>
        </p:sp>
      </p:grpSp>
    </p:spTree>
    <p:extLst>
      <p:ext uri="{BB962C8B-B14F-4D97-AF65-F5344CB8AC3E}">
        <p14:creationId xmlns:p14="http://schemas.microsoft.com/office/powerpoint/2010/main" val="29127595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 column with full width image">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558D3FC8-B671-4D4F-A345-B5E3B9CB827C}"/>
              </a:ext>
            </a:extLst>
          </p:cNvPr>
          <p:cNvSpPr>
            <a:spLocks noGrp="1"/>
          </p:cNvSpPr>
          <p:nvPr>
            <p:ph type="pic" sz="quarter" idx="13" hasCustomPrompt="1"/>
          </p:nvPr>
        </p:nvSpPr>
        <p:spPr>
          <a:xfrm>
            <a:off x="2" y="4083050"/>
            <a:ext cx="12191999" cy="2774950"/>
          </a:xfrm>
          <a:prstGeom prst="rect">
            <a:avLst/>
          </a:prstGeom>
          <a:pattFill prst="pct5">
            <a:fgClr>
              <a:schemeClr val="bg1"/>
            </a:fgClr>
            <a:bgClr>
              <a:schemeClr val="bg2"/>
            </a:bgClr>
          </a:pattFill>
        </p:spPr>
        <p:txBody>
          <a:bodyPr vert="horz" wrap="square" lIns="0" tIns="0" rIns="0" bIns="0" rtlCol="0" anchor="ctr">
            <a:noAutofit/>
          </a:bodyPr>
          <a:lstStyle>
            <a:lvl1pPr marL="0" marR="0" indent="0" algn="ctr" defTabSz="685778" rtl="0" eaLnBrk="1" fontAlgn="auto" latinLnBrk="0" hangingPunct="1">
              <a:lnSpc>
                <a:spcPct val="120000"/>
              </a:lnSpc>
              <a:spcBef>
                <a:spcPts val="450"/>
              </a:spcBef>
              <a:spcAft>
                <a:spcPts val="0"/>
              </a:spcAft>
              <a:buClrTx/>
              <a:buSzTx/>
              <a:buFontTx/>
              <a:buNone/>
              <a:tabLst/>
              <a:defRPr lang="en-US" sz="1050">
                <a:solidFill>
                  <a:schemeClr val="tx1"/>
                </a:solidFill>
              </a:defRPr>
            </a:lvl1pPr>
          </a:lstStyle>
          <a:p>
            <a:pPr marL="308600" marR="0" lvl="0" indent="-308600" algn="ctr" defTabSz="685778" rtl="0" eaLnBrk="1" fontAlgn="auto" latinLnBrk="0" hangingPunct="1">
              <a:lnSpc>
                <a:spcPct val="120000"/>
              </a:lnSpc>
              <a:spcBef>
                <a:spcPts val="450"/>
              </a:spcBef>
              <a:spcAft>
                <a:spcPts val="0"/>
              </a:spcAft>
              <a:buClrTx/>
              <a:buSzTx/>
              <a:buFontTx/>
              <a:buNone/>
              <a:tabLst/>
              <a:defRPr/>
            </a:pPr>
            <a:r>
              <a:rPr lang="en-US"/>
              <a:t>Add photo</a:t>
            </a:r>
          </a:p>
        </p:txBody>
      </p:sp>
      <p:sp>
        <p:nvSpPr>
          <p:cNvPr id="11" name="Title 10">
            <a:extLst>
              <a:ext uri="{FF2B5EF4-FFF2-40B4-BE49-F238E27FC236}">
                <a16:creationId xmlns:a16="http://schemas.microsoft.com/office/drawing/2014/main" id="{06EA3E0F-6952-8B44-89C5-3A7230D81F97}"/>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6" name="Slide Number Placeholder 2">
            <a:extLst>
              <a:ext uri="{FF2B5EF4-FFF2-40B4-BE49-F238E27FC236}">
                <a16:creationId xmlns:a16="http://schemas.microsoft.com/office/drawing/2014/main" id="{5DFF6035-90FF-3D47-AC34-F7AD5C37C983}"/>
              </a:ext>
            </a:extLst>
          </p:cNvPr>
          <p:cNvSpPr>
            <a:spLocks noGrp="1"/>
          </p:cNvSpPr>
          <p:nvPr>
            <p:ph type="sldNum" sz="quarter" idx="10"/>
          </p:nvPr>
        </p:nvSpPr>
        <p:spPr>
          <a:xfrm>
            <a:off x="2" y="6553202"/>
            <a:ext cx="304799" cy="304799"/>
          </a:xfrm>
        </p:spPr>
        <p:txBody>
          <a:bodyPr/>
          <a:lstStyle>
            <a:lvl1pPr>
              <a:defRPr>
                <a:solidFill>
                  <a:schemeClr val="bg1"/>
                </a:solidFill>
              </a:defRPr>
            </a:lvl1pPr>
          </a:lstStyle>
          <a:p>
            <a:fld id="{89006F1E-66CD-4A4B-9370-B4A3080F0E6C}" type="slidenum">
              <a:rPr lang="en-US" smtClean="0"/>
              <a:pPr/>
              <a:t>‹#›</a:t>
            </a:fld>
            <a:endParaRPr lang="en-US"/>
          </a:p>
        </p:txBody>
      </p:sp>
      <p:sp>
        <p:nvSpPr>
          <p:cNvPr id="7" name="Footer Placeholder 1">
            <a:extLst>
              <a:ext uri="{FF2B5EF4-FFF2-40B4-BE49-F238E27FC236}">
                <a16:creationId xmlns:a16="http://schemas.microsoft.com/office/drawing/2014/main" id="{9089E539-E9D2-AE4B-B72F-91FBD9A90964}"/>
              </a:ext>
            </a:extLst>
          </p:cNvPr>
          <p:cNvSpPr>
            <a:spLocks noGrp="1"/>
          </p:cNvSpPr>
          <p:nvPr>
            <p:ph type="ftr" sz="quarter" idx="14"/>
          </p:nvPr>
        </p:nvSpPr>
        <p:spPr>
          <a:xfrm>
            <a:off x="304802" y="6553201"/>
            <a:ext cx="3657601" cy="304800"/>
          </a:xfrm>
          <a:prstGeom prst="rect">
            <a:avLst/>
          </a:prstGeom>
        </p:spPr>
        <p:txBody>
          <a:bodyPr/>
          <a:lstStyle>
            <a:lvl1pPr>
              <a:defRPr>
                <a:solidFill>
                  <a:schemeClr val="bg1"/>
                </a:solidFill>
              </a:defRPr>
            </a:lvl1pPr>
          </a:lstStyle>
          <a:p>
            <a:r>
              <a:rPr lang="en-US">
                <a:ea typeface="MS PGothic" panose="020B0600070205080204" pitchFamily="34" charset="-128"/>
              </a:rPr>
              <a:t>Proprietary &amp; Confidential |  authoremail@thermofisher.com | 5-August-2020</a:t>
            </a:r>
          </a:p>
        </p:txBody>
      </p:sp>
      <p:sp>
        <p:nvSpPr>
          <p:cNvPr id="8" name="Text Placeholder 7">
            <a:extLst>
              <a:ext uri="{FF2B5EF4-FFF2-40B4-BE49-F238E27FC236}">
                <a16:creationId xmlns:a16="http://schemas.microsoft.com/office/drawing/2014/main" id="{E5AA936C-79E4-0048-8C63-B027C15A3EF6}"/>
              </a:ext>
            </a:extLst>
          </p:cNvPr>
          <p:cNvSpPr>
            <a:spLocks noGrp="1"/>
          </p:cNvSpPr>
          <p:nvPr>
            <p:ph type="body" sz="quarter" idx="11" hasCustomPrompt="1"/>
          </p:nvPr>
        </p:nvSpPr>
        <p:spPr>
          <a:xfrm>
            <a:off x="300227" y="893065"/>
            <a:ext cx="11591546" cy="381001"/>
          </a:xfrm>
          <a:prstGeom prst="rect">
            <a:avLst/>
          </a:prstGeom>
        </p:spPr>
        <p:txBody>
          <a:bodyPr lIns="0" tIns="0" rIns="0" bIns="0" anchor="t">
            <a:noAutofit/>
          </a:bodyPr>
          <a:lstStyle>
            <a:lvl1pPr marL="0" indent="0">
              <a:buNone/>
              <a:defRPr sz="1500">
                <a:solidFill>
                  <a:schemeClr val="tx1"/>
                </a:solidFill>
              </a:defRPr>
            </a:lvl1pPr>
          </a:lstStyle>
          <a:p>
            <a:pPr lvl="0"/>
            <a:r>
              <a:rPr lang="en-US"/>
              <a:t>Click to add </a:t>
            </a:r>
            <a:r>
              <a:rPr lang="en-US" err="1"/>
              <a:t>subheader</a:t>
            </a:r>
            <a:endParaRPr lang="en-US"/>
          </a:p>
        </p:txBody>
      </p:sp>
      <p:sp>
        <p:nvSpPr>
          <p:cNvPr id="9" name="Content Placeholder 3">
            <a:extLst>
              <a:ext uri="{FF2B5EF4-FFF2-40B4-BE49-F238E27FC236}">
                <a16:creationId xmlns:a16="http://schemas.microsoft.com/office/drawing/2014/main" id="{EFA71095-3F77-7F45-9E43-E80587323ACE}"/>
              </a:ext>
            </a:extLst>
          </p:cNvPr>
          <p:cNvSpPr>
            <a:spLocks noGrp="1"/>
          </p:cNvSpPr>
          <p:nvPr>
            <p:ph sz="quarter" idx="18"/>
          </p:nvPr>
        </p:nvSpPr>
        <p:spPr>
          <a:xfrm>
            <a:off x="304800" y="1447800"/>
            <a:ext cx="3657600" cy="2334768"/>
          </a:xfrm>
          <a:prstGeom prst="rect">
            <a:avLst/>
          </a:prstGeo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3">
            <a:extLst>
              <a:ext uri="{FF2B5EF4-FFF2-40B4-BE49-F238E27FC236}">
                <a16:creationId xmlns:a16="http://schemas.microsoft.com/office/drawing/2014/main" id="{B8762543-398C-384C-8B6E-8572E8FDC8D3}"/>
              </a:ext>
            </a:extLst>
          </p:cNvPr>
          <p:cNvSpPr>
            <a:spLocks noGrp="1"/>
          </p:cNvSpPr>
          <p:nvPr>
            <p:ph sz="quarter" idx="19"/>
          </p:nvPr>
        </p:nvSpPr>
        <p:spPr>
          <a:xfrm>
            <a:off x="4267201" y="1447800"/>
            <a:ext cx="3657600" cy="2334768"/>
          </a:xfrm>
          <a:prstGeom prst="rect">
            <a:avLst/>
          </a:prstGeo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a:extLst>
              <a:ext uri="{FF2B5EF4-FFF2-40B4-BE49-F238E27FC236}">
                <a16:creationId xmlns:a16="http://schemas.microsoft.com/office/drawing/2014/main" id="{C8CD3A37-ECA5-0F43-995E-663D6AC132E5}"/>
              </a:ext>
            </a:extLst>
          </p:cNvPr>
          <p:cNvSpPr>
            <a:spLocks noGrp="1"/>
          </p:cNvSpPr>
          <p:nvPr>
            <p:ph sz="quarter" idx="21"/>
          </p:nvPr>
        </p:nvSpPr>
        <p:spPr>
          <a:xfrm>
            <a:off x="8229594" y="1447800"/>
            <a:ext cx="3657602" cy="2334768"/>
          </a:xfrm>
          <a:prstGeom prst="rect">
            <a:avLst/>
          </a:prstGeo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223865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92EE4594-39A7-47BA-B99C-DC9764EED164}" type="datetimeFigureOut">
              <a:rPr lang="vi-VN"/>
              <a:pPr>
                <a:defRPr/>
              </a:pPr>
              <a:t>17/08/2023</a:t>
            </a:fld>
            <a:endParaRPr lang="vi-VN"/>
          </a:p>
        </p:txBody>
      </p:sp>
      <p:sp>
        <p:nvSpPr>
          <p:cNvPr id="3" name="Footer Placeholder 4"/>
          <p:cNvSpPr>
            <a:spLocks noGrp="1"/>
          </p:cNvSpPr>
          <p:nvPr>
            <p:ph type="ftr" sz="quarter" idx="11"/>
          </p:nvPr>
        </p:nvSpPr>
        <p:spPr/>
        <p:txBody>
          <a:bodyPr/>
          <a:lstStyle>
            <a:lvl1pPr>
              <a:defRPr/>
            </a:lvl1pPr>
          </a:lstStyle>
          <a:p>
            <a:pPr>
              <a:defRPr/>
            </a:pPr>
            <a:endParaRPr lang="vi-VN"/>
          </a:p>
        </p:txBody>
      </p:sp>
      <p:sp>
        <p:nvSpPr>
          <p:cNvPr id="4" name="Slide Number Placeholder 5"/>
          <p:cNvSpPr>
            <a:spLocks noGrp="1"/>
          </p:cNvSpPr>
          <p:nvPr>
            <p:ph type="sldNum" sz="quarter" idx="12"/>
          </p:nvPr>
        </p:nvSpPr>
        <p:spPr/>
        <p:txBody>
          <a:bodyPr/>
          <a:lstStyle>
            <a:lvl1pPr>
              <a:defRPr/>
            </a:lvl1pPr>
          </a:lstStyle>
          <a:p>
            <a:pPr>
              <a:defRPr/>
            </a:pPr>
            <a:fld id="{029B2883-1697-4DC4-AE1B-2197BBD741C2}" type="slidenum">
              <a:rPr lang="vi-VN"/>
              <a:pPr>
                <a:defRPr/>
              </a:pPr>
              <a:t>‹#›</a:t>
            </a:fld>
            <a:endParaRPr lang="vi-VN"/>
          </a:p>
        </p:txBody>
      </p:sp>
    </p:spTree>
    <p:extLst>
      <p:ext uri="{BB962C8B-B14F-4D97-AF65-F5344CB8AC3E}">
        <p14:creationId xmlns:p14="http://schemas.microsoft.com/office/powerpoint/2010/main" val="379461813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42"/>
          <p:cNvGrpSpPr>
            <a:grpSpLocks/>
          </p:cNvGrpSpPr>
          <p:nvPr/>
        </p:nvGrpSpPr>
        <p:grpSpPr bwMode="auto">
          <a:xfrm>
            <a:off x="-510413" y="0"/>
            <a:ext cx="13243597" cy="6858000"/>
            <a:chOff x="-382404" y="0"/>
            <a:chExt cx="9932332" cy="6858000"/>
          </a:xfrm>
        </p:grpSpPr>
        <p:grpSp>
          <p:nvGrpSpPr>
            <p:cNvPr id="5" name="Group 44"/>
            <p:cNvGrpSpPr>
              <a:grpSpLocks/>
            </p:cNvGrpSpPr>
            <p:nvPr/>
          </p:nvGrpSpPr>
          <p:grpSpPr bwMode="auto">
            <a:xfrm>
              <a:off x="392" y="-12958"/>
              <a:ext cx="9135519" cy="6870958"/>
              <a:chOff x="392" y="-12958"/>
              <a:chExt cx="9135519" cy="6870958"/>
            </a:xfrm>
          </p:grpSpPr>
          <p:grpSp>
            <p:nvGrpSpPr>
              <p:cNvPr id="28" name="Group 4"/>
              <p:cNvGrpSpPr>
                <a:grpSpLocks/>
              </p:cNvGrpSpPr>
              <p:nvPr/>
            </p:nvGrpSpPr>
            <p:grpSpPr bwMode="auto">
              <a:xfrm>
                <a:off x="392" y="0"/>
                <a:ext cx="2513964" cy="6858000"/>
                <a:chOff x="392" y="0"/>
                <a:chExt cx="2513964" cy="6858000"/>
              </a:xfrm>
            </p:grpSpPr>
            <p:sp>
              <p:nvSpPr>
                <p:cNvPr id="40" name="Rectangle 114"/>
                <p:cNvSpPr/>
                <p:nvPr/>
              </p:nvSpPr>
              <p:spPr>
                <a:xfrm>
                  <a:off x="913944" y="0"/>
                  <a:ext cx="1600412"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41" name="Rectangle 2"/>
                <p:cNvSpPr/>
                <p:nvPr/>
              </p:nvSpPr>
              <p:spPr>
                <a:xfrm>
                  <a:off x="392" y="0"/>
                  <a:ext cx="457455"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42" name="Rectangle 3"/>
                <p:cNvSpPr/>
                <p:nvPr/>
              </p:nvSpPr>
              <p:spPr>
                <a:xfrm>
                  <a:off x="228441" y="0"/>
                  <a:ext cx="762877"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grpSp>
          <p:grpSp>
            <p:nvGrpSpPr>
              <p:cNvPr id="29" name="Group 5"/>
              <p:cNvGrpSpPr>
                <a:grpSpLocks/>
              </p:cNvGrpSpPr>
              <p:nvPr/>
            </p:nvGrpSpPr>
            <p:grpSpPr bwMode="auto">
              <a:xfrm>
                <a:off x="423911" y="0"/>
                <a:ext cx="2513964" cy="6858000"/>
                <a:chOff x="1001" y="0"/>
                <a:chExt cx="2513964" cy="6858000"/>
              </a:xfrm>
            </p:grpSpPr>
            <p:sp>
              <p:nvSpPr>
                <p:cNvPr id="37" name="Rectangle 84"/>
                <p:cNvSpPr/>
                <p:nvPr/>
              </p:nvSpPr>
              <p:spPr>
                <a:xfrm>
                  <a:off x="914553" y="0"/>
                  <a:ext cx="1600412"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38" name="Rectangle 85"/>
                <p:cNvSpPr/>
                <p:nvPr/>
              </p:nvSpPr>
              <p:spPr>
                <a:xfrm>
                  <a:off x="1001" y="0"/>
                  <a:ext cx="457455"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39" name="Rectangle 113"/>
                <p:cNvSpPr/>
                <p:nvPr/>
              </p:nvSpPr>
              <p:spPr>
                <a:xfrm>
                  <a:off x="229050" y="0"/>
                  <a:ext cx="762877"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grpSp>
          <p:grpSp>
            <p:nvGrpSpPr>
              <p:cNvPr id="30" name="Group 9"/>
              <p:cNvGrpSpPr>
                <a:grpSpLocks/>
              </p:cNvGrpSpPr>
              <p:nvPr/>
            </p:nvGrpSpPr>
            <p:grpSpPr bwMode="auto">
              <a:xfrm rot="10800000">
                <a:off x="6621947" y="-12958"/>
                <a:ext cx="2513964" cy="6866638"/>
                <a:chOff x="8089" y="4320"/>
                <a:chExt cx="2513964" cy="6866638"/>
              </a:xfrm>
            </p:grpSpPr>
            <p:sp>
              <p:nvSpPr>
                <p:cNvPr id="34" name="Rectangle 77"/>
                <p:cNvSpPr/>
                <p:nvPr/>
              </p:nvSpPr>
              <p:spPr>
                <a:xfrm>
                  <a:off x="921640" y="4320"/>
                  <a:ext cx="1600413" cy="6857999"/>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35" name="Rectangle 78"/>
                <p:cNvSpPr/>
                <p:nvPr/>
              </p:nvSpPr>
              <p:spPr>
                <a:xfrm>
                  <a:off x="8089" y="12959"/>
                  <a:ext cx="457454" cy="6857999"/>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36" name="Rectangle 80"/>
                <p:cNvSpPr/>
                <p:nvPr/>
              </p:nvSpPr>
              <p:spPr>
                <a:xfrm>
                  <a:off x="227993" y="12959"/>
                  <a:ext cx="762877" cy="6857999"/>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grpSp>
          <p:sp>
            <p:nvSpPr>
              <p:cNvPr id="31" name="Rectangle 74"/>
              <p:cNvSpPr/>
              <p:nvPr/>
            </p:nvSpPr>
            <p:spPr>
              <a:xfrm>
                <a:off x="3810705" y="0"/>
                <a:ext cx="2819386"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32" name="Rectangle 75"/>
              <p:cNvSpPr/>
              <p:nvPr/>
            </p:nvSpPr>
            <p:spPr>
              <a:xfrm>
                <a:off x="2895795" y="0"/>
                <a:ext cx="457454"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33" name="Rectangle 76"/>
              <p:cNvSpPr/>
              <p:nvPr/>
            </p:nvSpPr>
            <p:spPr>
              <a:xfrm>
                <a:off x="3123844" y="0"/>
                <a:ext cx="762877"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grpSp>
        <p:sp>
          <p:nvSpPr>
            <p:cNvPr id="6" name="Freeform 44"/>
            <p:cNvSpPr/>
            <p:nvPr/>
          </p:nvSpPr>
          <p:spPr>
            <a:xfrm>
              <a:off x="-11825" y="5035151"/>
              <a:ext cx="9143664" cy="1176356"/>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33"/>
            </a:p>
          </p:txBody>
        </p:sp>
        <p:sp>
          <p:nvSpPr>
            <p:cNvPr id="7" name="Freeform 47"/>
            <p:cNvSpPr/>
            <p:nvPr/>
          </p:nvSpPr>
          <p:spPr>
            <a:xfrm>
              <a:off x="-11825" y="3467156"/>
              <a:ext cx="9143664" cy="891267"/>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33"/>
            </a:p>
          </p:txBody>
        </p:sp>
        <p:sp>
          <p:nvSpPr>
            <p:cNvPr id="8" name="Freeform 48"/>
            <p:cNvSpPr/>
            <p:nvPr/>
          </p:nvSpPr>
          <p:spPr>
            <a:xfrm>
              <a:off x="-24042" y="5641327"/>
              <a:ext cx="3005355" cy="121091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33"/>
            </a:p>
          </p:txBody>
        </p:sp>
        <p:sp>
          <p:nvSpPr>
            <p:cNvPr id="9" name="Freeform 50"/>
            <p:cNvSpPr/>
            <p:nvPr/>
          </p:nvSpPr>
          <p:spPr>
            <a:xfrm>
              <a:off x="-11825" y="5284245"/>
              <a:ext cx="9143664" cy="1478725"/>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33"/>
            </a:p>
          </p:txBody>
        </p:sp>
        <p:sp>
          <p:nvSpPr>
            <p:cNvPr id="10" name="Freeform 51"/>
            <p:cNvSpPr/>
            <p:nvPr/>
          </p:nvSpPr>
          <p:spPr>
            <a:xfrm>
              <a:off x="2136990" y="5131621"/>
              <a:ext cx="6982631" cy="1720620"/>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33"/>
            </a:p>
          </p:txBody>
        </p:sp>
        <p:sp>
          <p:nvSpPr>
            <p:cNvPr id="11" name="Hexagon 52"/>
            <p:cNvSpPr/>
            <p:nvPr/>
          </p:nvSpPr>
          <p:spPr>
            <a:xfrm rot="1800000">
              <a:off x="2996245" y="2859540"/>
              <a:ext cx="1601770" cy="1388014"/>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12" name="Hexagon 53"/>
            <p:cNvSpPr/>
            <p:nvPr/>
          </p:nvSpPr>
          <p:spPr>
            <a:xfrm rot="1800000">
              <a:off x="3719756" y="4126606"/>
              <a:ext cx="1601770" cy="1388014"/>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13" name="Hexagon 54"/>
            <p:cNvSpPr/>
            <p:nvPr/>
          </p:nvSpPr>
          <p:spPr>
            <a:xfrm rot="1800000">
              <a:off x="3729259" y="1592473"/>
              <a:ext cx="1601770" cy="1388014"/>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14" name="Hexagon 55"/>
            <p:cNvSpPr/>
            <p:nvPr/>
          </p:nvSpPr>
          <p:spPr>
            <a:xfrm rot="1800000">
              <a:off x="2977241" y="325406"/>
              <a:ext cx="1601770" cy="1388014"/>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15" name="Hexagon 56"/>
            <p:cNvSpPr/>
            <p:nvPr/>
          </p:nvSpPr>
          <p:spPr>
            <a:xfrm rot="1800000">
              <a:off x="4463629" y="5383595"/>
              <a:ext cx="1600413" cy="1388014"/>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16" name="Freeform 57"/>
            <p:cNvSpPr/>
            <p:nvPr/>
          </p:nvSpPr>
          <p:spPr>
            <a:xfrm rot="1800000">
              <a:off x="-382404" y="4201479"/>
              <a:ext cx="1261055" cy="1388014"/>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17" name="Hexagon 58"/>
            <p:cNvSpPr/>
            <p:nvPr/>
          </p:nvSpPr>
          <p:spPr>
            <a:xfrm rot="1800000">
              <a:off x="24826" y="5402312"/>
              <a:ext cx="1600413" cy="1388014"/>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18" name="Hexagon 59"/>
            <p:cNvSpPr/>
            <p:nvPr/>
          </p:nvSpPr>
          <p:spPr>
            <a:xfrm rot="1800000">
              <a:off x="53332" y="2849461"/>
              <a:ext cx="1600412" cy="1388014"/>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19" name="Hexagon 60"/>
            <p:cNvSpPr/>
            <p:nvPr/>
          </p:nvSpPr>
          <p:spPr>
            <a:xfrm rot="1800000">
              <a:off x="776843" y="4126606"/>
              <a:ext cx="1601770" cy="1388014"/>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20" name="Hexagon 61"/>
            <p:cNvSpPr/>
            <p:nvPr/>
          </p:nvSpPr>
          <p:spPr>
            <a:xfrm rot="1800000">
              <a:off x="1509857" y="5412392"/>
              <a:ext cx="1601770" cy="1388014"/>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21" name="Hexagon 62"/>
            <p:cNvSpPr/>
            <p:nvPr/>
          </p:nvSpPr>
          <p:spPr>
            <a:xfrm rot="1800000">
              <a:off x="1528861" y="2859540"/>
              <a:ext cx="1601770" cy="1388014"/>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22" name="Hexagon 63"/>
            <p:cNvSpPr/>
            <p:nvPr/>
          </p:nvSpPr>
          <p:spPr>
            <a:xfrm rot="1800000">
              <a:off x="795847" y="1563676"/>
              <a:ext cx="1601770" cy="1388014"/>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23" name="Hexagon 64"/>
            <p:cNvSpPr/>
            <p:nvPr/>
          </p:nvSpPr>
          <p:spPr>
            <a:xfrm rot="1800000">
              <a:off x="6806557" y="4145325"/>
              <a:ext cx="1600413" cy="1388014"/>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24" name="Hexagon 65"/>
            <p:cNvSpPr/>
            <p:nvPr/>
          </p:nvSpPr>
          <p:spPr>
            <a:xfrm rot="1800000">
              <a:off x="7549073" y="5421031"/>
              <a:ext cx="1601770" cy="1388014"/>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25" name="Hexagon 66"/>
            <p:cNvSpPr/>
            <p:nvPr/>
          </p:nvSpPr>
          <p:spPr>
            <a:xfrm rot="1800000">
              <a:off x="7549073" y="2868179"/>
              <a:ext cx="1601770" cy="1389454"/>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26" name="Freeform 67"/>
            <p:cNvSpPr/>
            <p:nvPr/>
          </p:nvSpPr>
          <p:spPr>
            <a:xfrm rot="1800000">
              <a:off x="8306520" y="4056054"/>
              <a:ext cx="1243408" cy="1388014"/>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27" name="Freeform 68"/>
            <p:cNvSpPr/>
            <p:nvPr/>
          </p:nvSpPr>
          <p:spPr>
            <a:xfrm rot="1800000">
              <a:off x="8306520" y="1511841"/>
              <a:ext cx="1242050" cy="1388014"/>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grpSp>
      <p:sp>
        <p:nvSpPr>
          <p:cNvPr id="43" name="Rectangle 45"/>
          <p:cNvSpPr/>
          <p:nvPr/>
        </p:nvSpPr>
        <p:spPr>
          <a:xfrm>
            <a:off x="6081521" y="-21598"/>
            <a:ext cx="4905036" cy="6271982"/>
          </a:xfrm>
          <a:prstGeom prst="rect">
            <a:avLst/>
          </a:prstGeom>
          <a:solidFill>
            <a:srgbClr val="F5F5F5"/>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4605" tIns="47302" rIns="94605" bIns="47302" anchor="ctr"/>
          <a:lstStyle/>
          <a:p>
            <a:pPr algn="ctr">
              <a:defRPr/>
            </a:pPr>
            <a:endParaRPr lang="en-US" sz="1633"/>
          </a:p>
        </p:txBody>
      </p:sp>
      <p:sp>
        <p:nvSpPr>
          <p:cNvPr id="44" name="Rectangle 46"/>
          <p:cNvSpPr/>
          <p:nvPr/>
        </p:nvSpPr>
        <p:spPr>
          <a:xfrm>
            <a:off x="6199170" y="-21598"/>
            <a:ext cx="4673359" cy="231239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4605" tIns="47302" rIns="94605" bIns="47302" anchor="ctr"/>
          <a:lstStyle/>
          <a:p>
            <a:pPr algn="ctr">
              <a:defRPr/>
            </a:pPr>
            <a:endParaRPr lang="en-US" sz="1633"/>
          </a:p>
        </p:txBody>
      </p:sp>
      <p:sp>
        <p:nvSpPr>
          <p:cNvPr id="45" name="Rectangle 49"/>
          <p:cNvSpPr/>
          <p:nvPr/>
        </p:nvSpPr>
        <p:spPr>
          <a:xfrm>
            <a:off x="6200979" y="6087680"/>
            <a:ext cx="4673359" cy="820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4605" tIns="47302" rIns="94605" bIns="47302" anchor="ctr"/>
          <a:lstStyle/>
          <a:p>
            <a:pPr algn="ctr">
              <a:defRPr/>
            </a:pPr>
            <a:endParaRPr lang="en-US" sz="1633"/>
          </a:p>
        </p:txBody>
      </p:sp>
      <p:sp>
        <p:nvSpPr>
          <p:cNvPr id="46" name="Rectangle 88"/>
          <p:cNvSpPr/>
          <p:nvPr/>
        </p:nvSpPr>
        <p:spPr>
          <a:xfrm>
            <a:off x="6200979" y="6087680"/>
            <a:ext cx="4673359" cy="820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4605" tIns="47302" rIns="94605" bIns="47302" anchor="ctr"/>
          <a:lstStyle/>
          <a:p>
            <a:pPr algn="ctr">
              <a:defRPr/>
            </a:pPr>
            <a:endParaRPr lang="en-US" sz="1633"/>
          </a:p>
        </p:txBody>
      </p:sp>
      <p:sp>
        <p:nvSpPr>
          <p:cNvPr id="2" name="Title 1"/>
          <p:cNvSpPr>
            <a:spLocks noGrp="1"/>
          </p:cNvSpPr>
          <p:nvPr>
            <p:ph type="ctrTitle"/>
          </p:nvPr>
        </p:nvSpPr>
        <p:spPr>
          <a:xfrm>
            <a:off x="6311155" y="2708476"/>
            <a:ext cx="4417807" cy="1702160"/>
          </a:xfrm>
        </p:spPr>
        <p:txBody>
          <a:bodyPr>
            <a:normAutofit/>
          </a:bodyPr>
          <a:lstStyle>
            <a:lvl1pPr>
              <a:defRPr sz="3719"/>
            </a:lvl1pPr>
          </a:lstStyle>
          <a:p>
            <a:r>
              <a:rPr lang="en-US"/>
              <a:t>Click to edit Master title style</a:t>
            </a:r>
            <a:endParaRPr lang="en-US" dirty="0"/>
          </a:p>
        </p:txBody>
      </p:sp>
      <p:sp>
        <p:nvSpPr>
          <p:cNvPr id="3" name="Subtitle 2"/>
          <p:cNvSpPr>
            <a:spLocks noGrp="1"/>
          </p:cNvSpPr>
          <p:nvPr>
            <p:ph type="subTitle" idx="1"/>
          </p:nvPr>
        </p:nvSpPr>
        <p:spPr>
          <a:xfrm>
            <a:off x="6311155" y="4421080"/>
            <a:ext cx="4413071" cy="1260629"/>
          </a:xfrm>
        </p:spPr>
        <p:txBody>
          <a:bodyPr>
            <a:normAutofit/>
          </a:bodyPr>
          <a:lstStyle>
            <a:lvl1pPr marL="0" indent="0" algn="l">
              <a:buNone/>
              <a:defRPr sz="1905">
                <a:solidFill>
                  <a:srgbClr val="424242"/>
                </a:solidFill>
              </a:defRPr>
            </a:lvl1pPr>
            <a:lvl2pPr marL="473026" indent="0" algn="ctr">
              <a:buNone/>
              <a:defRPr>
                <a:solidFill>
                  <a:schemeClr val="tx1">
                    <a:tint val="75000"/>
                  </a:schemeClr>
                </a:solidFill>
              </a:defRPr>
            </a:lvl2pPr>
            <a:lvl3pPr marL="946052" indent="0" algn="ctr">
              <a:buNone/>
              <a:defRPr>
                <a:solidFill>
                  <a:schemeClr val="tx1">
                    <a:tint val="75000"/>
                  </a:schemeClr>
                </a:solidFill>
              </a:defRPr>
            </a:lvl3pPr>
            <a:lvl4pPr marL="1419078" indent="0" algn="ctr">
              <a:buNone/>
              <a:defRPr>
                <a:solidFill>
                  <a:schemeClr val="tx1">
                    <a:tint val="75000"/>
                  </a:schemeClr>
                </a:solidFill>
              </a:defRPr>
            </a:lvl4pPr>
            <a:lvl5pPr marL="1892104" indent="0" algn="ctr">
              <a:buNone/>
              <a:defRPr>
                <a:solidFill>
                  <a:schemeClr val="tx1">
                    <a:tint val="75000"/>
                  </a:schemeClr>
                </a:solidFill>
              </a:defRPr>
            </a:lvl5pPr>
            <a:lvl6pPr marL="2365129" indent="0" algn="ctr">
              <a:buNone/>
              <a:defRPr>
                <a:solidFill>
                  <a:schemeClr val="tx1">
                    <a:tint val="75000"/>
                  </a:schemeClr>
                </a:solidFill>
              </a:defRPr>
            </a:lvl6pPr>
            <a:lvl7pPr marL="2838155" indent="0" algn="ctr">
              <a:buNone/>
              <a:defRPr>
                <a:solidFill>
                  <a:schemeClr val="tx1">
                    <a:tint val="75000"/>
                  </a:schemeClr>
                </a:solidFill>
              </a:defRPr>
            </a:lvl7pPr>
            <a:lvl8pPr marL="3311181" indent="0" algn="ctr">
              <a:buNone/>
              <a:defRPr>
                <a:solidFill>
                  <a:schemeClr val="tx1">
                    <a:tint val="75000"/>
                  </a:schemeClr>
                </a:solidFill>
              </a:defRPr>
            </a:lvl8pPr>
            <a:lvl9pPr marL="3784207" indent="0" algn="ctr">
              <a:buNone/>
              <a:defRPr>
                <a:solidFill>
                  <a:schemeClr val="tx1">
                    <a:tint val="75000"/>
                  </a:schemeClr>
                </a:solidFill>
              </a:defRPr>
            </a:lvl9pPr>
          </a:lstStyle>
          <a:p>
            <a:r>
              <a:rPr lang="en-US"/>
              <a:t>Click to edit Master subtitle style</a:t>
            </a:r>
            <a:endParaRPr lang="en-US" dirty="0"/>
          </a:p>
        </p:txBody>
      </p:sp>
      <p:sp>
        <p:nvSpPr>
          <p:cNvPr id="47" name="Date Placeholder 3"/>
          <p:cNvSpPr>
            <a:spLocks noGrp="1"/>
          </p:cNvSpPr>
          <p:nvPr>
            <p:ph type="dt" sz="half" idx="10"/>
          </p:nvPr>
        </p:nvSpPr>
        <p:spPr>
          <a:xfrm>
            <a:off x="6318627" y="1516162"/>
            <a:ext cx="2845283" cy="751601"/>
          </a:xfrm>
        </p:spPr>
        <p:txBody>
          <a:bodyPr anchor="b"/>
          <a:lstStyle>
            <a:lvl1pPr algn="l">
              <a:defRPr sz="2449"/>
            </a:lvl1pPr>
          </a:lstStyle>
          <a:p>
            <a:pPr>
              <a:defRPr/>
            </a:pPr>
            <a:fld id="{8AA8BD7B-BBC8-40E3-9F41-52B4F3B595D5}" type="datetimeFigureOut">
              <a:rPr lang="vi-VN"/>
              <a:pPr>
                <a:defRPr/>
              </a:pPr>
              <a:t>17/08/2023</a:t>
            </a:fld>
            <a:endParaRPr lang="vi-VN"/>
          </a:p>
        </p:txBody>
      </p:sp>
      <p:sp>
        <p:nvSpPr>
          <p:cNvPr id="48" name="Footer Placeholder 4"/>
          <p:cNvSpPr>
            <a:spLocks noGrp="1"/>
          </p:cNvSpPr>
          <p:nvPr>
            <p:ph type="ftr" sz="quarter" idx="11"/>
          </p:nvPr>
        </p:nvSpPr>
        <p:spPr>
          <a:xfrm>
            <a:off x="7071579" y="5720520"/>
            <a:ext cx="3775610" cy="364281"/>
          </a:xfrm>
        </p:spPr>
        <p:txBody>
          <a:bodyPr>
            <a:normAutofit/>
          </a:bodyPr>
          <a:lstStyle>
            <a:lvl1pPr>
              <a:defRPr>
                <a:solidFill>
                  <a:schemeClr val="accent1"/>
                </a:solidFill>
              </a:defRPr>
            </a:lvl1pPr>
          </a:lstStyle>
          <a:p>
            <a:pPr>
              <a:defRPr/>
            </a:pPr>
            <a:endParaRPr lang="vi-VN"/>
          </a:p>
        </p:txBody>
      </p:sp>
      <p:sp>
        <p:nvSpPr>
          <p:cNvPr id="49" name="Slide Number Placeholder 5"/>
          <p:cNvSpPr>
            <a:spLocks noGrp="1"/>
          </p:cNvSpPr>
          <p:nvPr>
            <p:ph type="sldNum" sz="quarter" idx="12"/>
          </p:nvPr>
        </p:nvSpPr>
        <p:spPr>
          <a:xfrm>
            <a:off x="6199170" y="5720520"/>
            <a:ext cx="857929" cy="364281"/>
          </a:xfrm>
        </p:spPr>
        <p:txBody>
          <a:bodyPr/>
          <a:lstStyle>
            <a:lvl1pPr>
              <a:defRPr>
                <a:solidFill>
                  <a:schemeClr val="accent1"/>
                </a:solidFill>
              </a:defRPr>
            </a:lvl1pPr>
          </a:lstStyle>
          <a:p>
            <a:pPr>
              <a:defRPr/>
            </a:pPr>
            <a:fld id="{CE08FEB2-823E-4C37-B5BC-A4A4363E9FE6}" type="slidenum">
              <a:rPr lang="vi-VN"/>
              <a:pPr>
                <a:defRPr/>
              </a:pPr>
              <a:t>‹#›</a:t>
            </a:fld>
            <a:endParaRPr lang="vi-VN"/>
          </a:p>
        </p:txBody>
      </p:sp>
    </p:spTree>
    <p:extLst>
      <p:ext uri="{BB962C8B-B14F-4D97-AF65-F5344CB8AC3E}">
        <p14:creationId xmlns:p14="http://schemas.microsoft.com/office/powerpoint/2010/main" val="230146725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lvl1pPr>
          </a:lstStyle>
          <a:p>
            <a:pPr>
              <a:defRPr/>
            </a:pPr>
            <a:fld id="{6C82A6C9-9DDF-4D4A-A995-D393AE44CE81}" type="datetimeFigureOut">
              <a:rPr lang="vi-VN"/>
              <a:pPr>
                <a:defRPr/>
              </a:pPr>
              <a:t>17/08/2023</a:t>
            </a:fld>
            <a:endParaRPr lang="vi-VN"/>
          </a:p>
        </p:txBody>
      </p:sp>
      <p:sp>
        <p:nvSpPr>
          <p:cNvPr id="5" name="Footer Placeholder 4"/>
          <p:cNvSpPr>
            <a:spLocks noGrp="1"/>
          </p:cNvSpPr>
          <p:nvPr>
            <p:ph type="ftr" sz="quarter" idx="11"/>
          </p:nvPr>
        </p:nvSpPr>
        <p:spPr/>
        <p:txBody>
          <a:bodyPr/>
          <a:lstStyle>
            <a:lvl1pPr>
              <a:defRPr/>
            </a:lvl1pPr>
          </a:lstStyle>
          <a:p>
            <a:pPr>
              <a:defRPr/>
            </a:pPr>
            <a:endParaRPr lang="vi-VN"/>
          </a:p>
        </p:txBody>
      </p:sp>
      <p:sp>
        <p:nvSpPr>
          <p:cNvPr id="6" name="Slide Number Placeholder 5"/>
          <p:cNvSpPr>
            <a:spLocks noGrp="1"/>
          </p:cNvSpPr>
          <p:nvPr>
            <p:ph type="sldNum" sz="quarter" idx="12"/>
          </p:nvPr>
        </p:nvSpPr>
        <p:spPr/>
        <p:txBody>
          <a:bodyPr/>
          <a:lstStyle>
            <a:lvl1pPr>
              <a:defRPr/>
            </a:lvl1pPr>
          </a:lstStyle>
          <a:p>
            <a:pPr>
              <a:defRPr/>
            </a:pPr>
            <a:fld id="{726C2379-702F-4244-8288-9297ACB59EDF}" type="slidenum">
              <a:rPr lang="vi-VN"/>
              <a:pPr>
                <a:defRPr/>
              </a:pPr>
              <a:t>‹#›</a:t>
            </a:fld>
            <a:endParaRPr lang="vi-VN"/>
          </a:p>
        </p:txBody>
      </p:sp>
    </p:spTree>
    <p:extLst>
      <p:ext uri="{BB962C8B-B14F-4D97-AF65-F5344CB8AC3E}">
        <p14:creationId xmlns:p14="http://schemas.microsoft.com/office/powerpoint/2010/main" val="173504001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678193" y="2900830"/>
            <a:ext cx="8849957" cy="1362075"/>
          </a:xfrm>
        </p:spPr>
        <p:txBody>
          <a:bodyPr/>
          <a:lstStyle>
            <a:lvl1pPr algn="l">
              <a:defRPr sz="4172" b="0" cap="none" baseline="0"/>
            </a:lvl1pPr>
          </a:lstStyle>
          <a:p>
            <a:r>
              <a:rPr lang="en-US"/>
              <a:t>Click to edit Master title style</a:t>
            </a:r>
            <a:endParaRPr lang="en-US" dirty="0"/>
          </a:p>
        </p:txBody>
      </p:sp>
      <p:sp>
        <p:nvSpPr>
          <p:cNvPr id="3" name="Text Placeholder 2"/>
          <p:cNvSpPr>
            <a:spLocks noGrp="1"/>
          </p:cNvSpPr>
          <p:nvPr>
            <p:ph type="body" idx="1"/>
          </p:nvPr>
        </p:nvSpPr>
        <p:spPr>
          <a:xfrm>
            <a:off x="1678195" y="4267200"/>
            <a:ext cx="8849956" cy="1520413"/>
          </a:xfrm>
        </p:spPr>
        <p:txBody>
          <a:bodyPr/>
          <a:lstStyle>
            <a:lvl1pPr marL="0" indent="0">
              <a:buNone/>
              <a:defRPr sz="2086">
                <a:solidFill>
                  <a:schemeClr val="tx1">
                    <a:tint val="75000"/>
                  </a:schemeClr>
                </a:solidFill>
              </a:defRPr>
            </a:lvl1pPr>
            <a:lvl2pPr marL="473026" indent="0">
              <a:buNone/>
              <a:defRPr sz="1905">
                <a:solidFill>
                  <a:schemeClr val="tx1">
                    <a:tint val="75000"/>
                  </a:schemeClr>
                </a:solidFill>
              </a:defRPr>
            </a:lvl2pPr>
            <a:lvl3pPr marL="946052" indent="0">
              <a:buNone/>
              <a:defRPr sz="1633">
                <a:solidFill>
                  <a:schemeClr val="tx1">
                    <a:tint val="75000"/>
                  </a:schemeClr>
                </a:solidFill>
              </a:defRPr>
            </a:lvl3pPr>
            <a:lvl4pPr marL="1419078" indent="0">
              <a:buNone/>
              <a:defRPr sz="1451">
                <a:solidFill>
                  <a:schemeClr val="tx1">
                    <a:tint val="75000"/>
                  </a:schemeClr>
                </a:solidFill>
              </a:defRPr>
            </a:lvl4pPr>
            <a:lvl5pPr marL="1892104" indent="0">
              <a:buNone/>
              <a:defRPr sz="1451">
                <a:solidFill>
                  <a:schemeClr val="tx1">
                    <a:tint val="75000"/>
                  </a:schemeClr>
                </a:solidFill>
              </a:defRPr>
            </a:lvl5pPr>
            <a:lvl6pPr marL="2365129" indent="0">
              <a:buNone/>
              <a:defRPr sz="1451">
                <a:solidFill>
                  <a:schemeClr val="tx1">
                    <a:tint val="75000"/>
                  </a:schemeClr>
                </a:solidFill>
              </a:defRPr>
            </a:lvl6pPr>
            <a:lvl7pPr marL="2838155" indent="0">
              <a:buNone/>
              <a:defRPr sz="1451">
                <a:solidFill>
                  <a:schemeClr val="tx1">
                    <a:tint val="75000"/>
                  </a:schemeClr>
                </a:solidFill>
              </a:defRPr>
            </a:lvl7pPr>
            <a:lvl8pPr marL="3311181" indent="0">
              <a:buNone/>
              <a:defRPr sz="1451">
                <a:solidFill>
                  <a:schemeClr val="tx1">
                    <a:tint val="75000"/>
                  </a:schemeClr>
                </a:solidFill>
              </a:defRPr>
            </a:lvl8pPr>
            <a:lvl9pPr marL="3784207" indent="0">
              <a:buNone/>
              <a:defRPr sz="1451">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F27D6586-74B9-4C76-864E-CE4E23D89055}" type="datetimeFigureOut">
              <a:rPr lang="vi-VN"/>
              <a:pPr>
                <a:defRPr/>
              </a:pPr>
              <a:t>17/08/2023</a:t>
            </a:fld>
            <a:endParaRPr lang="vi-VN"/>
          </a:p>
        </p:txBody>
      </p:sp>
      <p:sp>
        <p:nvSpPr>
          <p:cNvPr id="5" name="Footer Placeholder 4"/>
          <p:cNvSpPr>
            <a:spLocks noGrp="1"/>
          </p:cNvSpPr>
          <p:nvPr>
            <p:ph type="ftr" sz="quarter" idx="11"/>
          </p:nvPr>
        </p:nvSpPr>
        <p:spPr/>
        <p:txBody>
          <a:bodyPr/>
          <a:lstStyle>
            <a:lvl1pPr>
              <a:defRPr/>
            </a:lvl1pPr>
          </a:lstStyle>
          <a:p>
            <a:pPr>
              <a:defRPr/>
            </a:pPr>
            <a:endParaRPr lang="vi-VN"/>
          </a:p>
        </p:txBody>
      </p:sp>
      <p:sp>
        <p:nvSpPr>
          <p:cNvPr id="6" name="Slide Number Placeholder 5"/>
          <p:cNvSpPr>
            <a:spLocks noGrp="1"/>
          </p:cNvSpPr>
          <p:nvPr>
            <p:ph type="sldNum" sz="quarter" idx="12"/>
          </p:nvPr>
        </p:nvSpPr>
        <p:spPr/>
        <p:txBody>
          <a:bodyPr/>
          <a:lstStyle>
            <a:lvl1pPr>
              <a:defRPr/>
            </a:lvl1pPr>
          </a:lstStyle>
          <a:p>
            <a:pPr>
              <a:defRPr/>
            </a:pPr>
            <a:fld id="{9045CD40-860F-4AE0-8318-020B1A12124A}" type="slidenum">
              <a:rPr lang="vi-VN"/>
              <a:pPr>
                <a:defRPr/>
              </a:pPr>
              <a:t>‹#›</a:t>
            </a:fld>
            <a:endParaRPr lang="vi-VN"/>
          </a:p>
        </p:txBody>
      </p:sp>
    </p:spTree>
    <p:extLst>
      <p:ext uri="{BB962C8B-B14F-4D97-AF65-F5344CB8AC3E}">
        <p14:creationId xmlns:p14="http://schemas.microsoft.com/office/powerpoint/2010/main" val="390581346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Content Placeholder 8"/>
          <p:cNvSpPr>
            <a:spLocks noGrp="1"/>
          </p:cNvSpPr>
          <p:nvPr>
            <p:ph sz="quarter" idx="13"/>
          </p:nvPr>
        </p:nvSpPr>
        <p:spPr>
          <a:xfrm>
            <a:off x="1389888" y="2313432"/>
            <a:ext cx="4559808" cy="34930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14"/>
          </p:nvPr>
        </p:nvSpPr>
        <p:spPr>
          <a:xfrm>
            <a:off x="6193536" y="2313431"/>
            <a:ext cx="4559808" cy="34930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5"/>
          </p:nvPr>
        </p:nvSpPr>
        <p:spPr/>
        <p:txBody>
          <a:bodyPr/>
          <a:lstStyle>
            <a:lvl1pPr>
              <a:defRPr/>
            </a:lvl1pPr>
          </a:lstStyle>
          <a:p>
            <a:pPr>
              <a:defRPr/>
            </a:pPr>
            <a:fld id="{B8FE57FB-0D4F-4075-A776-992A59F174AC}" type="datetimeFigureOut">
              <a:rPr lang="vi-VN"/>
              <a:pPr>
                <a:defRPr/>
              </a:pPr>
              <a:t>17/08/2023</a:t>
            </a:fld>
            <a:endParaRPr lang="vi-VN"/>
          </a:p>
        </p:txBody>
      </p:sp>
      <p:sp>
        <p:nvSpPr>
          <p:cNvPr id="6" name="Footer Placeholder 4"/>
          <p:cNvSpPr>
            <a:spLocks noGrp="1"/>
          </p:cNvSpPr>
          <p:nvPr>
            <p:ph type="ftr" sz="quarter" idx="16"/>
          </p:nvPr>
        </p:nvSpPr>
        <p:spPr/>
        <p:txBody>
          <a:bodyPr/>
          <a:lstStyle>
            <a:lvl1pPr>
              <a:defRPr/>
            </a:lvl1pPr>
          </a:lstStyle>
          <a:p>
            <a:pPr>
              <a:defRPr/>
            </a:pPr>
            <a:endParaRPr lang="vi-VN"/>
          </a:p>
        </p:txBody>
      </p:sp>
      <p:sp>
        <p:nvSpPr>
          <p:cNvPr id="7" name="Slide Number Placeholder 5"/>
          <p:cNvSpPr>
            <a:spLocks noGrp="1"/>
          </p:cNvSpPr>
          <p:nvPr>
            <p:ph type="sldNum" sz="quarter" idx="17"/>
          </p:nvPr>
        </p:nvSpPr>
        <p:spPr/>
        <p:txBody>
          <a:bodyPr/>
          <a:lstStyle>
            <a:lvl1pPr>
              <a:defRPr/>
            </a:lvl1pPr>
          </a:lstStyle>
          <a:p>
            <a:pPr>
              <a:defRPr/>
            </a:pPr>
            <a:fld id="{949ED86B-E205-481C-B76E-790D0A1B6C07}" type="slidenum">
              <a:rPr lang="vi-VN"/>
              <a:pPr>
                <a:defRPr/>
              </a:pPr>
              <a:t>‹#›</a:t>
            </a:fld>
            <a:endParaRPr lang="vi-VN"/>
          </a:p>
        </p:txBody>
      </p:sp>
    </p:spTree>
    <p:extLst>
      <p:ext uri="{BB962C8B-B14F-4D97-AF65-F5344CB8AC3E}">
        <p14:creationId xmlns:p14="http://schemas.microsoft.com/office/powerpoint/2010/main" val="185638328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1882815" y="2316009"/>
            <a:ext cx="4076198" cy="639762"/>
          </a:xfrm>
        </p:spPr>
        <p:txBody>
          <a:bodyPr anchor="b"/>
          <a:lstStyle>
            <a:lvl1pPr marL="0" indent="0">
              <a:buNone/>
              <a:defRPr sz="2449" b="1">
                <a:solidFill>
                  <a:schemeClr val="accent1"/>
                </a:solidFill>
              </a:defRPr>
            </a:lvl1pPr>
            <a:lvl2pPr marL="473026" indent="0">
              <a:buNone/>
              <a:defRPr sz="2086" b="1"/>
            </a:lvl2pPr>
            <a:lvl3pPr marL="946052" indent="0">
              <a:buNone/>
              <a:defRPr sz="1905" b="1"/>
            </a:lvl3pPr>
            <a:lvl4pPr marL="1419078" indent="0">
              <a:buNone/>
              <a:defRPr sz="1633" b="1"/>
            </a:lvl4pPr>
            <a:lvl5pPr marL="1892104" indent="0">
              <a:buNone/>
              <a:defRPr sz="1633" b="1"/>
            </a:lvl5pPr>
            <a:lvl6pPr marL="2365129" indent="0">
              <a:buNone/>
              <a:defRPr sz="1633" b="1"/>
            </a:lvl6pPr>
            <a:lvl7pPr marL="2838155" indent="0">
              <a:buNone/>
              <a:defRPr sz="1633" b="1"/>
            </a:lvl7pPr>
            <a:lvl8pPr marL="3311181" indent="0">
              <a:buNone/>
              <a:defRPr sz="1633" b="1"/>
            </a:lvl8pPr>
            <a:lvl9pPr marL="3784207" indent="0">
              <a:buNone/>
              <a:defRPr sz="1633" b="1"/>
            </a:lvl9pPr>
          </a:lstStyle>
          <a:p>
            <a:pPr lvl="0"/>
            <a:r>
              <a:rPr lang="en-US"/>
              <a:t>Click to edit Master text styles</a:t>
            </a:r>
          </a:p>
        </p:txBody>
      </p:sp>
      <p:sp>
        <p:nvSpPr>
          <p:cNvPr id="4" name="Content Placeholder 3"/>
          <p:cNvSpPr>
            <a:spLocks noGrp="1"/>
          </p:cNvSpPr>
          <p:nvPr>
            <p:ph sz="half" idx="2"/>
          </p:nvPr>
        </p:nvSpPr>
        <p:spPr>
          <a:xfrm>
            <a:off x="1388962" y="2974694"/>
            <a:ext cx="4559808" cy="2835797"/>
          </a:xfrm>
        </p:spPr>
        <p:txBody>
          <a:bodyPr/>
          <a:lstStyle>
            <a:lvl1pPr>
              <a:defRPr sz="2449"/>
            </a:lvl1pPr>
            <a:lvl2pPr>
              <a:defRPr sz="2086"/>
            </a:lvl2pPr>
            <a:lvl3pPr>
              <a:defRPr sz="1905"/>
            </a:lvl3pPr>
            <a:lvl4pPr>
              <a:defRPr sz="1633"/>
            </a:lvl4pPr>
            <a:lvl5pPr>
              <a:defRPr sz="1633"/>
            </a:lvl5pPr>
            <a:lvl6pPr>
              <a:defRPr sz="1633"/>
            </a:lvl6pPr>
            <a:lvl7pPr>
              <a:defRPr sz="1633"/>
            </a:lvl7pPr>
            <a:lvl8pPr>
              <a:defRPr sz="1633"/>
            </a:lvl8pPr>
            <a:lvl9pPr>
              <a:defRPr sz="16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682451" y="2316011"/>
            <a:ext cx="4074289" cy="639762"/>
          </a:xfrm>
        </p:spPr>
        <p:txBody>
          <a:bodyPr anchor="b"/>
          <a:lstStyle>
            <a:lvl1pPr marL="0" indent="0">
              <a:buNone/>
              <a:defRPr sz="2449" b="1">
                <a:solidFill>
                  <a:schemeClr val="accent1"/>
                </a:solidFill>
              </a:defRPr>
            </a:lvl1pPr>
            <a:lvl2pPr marL="473026" indent="0">
              <a:buNone/>
              <a:defRPr sz="2086" b="1"/>
            </a:lvl2pPr>
            <a:lvl3pPr marL="946052" indent="0">
              <a:buNone/>
              <a:defRPr sz="1905" b="1"/>
            </a:lvl3pPr>
            <a:lvl4pPr marL="1419078" indent="0">
              <a:buNone/>
              <a:defRPr sz="1633" b="1"/>
            </a:lvl4pPr>
            <a:lvl5pPr marL="1892104" indent="0">
              <a:buNone/>
              <a:defRPr sz="1633" b="1"/>
            </a:lvl5pPr>
            <a:lvl6pPr marL="2365129" indent="0">
              <a:buNone/>
              <a:defRPr sz="1633" b="1"/>
            </a:lvl6pPr>
            <a:lvl7pPr marL="2838155" indent="0">
              <a:buNone/>
              <a:defRPr sz="1633" b="1"/>
            </a:lvl7pPr>
            <a:lvl8pPr marL="3311181" indent="0">
              <a:buNone/>
              <a:defRPr sz="1633" b="1"/>
            </a:lvl8pPr>
            <a:lvl9pPr marL="3784207" indent="0">
              <a:buNone/>
              <a:defRPr sz="1633" b="1"/>
            </a:lvl9pPr>
          </a:lstStyle>
          <a:p>
            <a:pPr lvl="0"/>
            <a:r>
              <a:rPr lang="en-US"/>
              <a:t>Click to edit Master text styles</a:t>
            </a:r>
          </a:p>
        </p:txBody>
      </p:sp>
      <p:sp>
        <p:nvSpPr>
          <p:cNvPr id="6" name="Content Placeholder 5"/>
          <p:cNvSpPr>
            <a:spLocks noGrp="1"/>
          </p:cNvSpPr>
          <p:nvPr>
            <p:ph sz="quarter" idx="4"/>
          </p:nvPr>
        </p:nvSpPr>
        <p:spPr>
          <a:xfrm>
            <a:off x="6193536" y="2974694"/>
            <a:ext cx="4559808" cy="2835797"/>
          </a:xfrm>
        </p:spPr>
        <p:txBody>
          <a:bodyPr/>
          <a:lstStyle>
            <a:lvl1pPr>
              <a:defRPr sz="2449"/>
            </a:lvl1pPr>
            <a:lvl2pPr>
              <a:defRPr sz="2086"/>
            </a:lvl2pPr>
            <a:lvl3pPr>
              <a:defRPr sz="1905"/>
            </a:lvl3pPr>
            <a:lvl4pPr>
              <a:defRPr sz="1633"/>
            </a:lvl4pPr>
            <a:lvl5pPr>
              <a:defRPr sz="1633"/>
            </a:lvl5pPr>
            <a:lvl6pPr>
              <a:defRPr sz="1633"/>
            </a:lvl6pPr>
            <a:lvl7pPr>
              <a:defRPr sz="1633"/>
            </a:lvl7pPr>
            <a:lvl8pPr>
              <a:defRPr sz="1633"/>
            </a:lvl8pPr>
            <a:lvl9pPr>
              <a:defRPr sz="16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3"/>
          <p:cNvSpPr>
            <a:spLocks noGrp="1"/>
          </p:cNvSpPr>
          <p:nvPr>
            <p:ph type="dt" sz="half" idx="10"/>
          </p:nvPr>
        </p:nvSpPr>
        <p:spPr/>
        <p:txBody>
          <a:bodyPr/>
          <a:lstStyle>
            <a:lvl1pPr>
              <a:defRPr/>
            </a:lvl1pPr>
          </a:lstStyle>
          <a:p>
            <a:pPr>
              <a:defRPr/>
            </a:pPr>
            <a:fld id="{4819C950-DBC5-4A02-9372-834F90C1890C}" type="datetimeFigureOut">
              <a:rPr lang="vi-VN"/>
              <a:pPr>
                <a:defRPr/>
              </a:pPr>
              <a:t>17/08/2023</a:t>
            </a:fld>
            <a:endParaRPr lang="vi-VN"/>
          </a:p>
        </p:txBody>
      </p:sp>
      <p:sp>
        <p:nvSpPr>
          <p:cNvPr id="8" name="Footer Placeholder 4"/>
          <p:cNvSpPr>
            <a:spLocks noGrp="1"/>
          </p:cNvSpPr>
          <p:nvPr>
            <p:ph type="ftr" sz="quarter" idx="11"/>
          </p:nvPr>
        </p:nvSpPr>
        <p:spPr/>
        <p:txBody>
          <a:bodyPr/>
          <a:lstStyle>
            <a:lvl1pPr>
              <a:defRPr/>
            </a:lvl1pPr>
          </a:lstStyle>
          <a:p>
            <a:pPr>
              <a:defRPr/>
            </a:pPr>
            <a:endParaRPr lang="vi-VN"/>
          </a:p>
        </p:txBody>
      </p:sp>
      <p:sp>
        <p:nvSpPr>
          <p:cNvPr id="9" name="Slide Number Placeholder 5"/>
          <p:cNvSpPr>
            <a:spLocks noGrp="1"/>
          </p:cNvSpPr>
          <p:nvPr>
            <p:ph type="sldNum" sz="quarter" idx="12"/>
          </p:nvPr>
        </p:nvSpPr>
        <p:spPr/>
        <p:txBody>
          <a:bodyPr/>
          <a:lstStyle>
            <a:lvl1pPr>
              <a:defRPr/>
            </a:lvl1pPr>
          </a:lstStyle>
          <a:p>
            <a:pPr>
              <a:defRPr/>
            </a:pPr>
            <a:fld id="{5AA8E879-D646-4576-B6F2-C12EFE623B85}" type="slidenum">
              <a:rPr lang="vi-VN"/>
              <a:pPr>
                <a:defRPr/>
              </a:pPr>
              <a:t>‹#›</a:t>
            </a:fld>
            <a:endParaRPr lang="vi-VN"/>
          </a:p>
        </p:txBody>
      </p:sp>
    </p:spTree>
    <p:extLst>
      <p:ext uri="{BB962C8B-B14F-4D97-AF65-F5344CB8AC3E}">
        <p14:creationId xmlns:p14="http://schemas.microsoft.com/office/powerpoint/2010/main" val="203303181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fld id="{93897F1F-E92A-4667-8BC4-8B3ABC157F83}" type="datetimeFigureOut">
              <a:rPr lang="vi-VN"/>
              <a:pPr>
                <a:defRPr/>
              </a:pPr>
              <a:t>17/08/2023</a:t>
            </a:fld>
            <a:endParaRPr lang="vi-VN"/>
          </a:p>
        </p:txBody>
      </p:sp>
      <p:sp>
        <p:nvSpPr>
          <p:cNvPr id="4" name="Footer Placeholder 4"/>
          <p:cNvSpPr>
            <a:spLocks noGrp="1"/>
          </p:cNvSpPr>
          <p:nvPr>
            <p:ph type="ftr" sz="quarter" idx="11"/>
          </p:nvPr>
        </p:nvSpPr>
        <p:spPr/>
        <p:txBody>
          <a:bodyPr/>
          <a:lstStyle>
            <a:lvl1pPr>
              <a:defRPr/>
            </a:lvl1pPr>
          </a:lstStyle>
          <a:p>
            <a:pPr>
              <a:defRPr/>
            </a:pPr>
            <a:endParaRPr lang="vi-VN"/>
          </a:p>
        </p:txBody>
      </p:sp>
      <p:sp>
        <p:nvSpPr>
          <p:cNvPr id="5" name="Slide Number Placeholder 5"/>
          <p:cNvSpPr>
            <a:spLocks noGrp="1"/>
          </p:cNvSpPr>
          <p:nvPr>
            <p:ph type="sldNum" sz="quarter" idx="12"/>
          </p:nvPr>
        </p:nvSpPr>
        <p:spPr/>
        <p:txBody>
          <a:bodyPr/>
          <a:lstStyle>
            <a:lvl1pPr>
              <a:defRPr/>
            </a:lvl1pPr>
          </a:lstStyle>
          <a:p>
            <a:pPr>
              <a:defRPr/>
            </a:pPr>
            <a:fld id="{31C09736-E632-4D0A-8392-D1E06EE53E11}" type="slidenum">
              <a:rPr lang="vi-VN"/>
              <a:pPr>
                <a:defRPr/>
              </a:pPr>
              <a:t>‹#›</a:t>
            </a:fld>
            <a:endParaRPr lang="vi-VN"/>
          </a:p>
        </p:txBody>
      </p:sp>
    </p:spTree>
    <p:extLst>
      <p:ext uri="{BB962C8B-B14F-4D97-AF65-F5344CB8AC3E}">
        <p14:creationId xmlns:p14="http://schemas.microsoft.com/office/powerpoint/2010/main" val="153809176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92EE4594-39A7-47BA-B99C-DC9764EED164}" type="datetimeFigureOut">
              <a:rPr lang="vi-VN"/>
              <a:pPr>
                <a:defRPr/>
              </a:pPr>
              <a:t>17/08/2023</a:t>
            </a:fld>
            <a:endParaRPr lang="vi-VN"/>
          </a:p>
        </p:txBody>
      </p:sp>
      <p:sp>
        <p:nvSpPr>
          <p:cNvPr id="3" name="Footer Placeholder 4"/>
          <p:cNvSpPr>
            <a:spLocks noGrp="1"/>
          </p:cNvSpPr>
          <p:nvPr>
            <p:ph type="ftr" sz="quarter" idx="11"/>
          </p:nvPr>
        </p:nvSpPr>
        <p:spPr/>
        <p:txBody>
          <a:bodyPr/>
          <a:lstStyle>
            <a:lvl1pPr>
              <a:defRPr/>
            </a:lvl1pPr>
          </a:lstStyle>
          <a:p>
            <a:pPr>
              <a:defRPr/>
            </a:pPr>
            <a:endParaRPr lang="vi-VN"/>
          </a:p>
        </p:txBody>
      </p:sp>
      <p:sp>
        <p:nvSpPr>
          <p:cNvPr id="4" name="Slide Number Placeholder 5"/>
          <p:cNvSpPr>
            <a:spLocks noGrp="1"/>
          </p:cNvSpPr>
          <p:nvPr>
            <p:ph type="sldNum" sz="quarter" idx="12"/>
          </p:nvPr>
        </p:nvSpPr>
        <p:spPr/>
        <p:txBody>
          <a:bodyPr/>
          <a:lstStyle>
            <a:lvl1pPr>
              <a:defRPr/>
            </a:lvl1pPr>
          </a:lstStyle>
          <a:p>
            <a:pPr>
              <a:defRPr/>
            </a:pPr>
            <a:fld id="{029B2883-1697-4DC4-AE1B-2197BBD741C2}" type="slidenum">
              <a:rPr lang="vi-VN"/>
              <a:pPr>
                <a:defRPr/>
              </a:pPr>
              <a:t>‹#›</a:t>
            </a:fld>
            <a:endParaRPr lang="vi-VN"/>
          </a:p>
        </p:txBody>
      </p:sp>
    </p:spTree>
    <p:extLst>
      <p:ext uri="{BB962C8B-B14F-4D97-AF65-F5344CB8AC3E}">
        <p14:creationId xmlns:p14="http://schemas.microsoft.com/office/powerpoint/2010/main" val="214953286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pSp>
        <p:nvGrpSpPr>
          <p:cNvPr id="5" name="Group 43"/>
          <p:cNvGrpSpPr>
            <a:grpSpLocks/>
          </p:cNvGrpSpPr>
          <p:nvPr/>
        </p:nvGrpSpPr>
        <p:grpSpPr bwMode="auto">
          <a:xfrm>
            <a:off x="-510413" y="0"/>
            <a:ext cx="13243597" cy="6858000"/>
            <a:chOff x="-382404" y="0"/>
            <a:chExt cx="9932332" cy="6858000"/>
          </a:xfrm>
        </p:grpSpPr>
        <p:grpSp>
          <p:nvGrpSpPr>
            <p:cNvPr id="6" name="Group 44"/>
            <p:cNvGrpSpPr>
              <a:grpSpLocks/>
            </p:cNvGrpSpPr>
            <p:nvPr/>
          </p:nvGrpSpPr>
          <p:grpSpPr bwMode="auto">
            <a:xfrm>
              <a:off x="392" y="-12958"/>
              <a:ext cx="9135519" cy="6870958"/>
              <a:chOff x="392" y="-12958"/>
              <a:chExt cx="9135519" cy="6870958"/>
            </a:xfrm>
          </p:grpSpPr>
          <p:grpSp>
            <p:nvGrpSpPr>
              <p:cNvPr id="29" name="Group 4"/>
              <p:cNvGrpSpPr>
                <a:grpSpLocks/>
              </p:cNvGrpSpPr>
              <p:nvPr/>
            </p:nvGrpSpPr>
            <p:grpSpPr bwMode="auto">
              <a:xfrm>
                <a:off x="392" y="0"/>
                <a:ext cx="2513964" cy="6858000"/>
                <a:chOff x="392" y="0"/>
                <a:chExt cx="2513964" cy="6858000"/>
              </a:xfrm>
            </p:grpSpPr>
            <p:sp>
              <p:nvSpPr>
                <p:cNvPr id="41" name="Rectangle 83"/>
                <p:cNvSpPr/>
                <p:nvPr/>
              </p:nvSpPr>
              <p:spPr>
                <a:xfrm>
                  <a:off x="913944" y="0"/>
                  <a:ext cx="1600412"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42" name="Rectangle 2"/>
                <p:cNvSpPr/>
                <p:nvPr/>
              </p:nvSpPr>
              <p:spPr>
                <a:xfrm>
                  <a:off x="392" y="0"/>
                  <a:ext cx="457455"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43" name="Rectangle 3"/>
                <p:cNvSpPr/>
                <p:nvPr/>
              </p:nvSpPr>
              <p:spPr>
                <a:xfrm>
                  <a:off x="228441" y="0"/>
                  <a:ext cx="762877"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grpSp>
          <p:grpSp>
            <p:nvGrpSpPr>
              <p:cNvPr id="30" name="Group 5"/>
              <p:cNvGrpSpPr>
                <a:grpSpLocks/>
              </p:cNvGrpSpPr>
              <p:nvPr/>
            </p:nvGrpSpPr>
            <p:grpSpPr bwMode="auto">
              <a:xfrm>
                <a:off x="423911" y="0"/>
                <a:ext cx="2513964" cy="6858000"/>
                <a:chOff x="1001" y="0"/>
                <a:chExt cx="2513964" cy="6858000"/>
              </a:xfrm>
            </p:grpSpPr>
            <p:sp>
              <p:nvSpPr>
                <p:cNvPr id="38" name="Rectangle 80"/>
                <p:cNvSpPr/>
                <p:nvPr/>
              </p:nvSpPr>
              <p:spPr>
                <a:xfrm>
                  <a:off x="914553" y="0"/>
                  <a:ext cx="1600412"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39" name="Rectangle 81"/>
                <p:cNvSpPr/>
                <p:nvPr/>
              </p:nvSpPr>
              <p:spPr>
                <a:xfrm>
                  <a:off x="1001" y="0"/>
                  <a:ext cx="457455"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40" name="Rectangle 82"/>
                <p:cNvSpPr/>
                <p:nvPr/>
              </p:nvSpPr>
              <p:spPr>
                <a:xfrm>
                  <a:off x="229050" y="0"/>
                  <a:ext cx="762877"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grpSp>
          <p:grpSp>
            <p:nvGrpSpPr>
              <p:cNvPr id="31" name="Group 9"/>
              <p:cNvGrpSpPr>
                <a:grpSpLocks/>
              </p:cNvGrpSpPr>
              <p:nvPr/>
            </p:nvGrpSpPr>
            <p:grpSpPr bwMode="auto">
              <a:xfrm rot="10800000">
                <a:off x="6621947" y="-12958"/>
                <a:ext cx="2513964" cy="6866638"/>
                <a:chOff x="8089" y="4320"/>
                <a:chExt cx="2513964" cy="6866638"/>
              </a:xfrm>
            </p:grpSpPr>
            <p:sp>
              <p:nvSpPr>
                <p:cNvPr id="35" name="Rectangle 77"/>
                <p:cNvSpPr/>
                <p:nvPr/>
              </p:nvSpPr>
              <p:spPr>
                <a:xfrm>
                  <a:off x="921640" y="4320"/>
                  <a:ext cx="1600413" cy="6857999"/>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36" name="Rectangle 78"/>
                <p:cNvSpPr/>
                <p:nvPr/>
              </p:nvSpPr>
              <p:spPr>
                <a:xfrm>
                  <a:off x="8089" y="12959"/>
                  <a:ext cx="457454" cy="6857999"/>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37" name="Rectangle 79"/>
                <p:cNvSpPr/>
                <p:nvPr/>
              </p:nvSpPr>
              <p:spPr>
                <a:xfrm>
                  <a:off x="227993" y="12959"/>
                  <a:ext cx="762877" cy="6857999"/>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grpSp>
          <p:sp>
            <p:nvSpPr>
              <p:cNvPr id="32" name="Rectangle 74"/>
              <p:cNvSpPr/>
              <p:nvPr/>
            </p:nvSpPr>
            <p:spPr>
              <a:xfrm>
                <a:off x="3810705" y="0"/>
                <a:ext cx="2819386"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33" name="Rectangle 75"/>
              <p:cNvSpPr/>
              <p:nvPr/>
            </p:nvSpPr>
            <p:spPr>
              <a:xfrm>
                <a:off x="2895795" y="0"/>
                <a:ext cx="457454"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34" name="Rectangle 76"/>
              <p:cNvSpPr/>
              <p:nvPr/>
            </p:nvSpPr>
            <p:spPr>
              <a:xfrm>
                <a:off x="3123844" y="0"/>
                <a:ext cx="762877"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grpSp>
        <p:sp>
          <p:nvSpPr>
            <p:cNvPr id="7" name="Freeform 46"/>
            <p:cNvSpPr/>
            <p:nvPr/>
          </p:nvSpPr>
          <p:spPr>
            <a:xfrm>
              <a:off x="-11825" y="5035151"/>
              <a:ext cx="9143664" cy="1176356"/>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33"/>
            </a:p>
          </p:txBody>
        </p:sp>
        <p:sp>
          <p:nvSpPr>
            <p:cNvPr id="8" name="Freeform 47"/>
            <p:cNvSpPr/>
            <p:nvPr/>
          </p:nvSpPr>
          <p:spPr>
            <a:xfrm>
              <a:off x="-11825" y="3467156"/>
              <a:ext cx="9143664" cy="891267"/>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33"/>
            </a:p>
          </p:txBody>
        </p:sp>
        <p:sp>
          <p:nvSpPr>
            <p:cNvPr id="9" name="Freeform 48"/>
            <p:cNvSpPr/>
            <p:nvPr/>
          </p:nvSpPr>
          <p:spPr>
            <a:xfrm>
              <a:off x="-24042" y="5641327"/>
              <a:ext cx="3005355" cy="121091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33"/>
            </a:p>
          </p:txBody>
        </p:sp>
        <p:sp>
          <p:nvSpPr>
            <p:cNvPr id="10" name="Freeform 49"/>
            <p:cNvSpPr/>
            <p:nvPr/>
          </p:nvSpPr>
          <p:spPr>
            <a:xfrm>
              <a:off x="-11825" y="5284245"/>
              <a:ext cx="9143664" cy="1478725"/>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33"/>
            </a:p>
          </p:txBody>
        </p:sp>
        <p:sp>
          <p:nvSpPr>
            <p:cNvPr id="11" name="Freeform 50"/>
            <p:cNvSpPr/>
            <p:nvPr/>
          </p:nvSpPr>
          <p:spPr>
            <a:xfrm>
              <a:off x="2136990" y="5131621"/>
              <a:ext cx="6982631" cy="1720620"/>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33"/>
            </a:p>
          </p:txBody>
        </p:sp>
        <p:sp>
          <p:nvSpPr>
            <p:cNvPr id="12" name="Hexagon 51"/>
            <p:cNvSpPr/>
            <p:nvPr/>
          </p:nvSpPr>
          <p:spPr>
            <a:xfrm rot="1800000">
              <a:off x="2996245" y="2859540"/>
              <a:ext cx="1601770" cy="1388014"/>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13" name="Hexagon 52"/>
            <p:cNvSpPr/>
            <p:nvPr/>
          </p:nvSpPr>
          <p:spPr>
            <a:xfrm rot="1800000">
              <a:off x="3719756" y="4126606"/>
              <a:ext cx="1601770" cy="1388014"/>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14" name="Hexagon 53"/>
            <p:cNvSpPr/>
            <p:nvPr/>
          </p:nvSpPr>
          <p:spPr>
            <a:xfrm rot="1800000">
              <a:off x="3729259" y="1592473"/>
              <a:ext cx="1601770" cy="1388014"/>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15" name="Hexagon 54"/>
            <p:cNvSpPr/>
            <p:nvPr/>
          </p:nvSpPr>
          <p:spPr>
            <a:xfrm rot="1800000">
              <a:off x="2977241" y="325406"/>
              <a:ext cx="1601770" cy="1388014"/>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16" name="Hexagon 55"/>
            <p:cNvSpPr/>
            <p:nvPr/>
          </p:nvSpPr>
          <p:spPr>
            <a:xfrm rot="1800000">
              <a:off x="4463629" y="5383595"/>
              <a:ext cx="1600413" cy="1388014"/>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17" name="Freeform 58"/>
            <p:cNvSpPr/>
            <p:nvPr/>
          </p:nvSpPr>
          <p:spPr>
            <a:xfrm rot="1800000">
              <a:off x="-382404" y="4201479"/>
              <a:ext cx="1261055" cy="1388014"/>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18" name="Hexagon 59"/>
            <p:cNvSpPr/>
            <p:nvPr/>
          </p:nvSpPr>
          <p:spPr>
            <a:xfrm rot="1800000">
              <a:off x="24826" y="5402312"/>
              <a:ext cx="1600413" cy="1388014"/>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19" name="Hexagon 61"/>
            <p:cNvSpPr/>
            <p:nvPr/>
          </p:nvSpPr>
          <p:spPr>
            <a:xfrm rot="1800000">
              <a:off x="53332" y="2849461"/>
              <a:ext cx="1600412" cy="1388014"/>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20" name="Hexagon 62"/>
            <p:cNvSpPr/>
            <p:nvPr/>
          </p:nvSpPr>
          <p:spPr>
            <a:xfrm rot="1800000">
              <a:off x="776843" y="4126606"/>
              <a:ext cx="1601770" cy="1388014"/>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21" name="Hexagon 63"/>
            <p:cNvSpPr/>
            <p:nvPr/>
          </p:nvSpPr>
          <p:spPr>
            <a:xfrm rot="1800000">
              <a:off x="1509857" y="5412392"/>
              <a:ext cx="1601770" cy="1388014"/>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22" name="Hexagon 64"/>
            <p:cNvSpPr/>
            <p:nvPr/>
          </p:nvSpPr>
          <p:spPr>
            <a:xfrm rot="1800000">
              <a:off x="1528861" y="2859540"/>
              <a:ext cx="1601770" cy="1388014"/>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23" name="Hexagon 65"/>
            <p:cNvSpPr/>
            <p:nvPr/>
          </p:nvSpPr>
          <p:spPr>
            <a:xfrm rot="1800000">
              <a:off x="795847" y="1563676"/>
              <a:ext cx="1601770" cy="1388014"/>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24" name="Hexagon 66"/>
            <p:cNvSpPr/>
            <p:nvPr/>
          </p:nvSpPr>
          <p:spPr>
            <a:xfrm rot="1800000">
              <a:off x="6806557" y="4145325"/>
              <a:ext cx="1600413" cy="1388014"/>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25" name="Hexagon 67"/>
            <p:cNvSpPr/>
            <p:nvPr/>
          </p:nvSpPr>
          <p:spPr>
            <a:xfrm rot="1800000">
              <a:off x="7549073" y="5421031"/>
              <a:ext cx="1601770" cy="1388014"/>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26" name="Hexagon 68"/>
            <p:cNvSpPr/>
            <p:nvPr/>
          </p:nvSpPr>
          <p:spPr>
            <a:xfrm rot="1800000">
              <a:off x="7549073" y="2868179"/>
              <a:ext cx="1601770" cy="1389454"/>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27" name="Freeform 69"/>
            <p:cNvSpPr/>
            <p:nvPr/>
          </p:nvSpPr>
          <p:spPr>
            <a:xfrm rot="1800000">
              <a:off x="8306520" y="4056054"/>
              <a:ext cx="1243408" cy="1388014"/>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28" name="Freeform 70"/>
            <p:cNvSpPr/>
            <p:nvPr/>
          </p:nvSpPr>
          <p:spPr>
            <a:xfrm rot="1800000">
              <a:off x="8306520" y="1511841"/>
              <a:ext cx="1242050" cy="1388014"/>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grpSp>
      <p:sp>
        <p:nvSpPr>
          <p:cNvPr id="44" name="Rectangle 45"/>
          <p:cNvSpPr/>
          <p:nvPr/>
        </p:nvSpPr>
        <p:spPr>
          <a:xfrm>
            <a:off x="6081521" y="-21598"/>
            <a:ext cx="4905036" cy="6271982"/>
          </a:xfrm>
          <a:prstGeom prst="rect">
            <a:avLst/>
          </a:prstGeom>
          <a:solidFill>
            <a:srgbClr val="F5F5F5"/>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4605" tIns="47302" rIns="94605" bIns="47302" anchor="ctr"/>
          <a:lstStyle/>
          <a:p>
            <a:pPr algn="ctr">
              <a:defRPr/>
            </a:pPr>
            <a:endParaRPr lang="en-US" sz="1633"/>
          </a:p>
        </p:txBody>
      </p:sp>
      <p:sp>
        <p:nvSpPr>
          <p:cNvPr id="45" name="Rectangle 56"/>
          <p:cNvSpPr/>
          <p:nvPr/>
        </p:nvSpPr>
        <p:spPr>
          <a:xfrm>
            <a:off x="6199170" y="-21598"/>
            <a:ext cx="4673359" cy="6234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4605" tIns="47302" rIns="94605" bIns="47302" anchor="ctr"/>
          <a:lstStyle/>
          <a:p>
            <a:pPr algn="ctr">
              <a:defRPr/>
            </a:pPr>
            <a:endParaRPr lang="en-US" sz="1633"/>
          </a:p>
        </p:txBody>
      </p:sp>
      <p:sp>
        <p:nvSpPr>
          <p:cNvPr id="46" name="Rectangle 57"/>
          <p:cNvSpPr/>
          <p:nvPr/>
        </p:nvSpPr>
        <p:spPr>
          <a:xfrm>
            <a:off x="1207255" y="601857"/>
            <a:ext cx="4749378" cy="5648527"/>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4605" tIns="47302" rIns="94605" bIns="47302" anchor="ctr"/>
          <a:lstStyle/>
          <a:p>
            <a:pPr algn="ctr">
              <a:defRPr/>
            </a:pPr>
            <a:endParaRPr lang="en-US" sz="1633"/>
          </a:p>
        </p:txBody>
      </p:sp>
      <p:sp>
        <p:nvSpPr>
          <p:cNvPr id="47" name="Rectangle 60"/>
          <p:cNvSpPr/>
          <p:nvPr/>
        </p:nvSpPr>
        <p:spPr>
          <a:xfrm>
            <a:off x="6200979" y="6087680"/>
            <a:ext cx="4673359" cy="820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4605" tIns="47302" rIns="94605" bIns="47302" anchor="ctr"/>
          <a:lstStyle/>
          <a:p>
            <a:pPr algn="ctr">
              <a:defRPr/>
            </a:pPr>
            <a:endParaRPr lang="en-US" sz="1633"/>
          </a:p>
        </p:txBody>
      </p:sp>
      <p:sp>
        <p:nvSpPr>
          <p:cNvPr id="3" name="Content Placeholder 2"/>
          <p:cNvSpPr>
            <a:spLocks noGrp="1"/>
          </p:cNvSpPr>
          <p:nvPr>
            <p:ph idx="1"/>
          </p:nvPr>
        </p:nvSpPr>
        <p:spPr>
          <a:xfrm>
            <a:off x="1527858" y="856528"/>
            <a:ext cx="4120587" cy="5150734"/>
          </a:xfrm>
        </p:spPr>
        <p:txBody>
          <a:bodyPr/>
          <a:lstStyle>
            <a:lvl1pPr>
              <a:defRPr sz="2449"/>
            </a:lvl1pPr>
            <a:lvl2pPr>
              <a:defRPr sz="2268"/>
            </a:lvl2pPr>
            <a:lvl3pPr>
              <a:defRPr sz="2086"/>
            </a:lvl3pPr>
            <a:lvl4pPr>
              <a:defRPr sz="1905"/>
            </a:lvl4pPr>
            <a:lvl5pPr>
              <a:defRPr sz="1633"/>
            </a:lvl5pPr>
            <a:lvl6pPr>
              <a:defRPr sz="2086"/>
            </a:lvl6pPr>
            <a:lvl7pPr>
              <a:defRPr sz="2086"/>
            </a:lvl7pPr>
            <a:lvl8pPr>
              <a:defRPr sz="2086"/>
            </a:lvl8pPr>
            <a:lvl9pPr>
              <a:defRPr sz="208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6319778" y="2657435"/>
            <a:ext cx="4406096" cy="1463153"/>
          </a:xfrm>
        </p:spPr>
        <p:txBody>
          <a:bodyPr>
            <a:normAutofit/>
          </a:bodyPr>
          <a:lstStyle>
            <a:lvl1pPr algn="l">
              <a:defRPr sz="2902" b="0"/>
            </a:lvl1pPr>
          </a:lstStyle>
          <a:p>
            <a:r>
              <a:rPr lang="en-US"/>
              <a:t>Click to edit Master title style</a:t>
            </a:r>
          </a:p>
        </p:txBody>
      </p:sp>
      <p:sp>
        <p:nvSpPr>
          <p:cNvPr id="4" name="Text Placeholder 3"/>
          <p:cNvSpPr>
            <a:spLocks noGrp="1"/>
          </p:cNvSpPr>
          <p:nvPr>
            <p:ph type="body" sz="half" idx="2"/>
          </p:nvPr>
        </p:nvSpPr>
        <p:spPr>
          <a:xfrm>
            <a:off x="6315456" y="4136994"/>
            <a:ext cx="4398379" cy="1517904"/>
          </a:xfrm>
        </p:spPr>
        <p:txBody>
          <a:bodyPr>
            <a:normAutofit/>
          </a:bodyPr>
          <a:lstStyle>
            <a:lvl1pPr marL="0" indent="0">
              <a:buNone/>
              <a:defRPr sz="1633">
                <a:solidFill>
                  <a:srgbClr val="424242"/>
                </a:solidFill>
              </a:defRPr>
            </a:lvl1pPr>
            <a:lvl2pPr marL="473026" indent="0">
              <a:buNone/>
              <a:defRPr sz="1270"/>
            </a:lvl2pPr>
            <a:lvl3pPr marL="946052" indent="0">
              <a:buNone/>
              <a:defRPr sz="998"/>
            </a:lvl3pPr>
            <a:lvl4pPr marL="1419078" indent="0">
              <a:buNone/>
              <a:defRPr sz="907"/>
            </a:lvl4pPr>
            <a:lvl5pPr marL="1892104" indent="0">
              <a:buNone/>
              <a:defRPr sz="907"/>
            </a:lvl5pPr>
            <a:lvl6pPr marL="2365129" indent="0">
              <a:buNone/>
              <a:defRPr sz="907"/>
            </a:lvl6pPr>
            <a:lvl7pPr marL="2838155" indent="0">
              <a:buNone/>
              <a:defRPr sz="907"/>
            </a:lvl7pPr>
            <a:lvl8pPr marL="3311181" indent="0">
              <a:buNone/>
              <a:defRPr sz="907"/>
            </a:lvl8pPr>
            <a:lvl9pPr marL="3784207" indent="0">
              <a:buNone/>
              <a:defRPr sz="907"/>
            </a:lvl9pPr>
          </a:lstStyle>
          <a:p>
            <a:pPr lvl="0"/>
            <a:r>
              <a:rPr lang="en-US"/>
              <a:t>Click to edit Master text styles</a:t>
            </a:r>
          </a:p>
        </p:txBody>
      </p:sp>
      <p:sp>
        <p:nvSpPr>
          <p:cNvPr id="48" name="Date Placeholder 4"/>
          <p:cNvSpPr>
            <a:spLocks noGrp="1"/>
          </p:cNvSpPr>
          <p:nvPr>
            <p:ph type="dt" sz="half" idx="10"/>
          </p:nvPr>
        </p:nvSpPr>
        <p:spPr/>
        <p:txBody>
          <a:bodyPr/>
          <a:lstStyle>
            <a:lvl1pPr>
              <a:defRPr/>
            </a:lvl1pPr>
          </a:lstStyle>
          <a:p>
            <a:pPr>
              <a:defRPr/>
            </a:pPr>
            <a:fld id="{990CB40E-3244-4923-B3E1-1C1C308BEC6F}" type="datetimeFigureOut">
              <a:rPr lang="vi-VN"/>
              <a:pPr>
                <a:defRPr/>
              </a:pPr>
              <a:t>17/08/2023</a:t>
            </a:fld>
            <a:endParaRPr lang="vi-VN"/>
          </a:p>
        </p:txBody>
      </p:sp>
      <p:sp>
        <p:nvSpPr>
          <p:cNvPr id="49" name="Slide Number Placeholder 6"/>
          <p:cNvSpPr>
            <a:spLocks noGrp="1"/>
          </p:cNvSpPr>
          <p:nvPr>
            <p:ph type="sldNum" sz="quarter" idx="11"/>
          </p:nvPr>
        </p:nvSpPr>
        <p:spPr/>
        <p:txBody>
          <a:bodyPr/>
          <a:lstStyle>
            <a:lvl1pPr>
              <a:defRPr/>
            </a:lvl1pPr>
          </a:lstStyle>
          <a:p>
            <a:pPr>
              <a:defRPr/>
            </a:pPr>
            <a:fld id="{C99B8C52-6A1D-4243-8361-2CACD8F489E3}" type="slidenum">
              <a:rPr lang="vi-VN"/>
              <a:pPr>
                <a:defRPr/>
              </a:pPr>
              <a:t>‹#›</a:t>
            </a:fld>
            <a:endParaRPr lang="vi-VN"/>
          </a:p>
        </p:txBody>
      </p:sp>
      <p:sp>
        <p:nvSpPr>
          <p:cNvPr id="50" name="Footer Placeholder 5"/>
          <p:cNvSpPr>
            <a:spLocks noGrp="1"/>
          </p:cNvSpPr>
          <p:nvPr>
            <p:ph type="ftr" sz="quarter" idx="12"/>
          </p:nvPr>
        </p:nvSpPr>
        <p:spPr>
          <a:xfrm>
            <a:off x="6188310" y="5724839"/>
            <a:ext cx="4658879" cy="365722"/>
          </a:xfrm>
        </p:spPr>
        <p:txBody>
          <a:bodyPr>
            <a:normAutofit/>
          </a:bodyPr>
          <a:lstStyle>
            <a:lvl1pPr>
              <a:defRPr/>
            </a:lvl1pPr>
          </a:lstStyle>
          <a:p>
            <a:pPr>
              <a:defRPr/>
            </a:pPr>
            <a:endParaRPr lang="vi-VN"/>
          </a:p>
        </p:txBody>
      </p:sp>
    </p:spTree>
    <p:extLst>
      <p:ext uri="{BB962C8B-B14F-4D97-AF65-F5344CB8AC3E}">
        <p14:creationId xmlns:p14="http://schemas.microsoft.com/office/powerpoint/2010/main" val="395624697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pSp>
        <p:nvGrpSpPr>
          <p:cNvPr id="5" name="Group 43"/>
          <p:cNvGrpSpPr>
            <a:grpSpLocks/>
          </p:cNvGrpSpPr>
          <p:nvPr/>
        </p:nvGrpSpPr>
        <p:grpSpPr bwMode="auto">
          <a:xfrm>
            <a:off x="-510413" y="0"/>
            <a:ext cx="13243597" cy="6858000"/>
            <a:chOff x="-382404" y="0"/>
            <a:chExt cx="9932332" cy="6858000"/>
          </a:xfrm>
        </p:grpSpPr>
        <p:grpSp>
          <p:nvGrpSpPr>
            <p:cNvPr id="6" name="Group 44"/>
            <p:cNvGrpSpPr>
              <a:grpSpLocks/>
            </p:cNvGrpSpPr>
            <p:nvPr/>
          </p:nvGrpSpPr>
          <p:grpSpPr bwMode="auto">
            <a:xfrm>
              <a:off x="392" y="-12958"/>
              <a:ext cx="9135519" cy="6870958"/>
              <a:chOff x="392" y="-12958"/>
              <a:chExt cx="9135519" cy="6870958"/>
            </a:xfrm>
          </p:grpSpPr>
          <p:grpSp>
            <p:nvGrpSpPr>
              <p:cNvPr id="29" name="Group 4"/>
              <p:cNvGrpSpPr>
                <a:grpSpLocks/>
              </p:cNvGrpSpPr>
              <p:nvPr/>
            </p:nvGrpSpPr>
            <p:grpSpPr bwMode="auto">
              <a:xfrm>
                <a:off x="392" y="0"/>
                <a:ext cx="2513964" cy="6858000"/>
                <a:chOff x="392" y="0"/>
                <a:chExt cx="2513964" cy="6858000"/>
              </a:xfrm>
            </p:grpSpPr>
            <p:sp>
              <p:nvSpPr>
                <p:cNvPr id="41" name="Rectangle 86"/>
                <p:cNvSpPr/>
                <p:nvPr/>
              </p:nvSpPr>
              <p:spPr>
                <a:xfrm>
                  <a:off x="913944" y="0"/>
                  <a:ext cx="1600412"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42" name="Rectangle 2"/>
                <p:cNvSpPr/>
                <p:nvPr/>
              </p:nvSpPr>
              <p:spPr>
                <a:xfrm>
                  <a:off x="392" y="0"/>
                  <a:ext cx="457455"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43" name="Rectangle 3"/>
                <p:cNvSpPr/>
                <p:nvPr/>
              </p:nvSpPr>
              <p:spPr>
                <a:xfrm>
                  <a:off x="228441" y="0"/>
                  <a:ext cx="762877"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grpSp>
          <p:grpSp>
            <p:nvGrpSpPr>
              <p:cNvPr id="30" name="Group 5"/>
              <p:cNvGrpSpPr>
                <a:grpSpLocks/>
              </p:cNvGrpSpPr>
              <p:nvPr/>
            </p:nvGrpSpPr>
            <p:grpSpPr bwMode="auto">
              <a:xfrm>
                <a:off x="423911" y="0"/>
                <a:ext cx="2513964" cy="6858000"/>
                <a:chOff x="1001" y="0"/>
                <a:chExt cx="2513964" cy="6858000"/>
              </a:xfrm>
            </p:grpSpPr>
            <p:sp>
              <p:nvSpPr>
                <p:cNvPr id="38" name="Rectangle 83"/>
                <p:cNvSpPr/>
                <p:nvPr/>
              </p:nvSpPr>
              <p:spPr>
                <a:xfrm>
                  <a:off x="914553" y="0"/>
                  <a:ext cx="1600412"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39" name="Rectangle 84"/>
                <p:cNvSpPr/>
                <p:nvPr/>
              </p:nvSpPr>
              <p:spPr>
                <a:xfrm>
                  <a:off x="1001" y="0"/>
                  <a:ext cx="457455"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40" name="Rectangle 85"/>
                <p:cNvSpPr/>
                <p:nvPr/>
              </p:nvSpPr>
              <p:spPr>
                <a:xfrm>
                  <a:off x="229050" y="0"/>
                  <a:ext cx="762877"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grpSp>
          <p:grpSp>
            <p:nvGrpSpPr>
              <p:cNvPr id="31" name="Group 9"/>
              <p:cNvGrpSpPr>
                <a:grpSpLocks/>
              </p:cNvGrpSpPr>
              <p:nvPr/>
            </p:nvGrpSpPr>
            <p:grpSpPr bwMode="auto">
              <a:xfrm rot="10800000">
                <a:off x="6621947" y="-12958"/>
                <a:ext cx="2513964" cy="6866638"/>
                <a:chOff x="8089" y="4320"/>
                <a:chExt cx="2513964" cy="6866638"/>
              </a:xfrm>
            </p:grpSpPr>
            <p:sp>
              <p:nvSpPr>
                <p:cNvPr id="35" name="Rectangle 80"/>
                <p:cNvSpPr/>
                <p:nvPr/>
              </p:nvSpPr>
              <p:spPr>
                <a:xfrm>
                  <a:off x="921640" y="4320"/>
                  <a:ext cx="1600413" cy="6857999"/>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36" name="Rectangle 81"/>
                <p:cNvSpPr/>
                <p:nvPr/>
              </p:nvSpPr>
              <p:spPr>
                <a:xfrm>
                  <a:off x="8089" y="12959"/>
                  <a:ext cx="457454" cy="6857999"/>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37" name="Rectangle 82"/>
                <p:cNvSpPr/>
                <p:nvPr/>
              </p:nvSpPr>
              <p:spPr>
                <a:xfrm>
                  <a:off x="227993" y="12959"/>
                  <a:ext cx="762877" cy="6857999"/>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grpSp>
          <p:sp>
            <p:nvSpPr>
              <p:cNvPr id="32" name="Rectangle 77"/>
              <p:cNvSpPr/>
              <p:nvPr/>
            </p:nvSpPr>
            <p:spPr>
              <a:xfrm>
                <a:off x="3810705" y="0"/>
                <a:ext cx="2819386"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33" name="Rectangle 78"/>
              <p:cNvSpPr/>
              <p:nvPr/>
            </p:nvSpPr>
            <p:spPr>
              <a:xfrm>
                <a:off x="2895795" y="0"/>
                <a:ext cx="457454"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34" name="Rectangle 79"/>
              <p:cNvSpPr/>
              <p:nvPr/>
            </p:nvSpPr>
            <p:spPr>
              <a:xfrm>
                <a:off x="3123844" y="0"/>
                <a:ext cx="762877"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grpSp>
        <p:sp>
          <p:nvSpPr>
            <p:cNvPr id="7" name="Freeform 45"/>
            <p:cNvSpPr/>
            <p:nvPr/>
          </p:nvSpPr>
          <p:spPr>
            <a:xfrm>
              <a:off x="-11825" y="5035151"/>
              <a:ext cx="9143664" cy="1176356"/>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33"/>
            </a:p>
          </p:txBody>
        </p:sp>
        <p:sp>
          <p:nvSpPr>
            <p:cNvPr id="8" name="Freeform 46"/>
            <p:cNvSpPr/>
            <p:nvPr/>
          </p:nvSpPr>
          <p:spPr>
            <a:xfrm>
              <a:off x="-11825" y="3467156"/>
              <a:ext cx="9143664" cy="891267"/>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33"/>
            </a:p>
          </p:txBody>
        </p:sp>
        <p:sp>
          <p:nvSpPr>
            <p:cNvPr id="9" name="Freeform 47"/>
            <p:cNvSpPr/>
            <p:nvPr/>
          </p:nvSpPr>
          <p:spPr>
            <a:xfrm>
              <a:off x="-24042" y="5641327"/>
              <a:ext cx="3005355" cy="121091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33"/>
            </a:p>
          </p:txBody>
        </p:sp>
        <p:sp>
          <p:nvSpPr>
            <p:cNvPr id="10" name="Freeform 48"/>
            <p:cNvSpPr/>
            <p:nvPr/>
          </p:nvSpPr>
          <p:spPr>
            <a:xfrm>
              <a:off x="-11825" y="5284245"/>
              <a:ext cx="9143664" cy="1478725"/>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33"/>
            </a:p>
          </p:txBody>
        </p:sp>
        <p:sp>
          <p:nvSpPr>
            <p:cNvPr id="11" name="Freeform 49"/>
            <p:cNvSpPr/>
            <p:nvPr/>
          </p:nvSpPr>
          <p:spPr>
            <a:xfrm>
              <a:off x="2136990" y="5131621"/>
              <a:ext cx="6982631" cy="1720620"/>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33"/>
            </a:p>
          </p:txBody>
        </p:sp>
        <p:sp>
          <p:nvSpPr>
            <p:cNvPr id="12" name="Hexagon 50"/>
            <p:cNvSpPr/>
            <p:nvPr/>
          </p:nvSpPr>
          <p:spPr>
            <a:xfrm rot="1800000">
              <a:off x="2996245" y="2859540"/>
              <a:ext cx="1601770" cy="1388014"/>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13" name="Hexagon 51"/>
            <p:cNvSpPr/>
            <p:nvPr/>
          </p:nvSpPr>
          <p:spPr>
            <a:xfrm rot="1800000">
              <a:off x="3719756" y="4126606"/>
              <a:ext cx="1601770" cy="1388014"/>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14" name="Hexagon 59"/>
            <p:cNvSpPr/>
            <p:nvPr/>
          </p:nvSpPr>
          <p:spPr>
            <a:xfrm rot="1800000">
              <a:off x="3729259" y="1592473"/>
              <a:ext cx="1601770" cy="1388014"/>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15" name="Hexagon 60"/>
            <p:cNvSpPr/>
            <p:nvPr/>
          </p:nvSpPr>
          <p:spPr>
            <a:xfrm rot="1800000">
              <a:off x="2977241" y="325406"/>
              <a:ext cx="1601770" cy="1388014"/>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16" name="Hexagon 61"/>
            <p:cNvSpPr/>
            <p:nvPr/>
          </p:nvSpPr>
          <p:spPr>
            <a:xfrm rot="1800000">
              <a:off x="4463629" y="5383595"/>
              <a:ext cx="1600413" cy="1388014"/>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17" name="Freeform 62"/>
            <p:cNvSpPr/>
            <p:nvPr/>
          </p:nvSpPr>
          <p:spPr>
            <a:xfrm rot="1800000">
              <a:off x="-382404" y="4201479"/>
              <a:ext cx="1261055" cy="1388014"/>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18" name="Hexagon 63"/>
            <p:cNvSpPr/>
            <p:nvPr/>
          </p:nvSpPr>
          <p:spPr>
            <a:xfrm rot="1800000">
              <a:off x="24826" y="5402312"/>
              <a:ext cx="1600413" cy="1388014"/>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19" name="Hexagon 64"/>
            <p:cNvSpPr/>
            <p:nvPr/>
          </p:nvSpPr>
          <p:spPr>
            <a:xfrm rot="1800000">
              <a:off x="53332" y="2849461"/>
              <a:ext cx="1600412" cy="1388014"/>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20" name="Hexagon 65"/>
            <p:cNvSpPr/>
            <p:nvPr/>
          </p:nvSpPr>
          <p:spPr>
            <a:xfrm rot="1800000">
              <a:off x="776843" y="4126606"/>
              <a:ext cx="1601770" cy="1388014"/>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21" name="Hexagon 66"/>
            <p:cNvSpPr/>
            <p:nvPr/>
          </p:nvSpPr>
          <p:spPr>
            <a:xfrm rot="1800000">
              <a:off x="1509857" y="5412392"/>
              <a:ext cx="1601770" cy="1388014"/>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22" name="Hexagon 67"/>
            <p:cNvSpPr/>
            <p:nvPr/>
          </p:nvSpPr>
          <p:spPr>
            <a:xfrm rot="1800000">
              <a:off x="1528861" y="2859540"/>
              <a:ext cx="1601770" cy="1388014"/>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23" name="Hexagon 68"/>
            <p:cNvSpPr/>
            <p:nvPr/>
          </p:nvSpPr>
          <p:spPr>
            <a:xfrm rot="1800000">
              <a:off x="795847" y="1563676"/>
              <a:ext cx="1601770" cy="1388014"/>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24" name="Hexagon 69"/>
            <p:cNvSpPr/>
            <p:nvPr/>
          </p:nvSpPr>
          <p:spPr>
            <a:xfrm rot="1800000">
              <a:off x="6806557" y="4145325"/>
              <a:ext cx="1600413" cy="1388014"/>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25" name="Hexagon 70"/>
            <p:cNvSpPr/>
            <p:nvPr/>
          </p:nvSpPr>
          <p:spPr>
            <a:xfrm rot="1800000">
              <a:off x="7549073" y="5421031"/>
              <a:ext cx="1601770" cy="1388014"/>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26" name="Hexagon 71"/>
            <p:cNvSpPr/>
            <p:nvPr/>
          </p:nvSpPr>
          <p:spPr>
            <a:xfrm rot="1800000">
              <a:off x="7549073" y="2868179"/>
              <a:ext cx="1601770" cy="1389454"/>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27" name="Freeform 72"/>
            <p:cNvSpPr/>
            <p:nvPr/>
          </p:nvSpPr>
          <p:spPr>
            <a:xfrm rot="1800000">
              <a:off x="8306520" y="4056054"/>
              <a:ext cx="1243408" cy="1388014"/>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28" name="Freeform 73"/>
            <p:cNvSpPr/>
            <p:nvPr/>
          </p:nvSpPr>
          <p:spPr>
            <a:xfrm rot="1800000">
              <a:off x="8306520" y="1511841"/>
              <a:ext cx="1242050" cy="1388014"/>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grpSp>
      <p:sp>
        <p:nvSpPr>
          <p:cNvPr id="44" name="Rectangle 93"/>
          <p:cNvSpPr/>
          <p:nvPr/>
        </p:nvSpPr>
        <p:spPr>
          <a:xfrm>
            <a:off x="6081521" y="-21598"/>
            <a:ext cx="4905036" cy="6271982"/>
          </a:xfrm>
          <a:prstGeom prst="rect">
            <a:avLst/>
          </a:prstGeom>
          <a:solidFill>
            <a:srgbClr val="F5F5F5"/>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4605" tIns="47302" rIns="94605" bIns="47302" anchor="ctr"/>
          <a:lstStyle/>
          <a:p>
            <a:pPr algn="ctr">
              <a:defRPr/>
            </a:pPr>
            <a:endParaRPr lang="en-US" sz="1633"/>
          </a:p>
        </p:txBody>
      </p:sp>
      <p:sp>
        <p:nvSpPr>
          <p:cNvPr id="45" name="Rectangle 100"/>
          <p:cNvSpPr/>
          <p:nvPr/>
        </p:nvSpPr>
        <p:spPr>
          <a:xfrm>
            <a:off x="6199170" y="-21598"/>
            <a:ext cx="4673359" cy="6234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4605" tIns="47302" rIns="94605" bIns="47302" anchor="ctr"/>
          <a:lstStyle/>
          <a:p>
            <a:pPr algn="ctr">
              <a:defRPr/>
            </a:pPr>
            <a:endParaRPr lang="en-US" sz="1633"/>
          </a:p>
        </p:txBody>
      </p:sp>
      <p:sp>
        <p:nvSpPr>
          <p:cNvPr id="46" name="Rectangle 101"/>
          <p:cNvSpPr/>
          <p:nvPr/>
        </p:nvSpPr>
        <p:spPr>
          <a:xfrm>
            <a:off x="1207255" y="601857"/>
            <a:ext cx="4749378" cy="5648527"/>
          </a:xfrm>
          <a:prstGeom prst="rect">
            <a:avLst/>
          </a:prstGeom>
          <a:solidFill>
            <a:srgbClr val="FFFFFF"/>
          </a:solidFill>
          <a:ln w="317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4605" tIns="47302" rIns="94605" bIns="47302" anchor="ctr"/>
          <a:lstStyle/>
          <a:p>
            <a:pPr algn="ctr">
              <a:defRPr/>
            </a:pPr>
            <a:endParaRPr lang="en-US" sz="1633"/>
          </a:p>
        </p:txBody>
      </p:sp>
      <p:sp>
        <p:nvSpPr>
          <p:cNvPr id="47" name="Rectangle 104"/>
          <p:cNvSpPr/>
          <p:nvPr/>
        </p:nvSpPr>
        <p:spPr>
          <a:xfrm>
            <a:off x="6200979" y="6087680"/>
            <a:ext cx="4673359" cy="820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4605" tIns="47302" rIns="94605" bIns="47302" anchor="ctr"/>
          <a:lstStyle/>
          <a:p>
            <a:pPr algn="ctr">
              <a:defRPr/>
            </a:pPr>
            <a:endParaRPr lang="en-US" sz="1633"/>
          </a:p>
        </p:txBody>
      </p:sp>
      <p:sp>
        <p:nvSpPr>
          <p:cNvPr id="2" name="Title 1"/>
          <p:cNvSpPr>
            <a:spLocks noGrp="1"/>
          </p:cNvSpPr>
          <p:nvPr>
            <p:ph type="title"/>
          </p:nvPr>
        </p:nvSpPr>
        <p:spPr>
          <a:xfrm>
            <a:off x="6312566" y="2660904"/>
            <a:ext cx="4401312" cy="1463040"/>
          </a:xfrm>
        </p:spPr>
        <p:txBody>
          <a:bodyPr>
            <a:normAutofit/>
          </a:bodyPr>
          <a:lstStyle>
            <a:lvl1pPr algn="l">
              <a:defRPr sz="2902" b="0"/>
            </a:lvl1pPr>
          </a:lstStyle>
          <a:p>
            <a:r>
              <a:rPr lang="en-US"/>
              <a:t>Click to edit Master title style</a:t>
            </a:r>
          </a:p>
        </p:txBody>
      </p:sp>
      <p:sp>
        <p:nvSpPr>
          <p:cNvPr id="3" name="Picture Placeholder 2"/>
          <p:cNvSpPr>
            <a:spLocks noGrp="1"/>
          </p:cNvSpPr>
          <p:nvPr>
            <p:ph type="pic" idx="1"/>
          </p:nvPr>
        </p:nvSpPr>
        <p:spPr>
          <a:xfrm>
            <a:off x="1340278" y="693795"/>
            <a:ext cx="4479497" cy="5468112"/>
          </a:xfrm>
        </p:spPr>
        <p:txBody>
          <a:bodyPr rtlCol="0">
            <a:normAutofit/>
          </a:bodyPr>
          <a:lstStyle>
            <a:lvl1pPr marL="0" indent="0">
              <a:buNone/>
              <a:defRPr sz="3356">
                <a:solidFill>
                  <a:schemeClr val="accent1"/>
                </a:solidFill>
              </a:defRPr>
            </a:lvl1pPr>
            <a:lvl2pPr marL="473026" indent="0">
              <a:buNone/>
              <a:defRPr sz="2902"/>
            </a:lvl2pPr>
            <a:lvl3pPr marL="946052" indent="0">
              <a:buNone/>
              <a:defRPr sz="2449"/>
            </a:lvl3pPr>
            <a:lvl4pPr marL="1419078" indent="0">
              <a:buNone/>
              <a:defRPr sz="2086"/>
            </a:lvl4pPr>
            <a:lvl5pPr marL="1892104" indent="0">
              <a:buNone/>
              <a:defRPr sz="2086"/>
            </a:lvl5pPr>
            <a:lvl6pPr marL="2365129" indent="0">
              <a:buNone/>
              <a:defRPr sz="2086"/>
            </a:lvl6pPr>
            <a:lvl7pPr marL="2838155" indent="0">
              <a:buNone/>
              <a:defRPr sz="2086"/>
            </a:lvl7pPr>
            <a:lvl8pPr marL="3311181" indent="0">
              <a:buNone/>
              <a:defRPr sz="2086"/>
            </a:lvl8pPr>
            <a:lvl9pPr marL="3784207" indent="0">
              <a:buNone/>
              <a:defRPr sz="2086"/>
            </a:lvl9pPr>
          </a:lstStyle>
          <a:p>
            <a:pPr lvl="0"/>
            <a:r>
              <a:rPr lang="en-US" noProof="0"/>
              <a:t>Click icon to add picture</a:t>
            </a:r>
            <a:endParaRPr lang="en-US" noProof="0" dirty="0"/>
          </a:p>
        </p:txBody>
      </p:sp>
      <p:sp>
        <p:nvSpPr>
          <p:cNvPr id="4" name="Text Placeholder 3"/>
          <p:cNvSpPr>
            <a:spLocks noGrp="1"/>
          </p:cNvSpPr>
          <p:nvPr>
            <p:ph type="body" sz="half" idx="2"/>
          </p:nvPr>
        </p:nvSpPr>
        <p:spPr>
          <a:xfrm>
            <a:off x="6312841" y="4133089"/>
            <a:ext cx="4400764" cy="1519561"/>
          </a:xfrm>
        </p:spPr>
        <p:txBody>
          <a:bodyPr>
            <a:normAutofit/>
          </a:bodyPr>
          <a:lstStyle>
            <a:lvl1pPr marL="0" indent="0">
              <a:buNone/>
              <a:defRPr sz="1633">
                <a:solidFill>
                  <a:srgbClr val="424242"/>
                </a:solidFill>
              </a:defRPr>
            </a:lvl1pPr>
            <a:lvl2pPr marL="473026" indent="0">
              <a:buNone/>
              <a:defRPr sz="1270"/>
            </a:lvl2pPr>
            <a:lvl3pPr marL="946052" indent="0">
              <a:buNone/>
              <a:defRPr sz="998"/>
            </a:lvl3pPr>
            <a:lvl4pPr marL="1419078" indent="0">
              <a:buNone/>
              <a:defRPr sz="907"/>
            </a:lvl4pPr>
            <a:lvl5pPr marL="1892104" indent="0">
              <a:buNone/>
              <a:defRPr sz="907"/>
            </a:lvl5pPr>
            <a:lvl6pPr marL="2365129" indent="0">
              <a:buNone/>
              <a:defRPr sz="907"/>
            </a:lvl6pPr>
            <a:lvl7pPr marL="2838155" indent="0">
              <a:buNone/>
              <a:defRPr sz="907"/>
            </a:lvl7pPr>
            <a:lvl8pPr marL="3311181" indent="0">
              <a:buNone/>
              <a:defRPr sz="907"/>
            </a:lvl8pPr>
            <a:lvl9pPr marL="3784207" indent="0">
              <a:buNone/>
              <a:defRPr sz="907"/>
            </a:lvl9pPr>
          </a:lstStyle>
          <a:p>
            <a:pPr lvl="0"/>
            <a:r>
              <a:rPr lang="en-US"/>
              <a:t>Click to edit Master text styles</a:t>
            </a:r>
          </a:p>
        </p:txBody>
      </p:sp>
      <p:sp>
        <p:nvSpPr>
          <p:cNvPr id="48" name="Date Placeholder 4"/>
          <p:cNvSpPr>
            <a:spLocks noGrp="1"/>
          </p:cNvSpPr>
          <p:nvPr>
            <p:ph type="dt" sz="half" idx="10"/>
          </p:nvPr>
        </p:nvSpPr>
        <p:spPr/>
        <p:txBody>
          <a:bodyPr/>
          <a:lstStyle>
            <a:lvl1pPr>
              <a:defRPr/>
            </a:lvl1pPr>
          </a:lstStyle>
          <a:p>
            <a:pPr>
              <a:defRPr/>
            </a:pPr>
            <a:fld id="{28BCD1D8-B7BC-415E-93FF-508E0A4F3D43}" type="datetimeFigureOut">
              <a:rPr lang="vi-VN"/>
              <a:pPr>
                <a:defRPr/>
              </a:pPr>
              <a:t>17/08/2023</a:t>
            </a:fld>
            <a:endParaRPr lang="vi-VN"/>
          </a:p>
        </p:txBody>
      </p:sp>
      <p:sp>
        <p:nvSpPr>
          <p:cNvPr id="49" name="Footer Placeholder 5"/>
          <p:cNvSpPr>
            <a:spLocks noGrp="1"/>
          </p:cNvSpPr>
          <p:nvPr>
            <p:ph type="ftr" sz="quarter" idx="11"/>
          </p:nvPr>
        </p:nvSpPr>
        <p:spPr>
          <a:xfrm>
            <a:off x="6188310" y="5724839"/>
            <a:ext cx="4658879" cy="365722"/>
          </a:xfrm>
        </p:spPr>
        <p:txBody>
          <a:bodyPr>
            <a:normAutofit/>
          </a:bodyPr>
          <a:lstStyle>
            <a:lvl1pPr>
              <a:defRPr/>
            </a:lvl1pPr>
          </a:lstStyle>
          <a:p>
            <a:pPr>
              <a:defRPr/>
            </a:pPr>
            <a:endParaRPr lang="vi-VN"/>
          </a:p>
        </p:txBody>
      </p:sp>
      <p:sp>
        <p:nvSpPr>
          <p:cNvPr id="50" name="Slide Number Placeholder 6"/>
          <p:cNvSpPr>
            <a:spLocks noGrp="1"/>
          </p:cNvSpPr>
          <p:nvPr>
            <p:ph type="sldNum" sz="quarter" idx="12"/>
          </p:nvPr>
        </p:nvSpPr>
        <p:spPr/>
        <p:txBody>
          <a:bodyPr/>
          <a:lstStyle>
            <a:lvl1pPr>
              <a:defRPr/>
            </a:lvl1pPr>
          </a:lstStyle>
          <a:p>
            <a:pPr>
              <a:defRPr/>
            </a:pPr>
            <a:fld id="{F8D933AB-FE36-41C1-A7C7-61AAF5781560}" type="slidenum">
              <a:rPr lang="vi-VN"/>
              <a:pPr>
                <a:defRPr/>
              </a:pPr>
              <a:t>‹#›</a:t>
            </a:fld>
            <a:endParaRPr lang="vi-VN"/>
          </a:p>
        </p:txBody>
      </p:sp>
    </p:spTree>
    <p:extLst>
      <p:ext uri="{BB962C8B-B14F-4D97-AF65-F5344CB8AC3E}">
        <p14:creationId xmlns:p14="http://schemas.microsoft.com/office/powerpoint/2010/main" val="10680776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divider with photo background">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FE7B338-1383-7843-9E8D-F295A0DFF59D}"/>
              </a:ext>
            </a:extLst>
          </p:cNvPr>
          <p:cNvSpPr>
            <a:spLocks noGrp="1"/>
          </p:cNvSpPr>
          <p:nvPr>
            <p:ph type="pic" sz="quarter" idx="13" hasCustomPrompt="1"/>
          </p:nvPr>
        </p:nvSpPr>
        <p:spPr>
          <a:xfrm>
            <a:off x="2" y="0"/>
            <a:ext cx="12191999" cy="6858000"/>
          </a:xfrm>
          <a:custGeom>
            <a:avLst/>
            <a:gdLst>
              <a:gd name="connsiteX0" fmla="*/ 0 w 12191999"/>
              <a:gd name="connsiteY0" fmla="*/ 0 h 6858000"/>
              <a:gd name="connsiteX1" fmla="*/ 10321761 w 12191999"/>
              <a:gd name="connsiteY1" fmla="*/ 0 h 6858000"/>
              <a:gd name="connsiteX2" fmla="*/ 10321761 w 12191999"/>
              <a:gd name="connsiteY2" fmla="*/ 673804 h 6858000"/>
              <a:gd name="connsiteX3" fmla="*/ 11887200 w 12191999"/>
              <a:gd name="connsiteY3" fmla="*/ 673804 h 6858000"/>
              <a:gd name="connsiteX4" fmla="*/ 11887200 w 12191999"/>
              <a:gd name="connsiteY4" fmla="*/ 0 h 6858000"/>
              <a:gd name="connsiteX5" fmla="*/ 12191999 w 12191999"/>
              <a:gd name="connsiteY5" fmla="*/ 0 h 6858000"/>
              <a:gd name="connsiteX6" fmla="*/ 12191999 w 12191999"/>
              <a:gd name="connsiteY6" fmla="*/ 6858000 h 6858000"/>
              <a:gd name="connsiteX7" fmla="*/ 0 w 12191999"/>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1999" h="6858000">
                <a:moveTo>
                  <a:pt x="0" y="0"/>
                </a:moveTo>
                <a:lnTo>
                  <a:pt x="10321761" y="0"/>
                </a:lnTo>
                <a:lnTo>
                  <a:pt x="10321761" y="673804"/>
                </a:lnTo>
                <a:lnTo>
                  <a:pt x="11887200" y="673804"/>
                </a:lnTo>
                <a:lnTo>
                  <a:pt x="11887200" y="0"/>
                </a:lnTo>
                <a:lnTo>
                  <a:pt x="12191999" y="0"/>
                </a:lnTo>
                <a:lnTo>
                  <a:pt x="12191999" y="6858000"/>
                </a:lnTo>
                <a:lnTo>
                  <a:pt x="0" y="6858000"/>
                </a:lnTo>
                <a:close/>
              </a:path>
            </a:pathLst>
          </a:custGeom>
          <a:pattFill prst="pct5">
            <a:fgClr>
              <a:schemeClr val="bg1"/>
            </a:fgClr>
            <a:bgClr>
              <a:schemeClr val="bg2"/>
            </a:bgClr>
          </a:pattFill>
        </p:spPr>
        <p:txBody>
          <a:bodyPr vert="horz" wrap="square" lIns="0" tIns="0" rIns="0" bIns="0" rtlCol="0" anchor="ctr">
            <a:noAutofit/>
          </a:bodyPr>
          <a:lstStyle>
            <a:lvl1pPr marL="0" indent="0" algn="ctr">
              <a:buFontTx/>
              <a:buNone/>
              <a:defRPr lang="en-US" sz="1050">
                <a:solidFill>
                  <a:schemeClr val="tx1"/>
                </a:solidFill>
              </a:defRPr>
            </a:lvl1pPr>
          </a:lstStyle>
          <a:p>
            <a:pPr lvl="0" algn="ctr">
              <a:buNone/>
            </a:pPr>
            <a:r>
              <a:rPr lang="en-US"/>
              <a:t>Add photo</a:t>
            </a:r>
          </a:p>
        </p:txBody>
      </p:sp>
      <p:sp>
        <p:nvSpPr>
          <p:cNvPr id="5" name="Slide Number Placeholder 2">
            <a:extLst>
              <a:ext uri="{FF2B5EF4-FFF2-40B4-BE49-F238E27FC236}">
                <a16:creationId xmlns:a16="http://schemas.microsoft.com/office/drawing/2014/main" id="{A634E9F6-D24E-5141-81EF-69349B9658EA}"/>
              </a:ext>
            </a:extLst>
          </p:cNvPr>
          <p:cNvSpPr>
            <a:spLocks noGrp="1"/>
          </p:cNvSpPr>
          <p:nvPr>
            <p:ph type="sldNum" sz="quarter" idx="10"/>
          </p:nvPr>
        </p:nvSpPr>
        <p:spPr>
          <a:xfrm>
            <a:off x="2" y="6553202"/>
            <a:ext cx="304799" cy="304799"/>
          </a:xfrm>
        </p:spPr>
        <p:txBody>
          <a:bodyPr/>
          <a:lstStyle>
            <a:lvl1pPr>
              <a:defRPr>
                <a:solidFill>
                  <a:schemeClr val="bg1"/>
                </a:solidFill>
              </a:defRPr>
            </a:lvl1pPr>
          </a:lstStyle>
          <a:p>
            <a:fld id="{89006F1E-66CD-4A4B-9370-B4A3080F0E6C}" type="slidenum">
              <a:rPr lang="en-US" smtClean="0"/>
              <a:pPr/>
              <a:t>‹#›</a:t>
            </a:fld>
            <a:endParaRPr lang="en-US"/>
          </a:p>
        </p:txBody>
      </p:sp>
      <p:sp>
        <p:nvSpPr>
          <p:cNvPr id="6" name="Footer Placeholder 1">
            <a:extLst>
              <a:ext uri="{FF2B5EF4-FFF2-40B4-BE49-F238E27FC236}">
                <a16:creationId xmlns:a16="http://schemas.microsoft.com/office/drawing/2014/main" id="{B41A9DDB-F5FB-5046-B179-F07475B09908}"/>
              </a:ext>
            </a:extLst>
          </p:cNvPr>
          <p:cNvSpPr>
            <a:spLocks noGrp="1"/>
          </p:cNvSpPr>
          <p:nvPr>
            <p:ph type="ftr" sz="quarter" idx="14"/>
          </p:nvPr>
        </p:nvSpPr>
        <p:spPr>
          <a:xfrm>
            <a:off x="304802" y="6553201"/>
            <a:ext cx="3657601" cy="304800"/>
          </a:xfrm>
          <a:prstGeom prst="rect">
            <a:avLst/>
          </a:prstGeom>
        </p:spPr>
        <p:txBody>
          <a:bodyPr/>
          <a:lstStyle>
            <a:lvl1pPr>
              <a:defRPr>
                <a:solidFill>
                  <a:schemeClr val="bg1"/>
                </a:solidFill>
              </a:defRPr>
            </a:lvl1pPr>
          </a:lstStyle>
          <a:p>
            <a:r>
              <a:rPr lang="en-US">
                <a:ea typeface="MS PGothic" panose="020B0600070205080204" pitchFamily="34" charset="-128"/>
              </a:rPr>
              <a:t>Proprietary &amp; Confidential |  authoremail@thermofisher.com | 5-August-2020</a:t>
            </a:r>
          </a:p>
        </p:txBody>
      </p:sp>
      <p:sp>
        <p:nvSpPr>
          <p:cNvPr id="8" name="Content Placeholder 2">
            <a:extLst>
              <a:ext uri="{FF2B5EF4-FFF2-40B4-BE49-F238E27FC236}">
                <a16:creationId xmlns:a16="http://schemas.microsoft.com/office/drawing/2014/main" id="{5DC4D9F1-5E1A-DD4A-946F-32414E026F44}"/>
              </a:ext>
            </a:extLst>
          </p:cNvPr>
          <p:cNvSpPr>
            <a:spLocks noGrp="1"/>
          </p:cNvSpPr>
          <p:nvPr>
            <p:ph sz="quarter" idx="15" hasCustomPrompt="1"/>
          </p:nvPr>
        </p:nvSpPr>
        <p:spPr>
          <a:xfrm>
            <a:off x="0" y="4226941"/>
            <a:ext cx="6096000" cy="586314"/>
          </a:xfrm>
          <a:solidFill>
            <a:schemeClr val="bg1"/>
          </a:solidFill>
        </p:spPr>
        <p:txBody>
          <a:bodyPr wrap="square" lIns="292608" tIns="201168" rIns="292608" bIns="91440" anchor="b">
            <a:spAutoFit/>
          </a:bodyPr>
          <a:lstStyle>
            <a:lvl1pPr marL="0" indent="0">
              <a:lnSpc>
                <a:spcPct val="90000"/>
              </a:lnSpc>
              <a:buNone/>
              <a:defRPr sz="2100" b="1">
                <a:solidFill>
                  <a:schemeClr val="tx2"/>
                </a:solidFill>
              </a:defRPr>
            </a:lvl1pPr>
          </a:lstStyle>
          <a:p>
            <a:pPr lvl="0"/>
            <a:r>
              <a:rPr lang="en-US"/>
              <a:t>Section title with full photo background</a:t>
            </a:r>
          </a:p>
        </p:txBody>
      </p:sp>
      <p:sp>
        <p:nvSpPr>
          <p:cNvPr id="10" name="Content Placeholder 2">
            <a:extLst>
              <a:ext uri="{FF2B5EF4-FFF2-40B4-BE49-F238E27FC236}">
                <a16:creationId xmlns:a16="http://schemas.microsoft.com/office/drawing/2014/main" id="{15406226-911A-D441-8417-8C4961D7AEF2}"/>
              </a:ext>
            </a:extLst>
          </p:cNvPr>
          <p:cNvSpPr>
            <a:spLocks noGrp="1"/>
          </p:cNvSpPr>
          <p:nvPr>
            <p:ph sz="quarter" idx="16" hasCustomPrompt="1"/>
          </p:nvPr>
        </p:nvSpPr>
        <p:spPr>
          <a:xfrm>
            <a:off x="0" y="4813256"/>
            <a:ext cx="6096000" cy="547009"/>
          </a:xfrm>
          <a:solidFill>
            <a:schemeClr val="bg1"/>
          </a:solidFill>
        </p:spPr>
        <p:txBody>
          <a:bodyPr wrap="square" lIns="292608" tIns="91440" rIns="292608" bIns="201168" anchor="t">
            <a:spAutoFit/>
          </a:bodyPr>
          <a:lstStyle>
            <a:lvl1pPr marL="0" marR="0" indent="0" algn="l" defTabSz="685778" rtl="0" eaLnBrk="1" fontAlgn="auto" latinLnBrk="0" hangingPunct="1">
              <a:lnSpc>
                <a:spcPct val="100000"/>
              </a:lnSpc>
              <a:spcBef>
                <a:spcPts val="150"/>
              </a:spcBef>
              <a:spcAft>
                <a:spcPts val="0"/>
              </a:spcAft>
              <a:buClr>
                <a:schemeClr val="tx2"/>
              </a:buClr>
              <a:buSzPct val="100000"/>
              <a:buFont typeface="Arial" panose="020B0604020202020204" pitchFamily="34" charset="0"/>
              <a:buNone/>
              <a:tabLst/>
              <a:defRPr lang="en-US" sz="1500" b="0" kern="1200" dirty="0">
                <a:solidFill>
                  <a:schemeClr val="tx1"/>
                </a:solidFill>
                <a:latin typeface="+mn-lt"/>
                <a:ea typeface="+mn-ea"/>
                <a:cs typeface="+mn-cs"/>
              </a:defRPr>
            </a:lvl1pPr>
          </a:lstStyle>
          <a:p>
            <a:pPr marL="0" marR="0" lvl="0" indent="0" algn="l" defTabSz="685778" rtl="0" eaLnBrk="1" fontAlgn="auto" latinLnBrk="0" hangingPunct="1">
              <a:lnSpc>
                <a:spcPct val="120000"/>
              </a:lnSpc>
              <a:spcBef>
                <a:spcPts val="150"/>
              </a:spcBef>
              <a:spcAft>
                <a:spcPts val="0"/>
              </a:spcAft>
              <a:buClr>
                <a:schemeClr val="tx2"/>
              </a:buClr>
              <a:buSzPct val="100000"/>
              <a:buFont typeface="Arial" panose="020B0604020202020204" pitchFamily="34" charset="0"/>
              <a:buNone/>
              <a:tabLst/>
              <a:defRPr/>
            </a:pPr>
            <a:r>
              <a:rPr lang="en-US"/>
              <a:t>Sub title and or description of next section</a:t>
            </a:r>
          </a:p>
        </p:txBody>
      </p:sp>
    </p:spTree>
    <p:extLst>
      <p:ext uri="{BB962C8B-B14F-4D97-AF65-F5344CB8AC3E}">
        <p14:creationId xmlns:p14="http://schemas.microsoft.com/office/powerpoint/2010/main" val="329346423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986A0581-5FBF-48BB-836A-044DAEF809C8}" type="datetimeFigureOut">
              <a:rPr lang="vi-VN"/>
              <a:pPr>
                <a:defRPr/>
              </a:pPr>
              <a:t>17/08/2023</a:t>
            </a:fld>
            <a:endParaRPr lang="vi-VN"/>
          </a:p>
        </p:txBody>
      </p:sp>
      <p:sp>
        <p:nvSpPr>
          <p:cNvPr id="5" name="Footer Placeholder 4"/>
          <p:cNvSpPr>
            <a:spLocks noGrp="1"/>
          </p:cNvSpPr>
          <p:nvPr>
            <p:ph type="ftr" sz="quarter" idx="11"/>
          </p:nvPr>
        </p:nvSpPr>
        <p:spPr/>
        <p:txBody>
          <a:bodyPr/>
          <a:lstStyle>
            <a:lvl1pPr>
              <a:defRPr/>
            </a:lvl1pPr>
          </a:lstStyle>
          <a:p>
            <a:pPr>
              <a:defRPr/>
            </a:pPr>
            <a:endParaRPr lang="vi-VN"/>
          </a:p>
        </p:txBody>
      </p:sp>
      <p:sp>
        <p:nvSpPr>
          <p:cNvPr id="6" name="Slide Number Placeholder 5"/>
          <p:cNvSpPr>
            <a:spLocks noGrp="1"/>
          </p:cNvSpPr>
          <p:nvPr>
            <p:ph type="sldNum" sz="quarter" idx="12"/>
          </p:nvPr>
        </p:nvSpPr>
        <p:spPr/>
        <p:txBody>
          <a:bodyPr/>
          <a:lstStyle>
            <a:lvl1pPr>
              <a:defRPr/>
            </a:lvl1pPr>
          </a:lstStyle>
          <a:p>
            <a:pPr>
              <a:defRPr/>
            </a:pPr>
            <a:fld id="{FE4C7181-82F3-4549-BC79-986838E2DC40}" type="slidenum">
              <a:rPr lang="vi-VN"/>
              <a:pPr>
                <a:defRPr/>
              </a:pPr>
              <a:t>‹#›</a:t>
            </a:fld>
            <a:endParaRPr lang="vi-VN"/>
          </a:p>
        </p:txBody>
      </p:sp>
    </p:spTree>
    <p:extLst>
      <p:ext uri="{BB962C8B-B14F-4D97-AF65-F5344CB8AC3E}">
        <p14:creationId xmlns:p14="http://schemas.microsoft.com/office/powerpoint/2010/main" val="290528245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2" y="1030148"/>
            <a:ext cx="1979270" cy="4780344"/>
          </a:xfrm>
        </p:spPr>
        <p:txBody>
          <a:bodyPr vert="eaVert" anchor="ctr"/>
          <a:lstStyle/>
          <a:p>
            <a:r>
              <a:rPr lang="en-US"/>
              <a:t>Click to edit Master title style</a:t>
            </a:r>
          </a:p>
        </p:txBody>
      </p:sp>
      <p:sp>
        <p:nvSpPr>
          <p:cNvPr id="3" name="Vertical Text Placeholder 2"/>
          <p:cNvSpPr>
            <a:spLocks noGrp="1"/>
          </p:cNvSpPr>
          <p:nvPr>
            <p:ph type="body" orient="vert" idx="1"/>
          </p:nvPr>
        </p:nvSpPr>
        <p:spPr>
          <a:xfrm>
            <a:off x="1404395" y="1030148"/>
            <a:ext cx="7231606" cy="478034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893474E1-814B-4A79-A998-D9B177829322}" type="datetimeFigureOut">
              <a:rPr lang="vi-VN"/>
              <a:pPr>
                <a:defRPr/>
              </a:pPr>
              <a:t>17/08/2023</a:t>
            </a:fld>
            <a:endParaRPr lang="vi-VN"/>
          </a:p>
        </p:txBody>
      </p:sp>
      <p:sp>
        <p:nvSpPr>
          <p:cNvPr id="5" name="Footer Placeholder 4"/>
          <p:cNvSpPr>
            <a:spLocks noGrp="1"/>
          </p:cNvSpPr>
          <p:nvPr>
            <p:ph type="ftr" sz="quarter" idx="11"/>
          </p:nvPr>
        </p:nvSpPr>
        <p:spPr/>
        <p:txBody>
          <a:bodyPr/>
          <a:lstStyle>
            <a:lvl1pPr>
              <a:defRPr/>
            </a:lvl1pPr>
          </a:lstStyle>
          <a:p>
            <a:pPr>
              <a:defRPr/>
            </a:pPr>
            <a:endParaRPr lang="vi-VN"/>
          </a:p>
        </p:txBody>
      </p:sp>
      <p:sp>
        <p:nvSpPr>
          <p:cNvPr id="6" name="Slide Number Placeholder 5"/>
          <p:cNvSpPr>
            <a:spLocks noGrp="1"/>
          </p:cNvSpPr>
          <p:nvPr>
            <p:ph type="sldNum" sz="quarter" idx="12"/>
          </p:nvPr>
        </p:nvSpPr>
        <p:spPr/>
        <p:txBody>
          <a:bodyPr/>
          <a:lstStyle>
            <a:lvl1pPr>
              <a:defRPr/>
            </a:lvl1pPr>
          </a:lstStyle>
          <a:p>
            <a:pPr>
              <a:defRPr/>
            </a:pPr>
            <a:fld id="{3633136F-4A3A-4735-ADE0-77D6B286A661}" type="slidenum">
              <a:rPr lang="vi-VN"/>
              <a:pPr>
                <a:defRPr/>
              </a:pPr>
              <a:t>‹#›</a:t>
            </a:fld>
            <a:endParaRPr lang="vi-VN"/>
          </a:p>
        </p:txBody>
      </p:sp>
    </p:spTree>
    <p:extLst>
      <p:ext uri="{BB962C8B-B14F-4D97-AF65-F5344CB8AC3E}">
        <p14:creationId xmlns:p14="http://schemas.microsoft.com/office/powerpoint/2010/main" val="105361784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1_Title and Content-red header">
    <p:spTree>
      <p:nvGrpSpPr>
        <p:cNvPr id="1" name=""/>
        <p:cNvGrpSpPr/>
        <p:nvPr/>
      </p:nvGrpSpPr>
      <p:grpSpPr>
        <a:xfrm>
          <a:off x="0" y="0"/>
          <a:ext cx="0" cy="0"/>
          <a:chOff x="0" y="0"/>
          <a:chExt cx="0" cy="0"/>
        </a:xfrm>
      </p:grpSpPr>
      <p:sp>
        <p:nvSpPr>
          <p:cNvPr id="4" name="Title 3"/>
          <p:cNvSpPr>
            <a:spLocks noGrp="1"/>
          </p:cNvSpPr>
          <p:nvPr>
            <p:ph type="title" hasCustomPrompt="1"/>
          </p:nvPr>
        </p:nvSpPr>
        <p:spPr>
          <a:solidFill>
            <a:schemeClr val="accent4"/>
          </a:solidFill>
        </p:spPr>
        <p:txBody>
          <a:bodyPr/>
          <a:lstStyle>
            <a:lvl1pPr>
              <a:defRPr baseline="0"/>
            </a:lvl1pPr>
          </a:lstStyle>
          <a:p>
            <a:r>
              <a:rPr lang="en-US" dirty="0"/>
              <a:t>Red Title Bar Reserved for Corporate Company Use</a:t>
            </a:r>
          </a:p>
        </p:txBody>
      </p:sp>
    </p:spTree>
    <p:extLst>
      <p:ext uri="{BB962C8B-B14F-4D97-AF65-F5344CB8AC3E}">
        <p14:creationId xmlns:p14="http://schemas.microsoft.com/office/powerpoint/2010/main" val="198755569"/>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06400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Red background">
    <p:bg>
      <p:bgPr>
        <a:gradFill flip="none" rotWithShape="1">
          <a:gsLst>
            <a:gs pos="0">
              <a:schemeClr val="tx2"/>
            </a:gs>
            <a:gs pos="45000">
              <a:schemeClr val="tx2"/>
            </a:gs>
            <a:gs pos="100000">
              <a:schemeClr val="tx2">
                <a:lumMod val="50000"/>
              </a:schemeClr>
            </a:gs>
          </a:gsLst>
          <a:lin ang="1080000" scaled="0"/>
          <a:tileRect/>
        </a:gradFill>
        <a:effectLst/>
      </p:bgPr>
    </p:bg>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BD60394-6B49-3F40-ACB2-84420DAC9383}"/>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Slide Number Placeholder 2">
            <a:extLst>
              <a:ext uri="{FF2B5EF4-FFF2-40B4-BE49-F238E27FC236}">
                <a16:creationId xmlns:a16="http://schemas.microsoft.com/office/drawing/2014/main" id="{6D3BC3C2-2A41-544F-A0F8-7CFF39CCFFAC}"/>
              </a:ext>
            </a:extLst>
          </p:cNvPr>
          <p:cNvSpPr>
            <a:spLocks noGrp="1"/>
          </p:cNvSpPr>
          <p:nvPr>
            <p:ph type="sldNum" sz="quarter" idx="10"/>
          </p:nvPr>
        </p:nvSpPr>
        <p:spPr>
          <a:xfrm>
            <a:off x="2" y="6553202"/>
            <a:ext cx="304799" cy="304799"/>
          </a:xfrm>
        </p:spPr>
        <p:txBody>
          <a:bodyPr/>
          <a:lstStyle>
            <a:lvl1pPr>
              <a:defRPr>
                <a:solidFill>
                  <a:schemeClr val="bg1"/>
                </a:solidFill>
              </a:defRPr>
            </a:lvl1pPr>
          </a:lstStyle>
          <a:p>
            <a:fld id="{89006F1E-66CD-4A4B-9370-B4A3080F0E6C}" type="slidenum">
              <a:rPr lang="en-US" smtClean="0"/>
              <a:pPr/>
              <a:t>‹#›</a:t>
            </a:fld>
            <a:endParaRPr lang="en-US"/>
          </a:p>
        </p:txBody>
      </p:sp>
      <p:sp>
        <p:nvSpPr>
          <p:cNvPr id="5" name="Footer Placeholder 1">
            <a:extLst>
              <a:ext uri="{FF2B5EF4-FFF2-40B4-BE49-F238E27FC236}">
                <a16:creationId xmlns:a16="http://schemas.microsoft.com/office/drawing/2014/main" id="{9BCE1F3E-3D84-364B-BB1F-921E4AA1B217}"/>
              </a:ext>
            </a:extLst>
          </p:cNvPr>
          <p:cNvSpPr>
            <a:spLocks noGrp="1"/>
          </p:cNvSpPr>
          <p:nvPr>
            <p:ph type="ftr" sz="quarter" idx="14"/>
          </p:nvPr>
        </p:nvSpPr>
        <p:spPr>
          <a:xfrm>
            <a:off x="304802" y="6553201"/>
            <a:ext cx="3657601" cy="304800"/>
          </a:xfrm>
          <a:prstGeom prst="rect">
            <a:avLst/>
          </a:prstGeom>
        </p:spPr>
        <p:txBody>
          <a:bodyPr/>
          <a:lstStyle>
            <a:lvl1pPr>
              <a:defRPr>
                <a:solidFill>
                  <a:schemeClr val="bg1"/>
                </a:solidFill>
              </a:defRPr>
            </a:lvl1pPr>
          </a:lstStyle>
          <a:p>
            <a:r>
              <a:rPr lang="en-US">
                <a:ea typeface="MS PGothic" panose="020B0600070205080204" pitchFamily="34" charset="-128"/>
              </a:rPr>
              <a:t>Proprietary &amp; Confidential |  authoremail@thermofisher.com | 5-August-2020</a:t>
            </a:r>
          </a:p>
        </p:txBody>
      </p:sp>
      <p:sp>
        <p:nvSpPr>
          <p:cNvPr id="6" name="Text Placeholder 7">
            <a:extLst>
              <a:ext uri="{FF2B5EF4-FFF2-40B4-BE49-F238E27FC236}">
                <a16:creationId xmlns:a16="http://schemas.microsoft.com/office/drawing/2014/main" id="{94199484-7909-9044-9003-EFED90CAC053}"/>
              </a:ext>
            </a:extLst>
          </p:cNvPr>
          <p:cNvSpPr>
            <a:spLocks noGrp="1"/>
          </p:cNvSpPr>
          <p:nvPr>
            <p:ph type="body" sz="quarter" idx="11" hasCustomPrompt="1"/>
          </p:nvPr>
        </p:nvSpPr>
        <p:spPr>
          <a:xfrm>
            <a:off x="300227" y="893065"/>
            <a:ext cx="11591546" cy="381001"/>
          </a:xfrm>
          <a:prstGeom prst="rect">
            <a:avLst/>
          </a:prstGeom>
        </p:spPr>
        <p:txBody>
          <a:bodyPr lIns="0" tIns="0" rIns="0" bIns="0" anchor="t">
            <a:noAutofit/>
          </a:bodyPr>
          <a:lstStyle>
            <a:lvl1pPr marL="0" indent="0">
              <a:buNone/>
              <a:defRPr sz="1500">
                <a:solidFill>
                  <a:schemeClr val="bg1"/>
                </a:solidFill>
              </a:defRPr>
            </a:lvl1pPr>
          </a:lstStyle>
          <a:p>
            <a:pPr lvl="0"/>
            <a:r>
              <a:rPr lang="en-US"/>
              <a:t>Click to add </a:t>
            </a:r>
            <a:r>
              <a:rPr lang="en-US" err="1"/>
              <a:t>subheader</a:t>
            </a:r>
            <a:endParaRPr lang="en-US"/>
          </a:p>
        </p:txBody>
      </p:sp>
    </p:spTree>
    <p:extLst>
      <p:ext uri="{BB962C8B-B14F-4D97-AF65-F5344CB8AC3E}">
        <p14:creationId xmlns:p14="http://schemas.microsoft.com/office/powerpoint/2010/main" val="36595110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Welcome">
    <p:bg>
      <p:bgPr>
        <a:gradFill flip="none" rotWithShape="1">
          <a:gsLst>
            <a:gs pos="0">
              <a:schemeClr val="tx2"/>
            </a:gs>
            <a:gs pos="45000">
              <a:schemeClr val="tx2"/>
            </a:gs>
            <a:gs pos="100000">
              <a:schemeClr val="tx2">
                <a:lumMod val="50000"/>
              </a:schemeClr>
            </a:gs>
          </a:gsLst>
          <a:lin ang="1080000" scaled="0"/>
          <a:tileRect/>
        </a:gra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C7297DA-0943-4F9D-B4DC-D89E3C56E268}"/>
              </a:ext>
            </a:extLst>
          </p:cNvPr>
          <p:cNvSpPr/>
          <p:nvPr userDrawn="1"/>
        </p:nvSpPr>
        <p:spPr>
          <a:xfrm>
            <a:off x="251012" y="3890362"/>
            <a:ext cx="8912867" cy="1200329"/>
          </a:xfrm>
          <a:prstGeom prst="rect">
            <a:avLst/>
          </a:prstGeom>
        </p:spPr>
        <p:txBody>
          <a:bodyPr wrap="square">
            <a:spAutoFit/>
          </a:bodyPr>
          <a:lstStyle/>
          <a:p>
            <a:r>
              <a:rPr lang="en-US" sz="7200" b="1">
                <a:solidFill>
                  <a:schemeClr val="bg1"/>
                </a:solidFill>
              </a:rPr>
              <a:t>Welcome</a:t>
            </a:r>
          </a:p>
        </p:txBody>
      </p:sp>
      <p:grpSp>
        <p:nvGrpSpPr>
          <p:cNvPr id="9" name="Group 8">
            <a:extLst>
              <a:ext uri="{FF2B5EF4-FFF2-40B4-BE49-F238E27FC236}">
                <a16:creationId xmlns:a16="http://schemas.microsoft.com/office/drawing/2014/main" id="{1B3035E9-1E30-4A65-87BF-D87723B7387D}"/>
              </a:ext>
            </a:extLst>
          </p:cNvPr>
          <p:cNvGrpSpPr/>
          <p:nvPr userDrawn="1"/>
        </p:nvGrpSpPr>
        <p:grpSpPr>
          <a:xfrm>
            <a:off x="9662262" y="818784"/>
            <a:ext cx="2529740" cy="6039216"/>
            <a:chOff x="9662260" y="818784"/>
            <a:chExt cx="2529740" cy="6039216"/>
          </a:xfrm>
        </p:grpSpPr>
        <p:pic>
          <p:nvPicPr>
            <p:cNvPr id="10" name="Picture 9">
              <a:extLst>
                <a:ext uri="{FF2B5EF4-FFF2-40B4-BE49-F238E27FC236}">
                  <a16:creationId xmlns:a16="http://schemas.microsoft.com/office/drawing/2014/main" id="{9DFE8F35-3478-4D36-AE61-9902FA9E571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662260" y="1471202"/>
              <a:ext cx="2529740" cy="5386798"/>
            </a:xfrm>
            <a:prstGeom prst="rect">
              <a:avLst/>
            </a:prstGeom>
          </p:spPr>
        </p:pic>
        <p:pic>
          <p:nvPicPr>
            <p:cNvPr id="12" name="Picture 11">
              <a:extLst>
                <a:ext uri="{FF2B5EF4-FFF2-40B4-BE49-F238E27FC236}">
                  <a16:creationId xmlns:a16="http://schemas.microsoft.com/office/drawing/2014/main" id="{A63CB1BA-AEDB-454F-BBF3-A9613807210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0539851" y="4300794"/>
              <a:ext cx="1652148" cy="2095226"/>
            </a:xfrm>
            <a:prstGeom prst="rect">
              <a:avLst/>
            </a:prstGeom>
          </p:spPr>
        </p:pic>
        <p:pic>
          <p:nvPicPr>
            <p:cNvPr id="13" name="Picture 12">
              <a:extLst>
                <a:ext uri="{FF2B5EF4-FFF2-40B4-BE49-F238E27FC236}">
                  <a16:creationId xmlns:a16="http://schemas.microsoft.com/office/drawing/2014/main" id="{28BB9361-2245-45C7-85B1-98F75F74B97B}"/>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rot="20585276">
              <a:off x="10888776" y="3404437"/>
              <a:ext cx="841085" cy="888470"/>
            </a:xfrm>
            <a:prstGeom prst="rect">
              <a:avLst/>
            </a:prstGeom>
          </p:spPr>
        </p:pic>
        <p:pic>
          <p:nvPicPr>
            <p:cNvPr id="14" name="Picture 13">
              <a:extLst>
                <a:ext uri="{FF2B5EF4-FFF2-40B4-BE49-F238E27FC236}">
                  <a16:creationId xmlns:a16="http://schemas.microsoft.com/office/drawing/2014/main" id="{266621D9-C1BE-4A88-B2E8-40BCC4E56DF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839843" y="4683251"/>
              <a:ext cx="608076" cy="626643"/>
            </a:xfrm>
            <a:prstGeom prst="rect">
              <a:avLst/>
            </a:prstGeom>
          </p:spPr>
        </p:pic>
        <p:pic>
          <p:nvPicPr>
            <p:cNvPr id="15" name="Picture 14">
              <a:extLst>
                <a:ext uri="{FF2B5EF4-FFF2-40B4-BE49-F238E27FC236}">
                  <a16:creationId xmlns:a16="http://schemas.microsoft.com/office/drawing/2014/main" id="{98F6AB9F-8570-461E-BBA2-E013A3DA14E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rot="19848158">
              <a:off x="10621861" y="5789703"/>
              <a:ext cx="593846" cy="634660"/>
            </a:xfrm>
            <a:prstGeom prst="rect">
              <a:avLst/>
            </a:prstGeom>
          </p:spPr>
        </p:pic>
        <p:pic>
          <p:nvPicPr>
            <p:cNvPr id="16" name="Picture 15">
              <a:extLst>
                <a:ext uri="{FF2B5EF4-FFF2-40B4-BE49-F238E27FC236}">
                  <a16:creationId xmlns:a16="http://schemas.microsoft.com/office/drawing/2014/main" id="{1EE6F465-A690-4861-87C0-E7A6A65E3377}"/>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11037236" y="818784"/>
              <a:ext cx="1154763" cy="1703758"/>
            </a:xfrm>
            <a:prstGeom prst="rect">
              <a:avLst/>
            </a:prstGeom>
          </p:spPr>
        </p:pic>
      </p:grpSp>
      <p:sp>
        <p:nvSpPr>
          <p:cNvPr id="17" name="Slide Number Placeholder 2">
            <a:extLst>
              <a:ext uri="{FF2B5EF4-FFF2-40B4-BE49-F238E27FC236}">
                <a16:creationId xmlns:a16="http://schemas.microsoft.com/office/drawing/2014/main" id="{8EE24E27-68F9-E941-9584-DF35AA5AA788}"/>
              </a:ext>
            </a:extLst>
          </p:cNvPr>
          <p:cNvSpPr>
            <a:spLocks noGrp="1"/>
          </p:cNvSpPr>
          <p:nvPr>
            <p:ph type="sldNum" sz="quarter" idx="10"/>
          </p:nvPr>
        </p:nvSpPr>
        <p:spPr>
          <a:xfrm>
            <a:off x="2" y="6553202"/>
            <a:ext cx="304799" cy="304799"/>
          </a:xfrm>
        </p:spPr>
        <p:txBody>
          <a:bodyPr/>
          <a:lstStyle>
            <a:lvl1pPr>
              <a:defRPr>
                <a:solidFill>
                  <a:schemeClr val="bg1"/>
                </a:solidFill>
              </a:defRPr>
            </a:lvl1pPr>
          </a:lstStyle>
          <a:p>
            <a:fld id="{89006F1E-66CD-4A4B-9370-B4A3080F0E6C}" type="slidenum">
              <a:rPr lang="en-US" smtClean="0"/>
              <a:pPr/>
              <a:t>‹#›</a:t>
            </a:fld>
            <a:endParaRPr lang="en-US"/>
          </a:p>
        </p:txBody>
      </p:sp>
      <p:sp>
        <p:nvSpPr>
          <p:cNvPr id="18" name="Footer Placeholder 1">
            <a:extLst>
              <a:ext uri="{FF2B5EF4-FFF2-40B4-BE49-F238E27FC236}">
                <a16:creationId xmlns:a16="http://schemas.microsoft.com/office/drawing/2014/main" id="{6380E455-E213-C44A-A7FC-3A9E06997A4C}"/>
              </a:ext>
            </a:extLst>
          </p:cNvPr>
          <p:cNvSpPr>
            <a:spLocks noGrp="1"/>
          </p:cNvSpPr>
          <p:nvPr>
            <p:ph type="ftr" sz="quarter" idx="14"/>
          </p:nvPr>
        </p:nvSpPr>
        <p:spPr>
          <a:xfrm>
            <a:off x="304802" y="6553201"/>
            <a:ext cx="3657601" cy="304800"/>
          </a:xfrm>
          <a:prstGeom prst="rect">
            <a:avLst/>
          </a:prstGeom>
        </p:spPr>
        <p:txBody>
          <a:bodyPr/>
          <a:lstStyle>
            <a:lvl1pPr>
              <a:defRPr>
                <a:solidFill>
                  <a:schemeClr val="bg1"/>
                </a:solidFill>
              </a:defRPr>
            </a:lvl1pPr>
          </a:lstStyle>
          <a:p>
            <a:r>
              <a:rPr lang="en-US">
                <a:ea typeface="MS PGothic" panose="020B0600070205080204" pitchFamily="34" charset="-128"/>
              </a:rPr>
              <a:t>Proprietary &amp; Confidential |  authoremail@thermofisher.com | 5-August-2020</a:t>
            </a:r>
          </a:p>
        </p:txBody>
      </p:sp>
      <p:sp>
        <p:nvSpPr>
          <p:cNvPr id="5" name="Content Placeholder 4">
            <a:extLst>
              <a:ext uri="{FF2B5EF4-FFF2-40B4-BE49-F238E27FC236}">
                <a16:creationId xmlns:a16="http://schemas.microsoft.com/office/drawing/2014/main" id="{B2D62B08-7542-0949-BFA0-4B9D35DAAFBF}"/>
              </a:ext>
            </a:extLst>
          </p:cNvPr>
          <p:cNvSpPr>
            <a:spLocks noGrp="1"/>
          </p:cNvSpPr>
          <p:nvPr>
            <p:ph sz="quarter" idx="16" hasCustomPrompt="1"/>
          </p:nvPr>
        </p:nvSpPr>
        <p:spPr>
          <a:xfrm>
            <a:off x="348472" y="5269000"/>
            <a:ext cx="6612502" cy="489250"/>
          </a:xfrm>
        </p:spPr>
        <p:txBody>
          <a:bodyPr/>
          <a:lstStyle>
            <a:lvl1pPr marL="0" marR="0" indent="0" algn="l" defTabSz="685778" rtl="0" eaLnBrk="1" fontAlgn="auto" latinLnBrk="0" hangingPunct="1">
              <a:lnSpc>
                <a:spcPct val="120000"/>
              </a:lnSpc>
              <a:spcBef>
                <a:spcPts val="150"/>
              </a:spcBef>
              <a:spcAft>
                <a:spcPts val="0"/>
              </a:spcAft>
              <a:buClr>
                <a:schemeClr val="tx2"/>
              </a:buClr>
              <a:buSzPct val="100000"/>
              <a:buFont typeface="Arial" panose="020B0604020202020204" pitchFamily="34" charset="0"/>
              <a:buNone/>
              <a:tabLst/>
              <a:defRPr>
                <a:solidFill>
                  <a:schemeClr val="bg1"/>
                </a:solidFill>
              </a:defRPr>
            </a:lvl1pPr>
          </a:lstStyle>
          <a:p>
            <a:pPr marL="0" marR="0" lvl="0" indent="0" algn="l" defTabSz="685778" rtl="0" eaLnBrk="1" fontAlgn="auto" latinLnBrk="0" hangingPunct="1">
              <a:lnSpc>
                <a:spcPct val="120000"/>
              </a:lnSpc>
              <a:spcBef>
                <a:spcPts val="150"/>
              </a:spcBef>
              <a:spcAft>
                <a:spcPts val="0"/>
              </a:spcAft>
              <a:buClr>
                <a:schemeClr val="tx2"/>
              </a:buClr>
              <a:buSzPct val="100000"/>
              <a:buFont typeface="Arial" panose="020B0604020202020204" pitchFamily="34" charset="0"/>
              <a:buNone/>
              <a:tabLst/>
              <a:defRPr/>
            </a:pPr>
            <a:r>
              <a:rPr lang="en-US" sz="1500" b="0">
                <a:solidFill>
                  <a:schemeClr val="bg1"/>
                </a:solidFill>
              </a:rPr>
              <a:t>Custom message. The presentation will start shortly.</a:t>
            </a:r>
            <a:endParaRPr lang="en-US" sz="1500">
              <a:solidFill>
                <a:schemeClr val="bg1"/>
              </a:solidFill>
            </a:endParaRPr>
          </a:p>
        </p:txBody>
      </p:sp>
    </p:spTree>
    <p:extLst>
      <p:ext uri="{BB962C8B-B14F-4D97-AF65-F5344CB8AC3E}">
        <p14:creationId xmlns:p14="http://schemas.microsoft.com/office/powerpoint/2010/main" val="1096298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hank you">
    <p:bg>
      <p:bgPr>
        <a:gradFill flip="none" rotWithShape="1">
          <a:gsLst>
            <a:gs pos="0">
              <a:schemeClr val="tx2"/>
            </a:gs>
            <a:gs pos="45000">
              <a:schemeClr val="tx2"/>
            </a:gs>
            <a:gs pos="100000">
              <a:schemeClr val="tx2">
                <a:lumMod val="50000"/>
              </a:schemeClr>
            </a:gs>
          </a:gsLst>
          <a:lin ang="1080000" scaled="0"/>
          <a:tileRect/>
        </a:gra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C7297DA-0943-4F9D-B4DC-D89E3C56E268}"/>
              </a:ext>
            </a:extLst>
          </p:cNvPr>
          <p:cNvSpPr/>
          <p:nvPr userDrawn="1"/>
        </p:nvSpPr>
        <p:spPr>
          <a:xfrm>
            <a:off x="251012" y="3890362"/>
            <a:ext cx="8912867" cy="1200329"/>
          </a:xfrm>
          <a:prstGeom prst="rect">
            <a:avLst/>
          </a:prstGeom>
        </p:spPr>
        <p:txBody>
          <a:bodyPr wrap="square">
            <a:spAutoFit/>
          </a:bodyPr>
          <a:lstStyle/>
          <a:p>
            <a:r>
              <a:rPr lang="en-US" sz="7200" b="1">
                <a:solidFill>
                  <a:schemeClr val="bg1"/>
                </a:solidFill>
              </a:rPr>
              <a:t>Thank you</a:t>
            </a:r>
            <a:endParaRPr lang="en-US" sz="1800">
              <a:solidFill>
                <a:schemeClr val="bg1"/>
              </a:solidFill>
            </a:endParaRPr>
          </a:p>
        </p:txBody>
      </p:sp>
      <p:grpSp>
        <p:nvGrpSpPr>
          <p:cNvPr id="9" name="Group 8">
            <a:extLst>
              <a:ext uri="{FF2B5EF4-FFF2-40B4-BE49-F238E27FC236}">
                <a16:creationId xmlns:a16="http://schemas.microsoft.com/office/drawing/2014/main" id="{1B3035E9-1E30-4A65-87BF-D87723B7387D}"/>
              </a:ext>
            </a:extLst>
          </p:cNvPr>
          <p:cNvGrpSpPr/>
          <p:nvPr userDrawn="1"/>
        </p:nvGrpSpPr>
        <p:grpSpPr>
          <a:xfrm>
            <a:off x="9662262" y="818784"/>
            <a:ext cx="2529740" cy="6039216"/>
            <a:chOff x="9662260" y="818784"/>
            <a:chExt cx="2529740" cy="6039216"/>
          </a:xfrm>
        </p:grpSpPr>
        <p:pic>
          <p:nvPicPr>
            <p:cNvPr id="10" name="Picture 9">
              <a:extLst>
                <a:ext uri="{FF2B5EF4-FFF2-40B4-BE49-F238E27FC236}">
                  <a16:creationId xmlns:a16="http://schemas.microsoft.com/office/drawing/2014/main" id="{9DFE8F35-3478-4D36-AE61-9902FA9E571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662260" y="1471202"/>
              <a:ext cx="2529740" cy="5386798"/>
            </a:xfrm>
            <a:prstGeom prst="rect">
              <a:avLst/>
            </a:prstGeom>
          </p:spPr>
        </p:pic>
        <p:pic>
          <p:nvPicPr>
            <p:cNvPr id="12" name="Picture 11">
              <a:extLst>
                <a:ext uri="{FF2B5EF4-FFF2-40B4-BE49-F238E27FC236}">
                  <a16:creationId xmlns:a16="http://schemas.microsoft.com/office/drawing/2014/main" id="{A63CB1BA-AEDB-454F-BBF3-A9613807210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0539851" y="4300794"/>
              <a:ext cx="1652148" cy="2095226"/>
            </a:xfrm>
            <a:prstGeom prst="rect">
              <a:avLst/>
            </a:prstGeom>
          </p:spPr>
        </p:pic>
        <p:pic>
          <p:nvPicPr>
            <p:cNvPr id="13" name="Picture 12">
              <a:extLst>
                <a:ext uri="{FF2B5EF4-FFF2-40B4-BE49-F238E27FC236}">
                  <a16:creationId xmlns:a16="http://schemas.microsoft.com/office/drawing/2014/main" id="{28BB9361-2245-45C7-85B1-98F75F74B97B}"/>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rot="20585276">
              <a:off x="10888776" y="3404437"/>
              <a:ext cx="841085" cy="888470"/>
            </a:xfrm>
            <a:prstGeom prst="rect">
              <a:avLst/>
            </a:prstGeom>
          </p:spPr>
        </p:pic>
        <p:pic>
          <p:nvPicPr>
            <p:cNvPr id="14" name="Picture 13">
              <a:extLst>
                <a:ext uri="{FF2B5EF4-FFF2-40B4-BE49-F238E27FC236}">
                  <a16:creationId xmlns:a16="http://schemas.microsoft.com/office/drawing/2014/main" id="{266621D9-C1BE-4A88-B2E8-40BCC4E56DF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839843" y="4683251"/>
              <a:ext cx="608076" cy="626643"/>
            </a:xfrm>
            <a:prstGeom prst="rect">
              <a:avLst/>
            </a:prstGeom>
          </p:spPr>
        </p:pic>
        <p:pic>
          <p:nvPicPr>
            <p:cNvPr id="15" name="Picture 14">
              <a:extLst>
                <a:ext uri="{FF2B5EF4-FFF2-40B4-BE49-F238E27FC236}">
                  <a16:creationId xmlns:a16="http://schemas.microsoft.com/office/drawing/2014/main" id="{98F6AB9F-8570-461E-BBA2-E013A3DA14E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rot="19848158">
              <a:off x="10621861" y="5789703"/>
              <a:ext cx="593846" cy="634660"/>
            </a:xfrm>
            <a:prstGeom prst="rect">
              <a:avLst/>
            </a:prstGeom>
          </p:spPr>
        </p:pic>
        <p:pic>
          <p:nvPicPr>
            <p:cNvPr id="16" name="Picture 15">
              <a:extLst>
                <a:ext uri="{FF2B5EF4-FFF2-40B4-BE49-F238E27FC236}">
                  <a16:creationId xmlns:a16="http://schemas.microsoft.com/office/drawing/2014/main" id="{1EE6F465-A690-4861-87C0-E7A6A65E3377}"/>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11037236" y="818784"/>
              <a:ext cx="1154763" cy="1703758"/>
            </a:xfrm>
            <a:prstGeom prst="rect">
              <a:avLst/>
            </a:prstGeom>
          </p:spPr>
        </p:pic>
      </p:grpSp>
      <p:sp>
        <p:nvSpPr>
          <p:cNvPr id="17" name="Slide Number Placeholder 2">
            <a:extLst>
              <a:ext uri="{FF2B5EF4-FFF2-40B4-BE49-F238E27FC236}">
                <a16:creationId xmlns:a16="http://schemas.microsoft.com/office/drawing/2014/main" id="{8EE24E27-68F9-E941-9584-DF35AA5AA788}"/>
              </a:ext>
            </a:extLst>
          </p:cNvPr>
          <p:cNvSpPr>
            <a:spLocks noGrp="1"/>
          </p:cNvSpPr>
          <p:nvPr>
            <p:ph type="sldNum" sz="quarter" idx="10"/>
          </p:nvPr>
        </p:nvSpPr>
        <p:spPr>
          <a:xfrm>
            <a:off x="2" y="6553202"/>
            <a:ext cx="304799" cy="304799"/>
          </a:xfrm>
        </p:spPr>
        <p:txBody>
          <a:bodyPr/>
          <a:lstStyle>
            <a:lvl1pPr>
              <a:defRPr>
                <a:solidFill>
                  <a:schemeClr val="bg1"/>
                </a:solidFill>
              </a:defRPr>
            </a:lvl1pPr>
          </a:lstStyle>
          <a:p>
            <a:fld id="{89006F1E-66CD-4A4B-9370-B4A3080F0E6C}" type="slidenum">
              <a:rPr lang="en-US" smtClean="0"/>
              <a:pPr/>
              <a:t>‹#›</a:t>
            </a:fld>
            <a:endParaRPr lang="en-US"/>
          </a:p>
        </p:txBody>
      </p:sp>
      <p:sp>
        <p:nvSpPr>
          <p:cNvPr id="18" name="Footer Placeholder 1">
            <a:extLst>
              <a:ext uri="{FF2B5EF4-FFF2-40B4-BE49-F238E27FC236}">
                <a16:creationId xmlns:a16="http://schemas.microsoft.com/office/drawing/2014/main" id="{6380E455-E213-C44A-A7FC-3A9E06997A4C}"/>
              </a:ext>
            </a:extLst>
          </p:cNvPr>
          <p:cNvSpPr>
            <a:spLocks noGrp="1"/>
          </p:cNvSpPr>
          <p:nvPr>
            <p:ph type="ftr" sz="quarter" idx="14"/>
          </p:nvPr>
        </p:nvSpPr>
        <p:spPr>
          <a:xfrm>
            <a:off x="304802" y="6553201"/>
            <a:ext cx="3657601" cy="304800"/>
          </a:xfrm>
          <a:prstGeom prst="rect">
            <a:avLst/>
          </a:prstGeom>
        </p:spPr>
        <p:txBody>
          <a:bodyPr/>
          <a:lstStyle>
            <a:lvl1pPr>
              <a:defRPr>
                <a:solidFill>
                  <a:schemeClr val="bg1"/>
                </a:solidFill>
              </a:defRPr>
            </a:lvl1pPr>
          </a:lstStyle>
          <a:p>
            <a:r>
              <a:rPr lang="en-US">
                <a:ea typeface="MS PGothic" panose="020B0600070205080204" pitchFamily="34" charset="-128"/>
              </a:rPr>
              <a:t>Proprietary &amp; Confidential |  authoremail@thermofisher.com | 5-August-2020</a:t>
            </a:r>
          </a:p>
        </p:txBody>
      </p:sp>
      <p:sp>
        <p:nvSpPr>
          <p:cNvPr id="20" name="Content Placeholder 4">
            <a:extLst>
              <a:ext uri="{FF2B5EF4-FFF2-40B4-BE49-F238E27FC236}">
                <a16:creationId xmlns:a16="http://schemas.microsoft.com/office/drawing/2014/main" id="{550E2B40-32DB-334B-95D1-E74B9D7847DA}"/>
              </a:ext>
            </a:extLst>
          </p:cNvPr>
          <p:cNvSpPr>
            <a:spLocks noGrp="1"/>
          </p:cNvSpPr>
          <p:nvPr>
            <p:ph sz="quarter" idx="16" hasCustomPrompt="1"/>
          </p:nvPr>
        </p:nvSpPr>
        <p:spPr>
          <a:xfrm>
            <a:off x="348473" y="5269000"/>
            <a:ext cx="7691659" cy="489250"/>
          </a:xfrm>
        </p:spPr>
        <p:txBody>
          <a:bodyPr/>
          <a:lstStyle>
            <a:lvl1pPr marL="0" marR="0" indent="0" algn="l" defTabSz="685778" rtl="0" eaLnBrk="1" fontAlgn="auto" latinLnBrk="0" hangingPunct="1">
              <a:lnSpc>
                <a:spcPct val="120000"/>
              </a:lnSpc>
              <a:spcBef>
                <a:spcPts val="150"/>
              </a:spcBef>
              <a:spcAft>
                <a:spcPts val="0"/>
              </a:spcAft>
              <a:buClr>
                <a:schemeClr val="tx2"/>
              </a:buClr>
              <a:buSzPct val="100000"/>
              <a:buFont typeface="Arial" panose="020B0604020202020204" pitchFamily="34" charset="0"/>
              <a:buNone/>
              <a:tabLst/>
              <a:defRPr>
                <a:solidFill>
                  <a:schemeClr val="bg1"/>
                </a:solidFill>
              </a:defRPr>
            </a:lvl1pPr>
          </a:lstStyle>
          <a:p>
            <a:pPr marL="0" marR="0" lvl="0" indent="0" algn="l" defTabSz="685778" rtl="0" eaLnBrk="1" fontAlgn="auto" latinLnBrk="0" hangingPunct="1">
              <a:lnSpc>
                <a:spcPct val="120000"/>
              </a:lnSpc>
              <a:spcBef>
                <a:spcPts val="150"/>
              </a:spcBef>
              <a:spcAft>
                <a:spcPts val="0"/>
              </a:spcAft>
              <a:buClr>
                <a:schemeClr val="tx2"/>
              </a:buClr>
              <a:buSzPct val="100000"/>
              <a:buFont typeface="Arial" panose="020B0604020202020204" pitchFamily="34" charset="0"/>
              <a:buNone/>
              <a:tabLst/>
              <a:defRPr/>
            </a:pPr>
            <a:r>
              <a:rPr lang="en-US" sz="1500" b="0">
                <a:solidFill>
                  <a:schemeClr val="bg1"/>
                </a:solidFill>
              </a:rPr>
              <a:t>Custom message…</a:t>
            </a:r>
            <a:endParaRPr lang="en-US" sz="1500">
              <a:solidFill>
                <a:schemeClr val="bg1"/>
              </a:solidFill>
            </a:endParaRPr>
          </a:p>
        </p:txBody>
      </p:sp>
      <p:sp>
        <p:nvSpPr>
          <p:cNvPr id="6" name="Text Placeholder 5">
            <a:extLst>
              <a:ext uri="{FF2B5EF4-FFF2-40B4-BE49-F238E27FC236}">
                <a16:creationId xmlns:a16="http://schemas.microsoft.com/office/drawing/2014/main" id="{FDF94BF9-AA4B-7348-B3AF-D5B86D50554B}"/>
              </a:ext>
            </a:extLst>
          </p:cNvPr>
          <p:cNvSpPr>
            <a:spLocks noGrp="1"/>
          </p:cNvSpPr>
          <p:nvPr>
            <p:ph type="body" sz="quarter" idx="17" hasCustomPrompt="1"/>
          </p:nvPr>
        </p:nvSpPr>
        <p:spPr>
          <a:xfrm>
            <a:off x="8229601" y="6553200"/>
            <a:ext cx="1609725" cy="304800"/>
          </a:xfrm>
        </p:spPr>
        <p:txBody>
          <a:bodyPr anchor="ctr">
            <a:normAutofit/>
          </a:bodyPr>
          <a:lstStyle>
            <a:lvl1pPr marL="0" indent="0">
              <a:buNone/>
              <a:defRPr sz="600">
                <a:solidFill>
                  <a:schemeClr val="bg1"/>
                </a:solidFill>
              </a:defRPr>
            </a:lvl1pPr>
          </a:lstStyle>
          <a:p>
            <a:pPr lvl="0"/>
            <a:r>
              <a:rPr lang="en-US"/>
              <a:t>Copyright 2020</a:t>
            </a:r>
          </a:p>
        </p:txBody>
      </p:sp>
    </p:spTree>
    <p:extLst>
      <p:ext uri="{BB962C8B-B14F-4D97-AF65-F5344CB8AC3E}">
        <p14:creationId xmlns:p14="http://schemas.microsoft.com/office/powerpoint/2010/main" val="295552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Thank you">
    <p:bg>
      <p:bgPr>
        <a:gradFill flip="none" rotWithShape="1">
          <a:gsLst>
            <a:gs pos="0">
              <a:schemeClr val="tx2"/>
            </a:gs>
            <a:gs pos="45000">
              <a:schemeClr val="tx2"/>
            </a:gs>
            <a:gs pos="100000">
              <a:schemeClr val="tx2">
                <a:lumMod val="50000"/>
              </a:schemeClr>
            </a:gs>
          </a:gsLst>
          <a:lin ang="1080000" scaled="0"/>
          <a:tileRect/>
        </a:gra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C7297DA-0943-4F9D-B4DC-D89E3C56E268}"/>
              </a:ext>
            </a:extLst>
          </p:cNvPr>
          <p:cNvSpPr/>
          <p:nvPr userDrawn="1"/>
        </p:nvSpPr>
        <p:spPr>
          <a:xfrm>
            <a:off x="251012" y="3890362"/>
            <a:ext cx="8912867" cy="1200329"/>
          </a:xfrm>
          <a:prstGeom prst="rect">
            <a:avLst/>
          </a:prstGeom>
        </p:spPr>
        <p:txBody>
          <a:bodyPr wrap="square">
            <a:spAutoFit/>
          </a:bodyPr>
          <a:lstStyle/>
          <a:p>
            <a:r>
              <a:rPr lang="en-US" sz="7200" b="1">
                <a:solidFill>
                  <a:schemeClr val="bg1"/>
                </a:solidFill>
              </a:rPr>
              <a:t>Questions</a:t>
            </a:r>
            <a:endParaRPr lang="en-US" sz="1800">
              <a:solidFill>
                <a:schemeClr val="bg1"/>
              </a:solidFill>
            </a:endParaRPr>
          </a:p>
        </p:txBody>
      </p:sp>
      <p:grpSp>
        <p:nvGrpSpPr>
          <p:cNvPr id="9" name="Group 8">
            <a:extLst>
              <a:ext uri="{FF2B5EF4-FFF2-40B4-BE49-F238E27FC236}">
                <a16:creationId xmlns:a16="http://schemas.microsoft.com/office/drawing/2014/main" id="{1B3035E9-1E30-4A65-87BF-D87723B7387D}"/>
              </a:ext>
            </a:extLst>
          </p:cNvPr>
          <p:cNvGrpSpPr/>
          <p:nvPr userDrawn="1"/>
        </p:nvGrpSpPr>
        <p:grpSpPr>
          <a:xfrm>
            <a:off x="9662262" y="818784"/>
            <a:ext cx="2529740" cy="6039216"/>
            <a:chOff x="9662260" y="818784"/>
            <a:chExt cx="2529740" cy="6039216"/>
          </a:xfrm>
        </p:grpSpPr>
        <p:pic>
          <p:nvPicPr>
            <p:cNvPr id="10" name="Picture 9">
              <a:extLst>
                <a:ext uri="{FF2B5EF4-FFF2-40B4-BE49-F238E27FC236}">
                  <a16:creationId xmlns:a16="http://schemas.microsoft.com/office/drawing/2014/main" id="{9DFE8F35-3478-4D36-AE61-9902FA9E571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662260" y="1471202"/>
              <a:ext cx="2529740" cy="5386798"/>
            </a:xfrm>
            <a:prstGeom prst="rect">
              <a:avLst/>
            </a:prstGeom>
          </p:spPr>
        </p:pic>
        <p:pic>
          <p:nvPicPr>
            <p:cNvPr id="12" name="Picture 11">
              <a:extLst>
                <a:ext uri="{FF2B5EF4-FFF2-40B4-BE49-F238E27FC236}">
                  <a16:creationId xmlns:a16="http://schemas.microsoft.com/office/drawing/2014/main" id="{A63CB1BA-AEDB-454F-BBF3-A9613807210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0539851" y="4300794"/>
              <a:ext cx="1652148" cy="2095226"/>
            </a:xfrm>
            <a:prstGeom prst="rect">
              <a:avLst/>
            </a:prstGeom>
          </p:spPr>
        </p:pic>
        <p:pic>
          <p:nvPicPr>
            <p:cNvPr id="13" name="Picture 12">
              <a:extLst>
                <a:ext uri="{FF2B5EF4-FFF2-40B4-BE49-F238E27FC236}">
                  <a16:creationId xmlns:a16="http://schemas.microsoft.com/office/drawing/2014/main" id="{28BB9361-2245-45C7-85B1-98F75F74B97B}"/>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rot="20585276">
              <a:off x="10888776" y="3404437"/>
              <a:ext cx="841085" cy="888470"/>
            </a:xfrm>
            <a:prstGeom prst="rect">
              <a:avLst/>
            </a:prstGeom>
          </p:spPr>
        </p:pic>
        <p:pic>
          <p:nvPicPr>
            <p:cNvPr id="14" name="Picture 13">
              <a:extLst>
                <a:ext uri="{FF2B5EF4-FFF2-40B4-BE49-F238E27FC236}">
                  <a16:creationId xmlns:a16="http://schemas.microsoft.com/office/drawing/2014/main" id="{266621D9-C1BE-4A88-B2E8-40BCC4E56DF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839843" y="4683251"/>
              <a:ext cx="608076" cy="626643"/>
            </a:xfrm>
            <a:prstGeom prst="rect">
              <a:avLst/>
            </a:prstGeom>
          </p:spPr>
        </p:pic>
        <p:pic>
          <p:nvPicPr>
            <p:cNvPr id="15" name="Picture 14">
              <a:extLst>
                <a:ext uri="{FF2B5EF4-FFF2-40B4-BE49-F238E27FC236}">
                  <a16:creationId xmlns:a16="http://schemas.microsoft.com/office/drawing/2014/main" id="{98F6AB9F-8570-461E-BBA2-E013A3DA14E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rot="19848158">
              <a:off x="10621861" y="5789703"/>
              <a:ext cx="593846" cy="634660"/>
            </a:xfrm>
            <a:prstGeom prst="rect">
              <a:avLst/>
            </a:prstGeom>
          </p:spPr>
        </p:pic>
        <p:pic>
          <p:nvPicPr>
            <p:cNvPr id="16" name="Picture 15">
              <a:extLst>
                <a:ext uri="{FF2B5EF4-FFF2-40B4-BE49-F238E27FC236}">
                  <a16:creationId xmlns:a16="http://schemas.microsoft.com/office/drawing/2014/main" id="{1EE6F465-A690-4861-87C0-E7A6A65E3377}"/>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11037236" y="818784"/>
              <a:ext cx="1154763" cy="1703758"/>
            </a:xfrm>
            <a:prstGeom prst="rect">
              <a:avLst/>
            </a:prstGeom>
          </p:spPr>
        </p:pic>
      </p:grpSp>
      <p:sp>
        <p:nvSpPr>
          <p:cNvPr id="17" name="Slide Number Placeholder 2">
            <a:extLst>
              <a:ext uri="{FF2B5EF4-FFF2-40B4-BE49-F238E27FC236}">
                <a16:creationId xmlns:a16="http://schemas.microsoft.com/office/drawing/2014/main" id="{8EE24E27-68F9-E941-9584-DF35AA5AA788}"/>
              </a:ext>
            </a:extLst>
          </p:cNvPr>
          <p:cNvSpPr>
            <a:spLocks noGrp="1"/>
          </p:cNvSpPr>
          <p:nvPr>
            <p:ph type="sldNum" sz="quarter" idx="10"/>
          </p:nvPr>
        </p:nvSpPr>
        <p:spPr>
          <a:xfrm>
            <a:off x="2" y="6553202"/>
            <a:ext cx="304799" cy="304799"/>
          </a:xfrm>
        </p:spPr>
        <p:txBody>
          <a:bodyPr/>
          <a:lstStyle>
            <a:lvl1pPr>
              <a:defRPr>
                <a:solidFill>
                  <a:schemeClr val="bg1"/>
                </a:solidFill>
              </a:defRPr>
            </a:lvl1pPr>
          </a:lstStyle>
          <a:p>
            <a:fld id="{89006F1E-66CD-4A4B-9370-B4A3080F0E6C}" type="slidenum">
              <a:rPr lang="en-US" smtClean="0"/>
              <a:pPr/>
              <a:t>‹#›</a:t>
            </a:fld>
            <a:endParaRPr lang="en-US"/>
          </a:p>
        </p:txBody>
      </p:sp>
      <p:sp>
        <p:nvSpPr>
          <p:cNvPr id="18" name="Footer Placeholder 1">
            <a:extLst>
              <a:ext uri="{FF2B5EF4-FFF2-40B4-BE49-F238E27FC236}">
                <a16:creationId xmlns:a16="http://schemas.microsoft.com/office/drawing/2014/main" id="{6380E455-E213-C44A-A7FC-3A9E06997A4C}"/>
              </a:ext>
            </a:extLst>
          </p:cNvPr>
          <p:cNvSpPr>
            <a:spLocks noGrp="1"/>
          </p:cNvSpPr>
          <p:nvPr>
            <p:ph type="ftr" sz="quarter" idx="14"/>
          </p:nvPr>
        </p:nvSpPr>
        <p:spPr>
          <a:xfrm>
            <a:off x="304802" y="6553201"/>
            <a:ext cx="3657601" cy="304800"/>
          </a:xfrm>
          <a:prstGeom prst="rect">
            <a:avLst/>
          </a:prstGeom>
        </p:spPr>
        <p:txBody>
          <a:bodyPr/>
          <a:lstStyle>
            <a:lvl1pPr>
              <a:defRPr>
                <a:solidFill>
                  <a:schemeClr val="bg1"/>
                </a:solidFill>
              </a:defRPr>
            </a:lvl1pPr>
          </a:lstStyle>
          <a:p>
            <a:r>
              <a:rPr lang="en-US">
                <a:ea typeface="MS PGothic" panose="020B0600070205080204" pitchFamily="34" charset="-128"/>
              </a:rPr>
              <a:t>Proprietary &amp; Confidential |  authoremail@thermofisher.com | 5-August-2020</a:t>
            </a:r>
          </a:p>
        </p:txBody>
      </p:sp>
      <p:sp>
        <p:nvSpPr>
          <p:cNvPr id="20" name="Content Placeholder 4">
            <a:extLst>
              <a:ext uri="{FF2B5EF4-FFF2-40B4-BE49-F238E27FC236}">
                <a16:creationId xmlns:a16="http://schemas.microsoft.com/office/drawing/2014/main" id="{550E2B40-32DB-334B-95D1-E74B9D7847DA}"/>
              </a:ext>
            </a:extLst>
          </p:cNvPr>
          <p:cNvSpPr>
            <a:spLocks noGrp="1"/>
          </p:cNvSpPr>
          <p:nvPr>
            <p:ph sz="quarter" idx="16" hasCustomPrompt="1"/>
          </p:nvPr>
        </p:nvSpPr>
        <p:spPr>
          <a:xfrm>
            <a:off x="348473" y="5269000"/>
            <a:ext cx="7691659" cy="489250"/>
          </a:xfrm>
        </p:spPr>
        <p:txBody>
          <a:bodyPr/>
          <a:lstStyle>
            <a:lvl1pPr marL="0" marR="0" indent="0" algn="l" defTabSz="685778" rtl="0" eaLnBrk="1" fontAlgn="auto" latinLnBrk="0" hangingPunct="1">
              <a:lnSpc>
                <a:spcPct val="120000"/>
              </a:lnSpc>
              <a:spcBef>
                <a:spcPts val="150"/>
              </a:spcBef>
              <a:spcAft>
                <a:spcPts val="0"/>
              </a:spcAft>
              <a:buClr>
                <a:schemeClr val="tx2"/>
              </a:buClr>
              <a:buSzPct val="100000"/>
              <a:buFont typeface="Arial" panose="020B0604020202020204" pitchFamily="34" charset="0"/>
              <a:buNone/>
              <a:tabLst/>
              <a:defRPr>
                <a:solidFill>
                  <a:schemeClr val="bg1"/>
                </a:solidFill>
              </a:defRPr>
            </a:lvl1pPr>
          </a:lstStyle>
          <a:p>
            <a:pPr marL="0" marR="0" lvl="0" indent="0" algn="l" defTabSz="685778" rtl="0" eaLnBrk="1" fontAlgn="auto" latinLnBrk="0" hangingPunct="1">
              <a:lnSpc>
                <a:spcPct val="120000"/>
              </a:lnSpc>
              <a:spcBef>
                <a:spcPts val="150"/>
              </a:spcBef>
              <a:spcAft>
                <a:spcPts val="0"/>
              </a:spcAft>
              <a:buClr>
                <a:schemeClr val="tx2"/>
              </a:buClr>
              <a:buSzPct val="100000"/>
              <a:buFont typeface="Arial" panose="020B0604020202020204" pitchFamily="34" charset="0"/>
              <a:buNone/>
              <a:tabLst/>
              <a:defRPr/>
            </a:pPr>
            <a:r>
              <a:rPr lang="en-US" sz="1500" b="0">
                <a:solidFill>
                  <a:schemeClr val="bg1"/>
                </a:solidFill>
              </a:rPr>
              <a:t>Custom message…</a:t>
            </a:r>
            <a:endParaRPr lang="en-US" sz="1500">
              <a:solidFill>
                <a:schemeClr val="bg1"/>
              </a:solidFill>
            </a:endParaRPr>
          </a:p>
        </p:txBody>
      </p:sp>
      <p:sp>
        <p:nvSpPr>
          <p:cNvPr id="6" name="Text Placeholder 5">
            <a:extLst>
              <a:ext uri="{FF2B5EF4-FFF2-40B4-BE49-F238E27FC236}">
                <a16:creationId xmlns:a16="http://schemas.microsoft.com/office/drawing/2014/main" id="{FDF94BF9-AA4B-7348-B3AF-D5B86D50554B}"/>
              </a:ext>
            </a:extLst>
          </p:cNvPr>
          <p:cNvSpPr>
            <a:spLocks noGrp="1"/>
          </p:cNvSpPr>
          <p:nvPr>
            <p:ph type="body" sz="quarter" idx="17" hasCustomPrompt="1"/>
          </p:nvPr>
        </p:nvSpPr>
        <p:spPr>
          <a:xfrm>
            <a:off x="8229601" y="6553200"/>
            <a:ext cx="1609725" cy="304800"/>
          </a:xfrm>
        </p:spPr>
        <p:txBody>
          <a:bodyPr anchor="ctr">
            <a:normAutofit/>
          </a:bodyPr>
          <a:lstStyle>
            <a:lvl1pPr marL="0" indent="0">
              <a:buNone/>
              <a:defRPr sz="600">
                <a:solidFill>
                  <a:schemeClr val="bg1"/>
                </a:solidFill>
              </a:defRPr>
            </a:lvl1pPr>
          </a:lstStyle>
          <a:p>
            <a:pPr lvl="0"/>
            <a:r>
              <a:rPr lang="en-US"/>
              <a:t>Copyright 2020</a:t>
            </a:r>
          </a:p>
        </p:txBody>
      </p:sp>
    </p:spTree>
    <p:extLst>
      <p:ext uri="{BB962C8B-B14F-4D97-AF65-F5344CB8AC3E}">
        <p14:creationId xmlns:p14="http://schemas.microsoft.com/office/powerpoint/2010/main" val="2183907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ustom Layout">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1AF264-71D4-E14C-8B25-6059E389D1EF}"/>
              </a:ext>
            </a:extLst>
          </p:cNvPr>
          <p:cNvSpPr>
            <a:spLocks noGrp="1"/>
          </p:cNvSpPr>
          <p:nvPr>
            <p:ph type="title" hasCustomPrompt="1"/>
          </p:nvPr>
        </p:nvSpPr>
        <p:spPr/>
        <p:txBody>
          <a:bodyPr/>
          <a:lstStyle/>
          <a:p>
            <a:r>
              <a:rPr lang="en-US"/>
              <a:t>Master slide column guide</a:t>
            </a:r>
          </a:p>
        </p:txBody>
      </p:sp>
      <p:grpSp>
        <p:nvGrpSpPr>
          <p:cNvPr id="325" name="Group 324">
            <a:extLst>
              <a:ext uri="{FF2B5EF4-FFF2-40B4-BE49-F238E27FC236}">
                <a16:creationId xmlns:a16="http://schemas.microsoft.com/office/drawing/2014/main" id="{0E576022-6E0B-8B45-82A4-5B378EE79A21}"/>
              </a:ext>
            </a:extLst>
          </p:cNvPr>
          <p:cNvGrpSpPr/>
          <p:nvPr userDrawn="1"/>
        </p:nvGrpSpPr>
        <p:grpSpPr>
          <a:xfrm>
            <a:off x="0" y="5297035"/>
            <a:ext cx="12192000" cy="304801"/>
            <a:chOff x="0" y="4254505"/>
            <a:chExt cx="12192000" cy="304801"/>
          </a:xfrm>
        </p:grpSpPr>
        <p:grpSp>
          <p:nvGrpSpPr>
            <p:cNvPr id="326" name="Group 325">
              <a:extLst>
                <a:ext uri="{FF2B5EF4-FFF2-40B4-BE49-F238E27FC236}">
                  <a16:creationId xmlns:a16="http://schemas.microsoft.com/office/drawing/2014/main" id="{4DAA919D-F34E-FF43-A568-E3081ADC91D8}"/>
                </a:ext>
              </a:extLst>
            </p:cNvPr>
            <p:cNvGrpSpPr/>
            <p:nvPr userDrawn="1"/>
          </p:nvGrpSpPr>
          <p:grpSpPr>
            <a:xfrm>
              <a:off x="152400" y="4254505"/>
              <a:ext cx="11887200" cy="304801"/>
              <a:chOff x="325695" y="4038600"/>
              <a:chExt cx="7555116" cy="304801"/>
            </a:xfrm>
          </p:grpSpPr>
          <p:sp>
            <p:nvSpPr>
              <p:cNvPr id="347" name="Rectangle 346">
                <a:extLst>
                  <a:ext uri="{FF2B5EF4-FFF2-40B4-BE49-F238E27FC236}">
                    <a16:creationId xmlns:a16="http://schemas.microsoft.com/office/drawing/2014/main" id="{2A515182-556A-4148-919D-DA6C41B2B82A}"/>
                  </a:ext>
                </a:extLst>
              </p:cNvPr>
              <p:cNvSpPr/>
              <p:nvPr userDrawn="1"/>
            </p:nvSpPr>
            <p:spPr>
              <a:xfrm>
                <a:off x="325695" y="4038601"/>
                <a:ext cx="2518372" cy="304800"/>
              </a:xfrm>
              <a:prstGeom prst="rect">
                <a:avLst/>
              </a:prstGeom>
              <a:solidFill>
                <a:srgbClr val="A5172E">
                  <a:lumMod val="20000"/>
                  <a:lumOff val="8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48" name="Rectangle 347">
                <a:extLst>
                  <a:ext uri="{FF2B5EF4-FFF2-40B4-BE49-F238E27FC236}">
                    <a16:creationId xmlns:a16="http://schemas.microsoft.com/office/drawing/2014/main" id="{2D5D4001-8E66-144D-92CA-7D645E8843C3}"/>
                  </a:ext>
                </a:extLst>
              </p:cNvPr>
              <p:cNvSpPr/>
              <p:nvPr userDrawn="1"/>
            </p:nvSpPr>
            <p:spPr>
              <a:xfrm>
                <a:off x="2844067" y="4038600"/>
                <a:ext cx="2518372" cy="304800"/>
              </a:xfrm>
              <a:prstGeom prst="rect">
                <a:avLst/>
              </a:prstGeom>
              <a:solidFill>
                <a:srgbClr val="A5172E">
                  <a:lumMod val="40000"/>
                  <a:lumOff val="6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49" name="Rectangle 348">
                <a:extLst>
                  <a:ext uri="{FF2B5EF4-FFF2-40B4-BE49-F238E27FC236}">
                    <a16:creationId xmlns:a16="http://schemas.microsoft.com/office/drawing/2014/main" id="{1F915BF6-6801-F445-8447-829313D55DE1}"/>
                  </a:ext>
                </a:extLst>
              </p:cNvPr>
              <p:cNvSpPr/>
              <p:nvPr userDrawn="1"/>
            </p:nvSpPr>
            <p:spPr>
              <a:xfrm>
                <a:off x="5362439" y="4038600"/>
                <a:ext cx="2518372" cy="304800"/>
              </a:xfrm>
              <a:prstGeom prst="rect">
                <a:avLst/>
              </a:prstGeom>
              <a:solidFill>
                <a:srgbClr val="A5172E">
                  <a:lumMod val="20000"/>
                  <a:lumOff val="8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327" name="Group 326">
              <a:extLst>
                <a:ext uri="{FF2B5EF4-FFF2-40B4-BE49-F238E27FC236}">
                  <a16:creationId xmlns:a16="http://schemas.microsoft.com/office/drawing/2014/main" id="{924C16AD-FBFC-F340-B828-919BD2EB7ACC}"/>
                </a:ext>
              </a:extLst>
            </p:cNvPr>
            <p:cNvGrpSpPr/>
            <p:nvPr userDrawn="1"/>
          </p:nvGrpSpPr>
          <p:grpSpPr>
            <a:xfrm>
              <a:off x="0" y="4254505"/>
              <a:ext cx="304800" cy="304800"/>
              <a:chOff x="4748283" y="3386554"/>
              <a:chExt cx="548640" cy="548640"/>
            </a:xfrm>
          </p:grpSpPr>
          <p:sp>
            <p:nvSpPr>
              <p:cNvPr id="343" name="Rectangle 342">
                <a:extLst>
                  <a:ext uri="{FF2B5EF4-FFF2-40B4-BE49-F238E27FC236}">
                    <a16:creationId xmlns:a16="http://schemas.microsoft.com/office/drawing/2014/main" id="{ABBD8C40-0074-E640-A619-5210E92593E7}"/>
                  </a:ext>
                </a:extLst>
              </p:cNvPr>
              <p:cNvSpPr/>
              <p:nvPr userDrawn="1"/>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44" name="Rectangle 343">
                <a:extLst>
                  <a:ext uri="{FF2B5EF4-FFF2-40B4-BE49-F238E27FC236}">
                    <a16:creationId xmlns:a16="http://schemas.microsoft.com/office/drawing/2014/main" id="{72E87A34-33CB-954D-BE63-B41FB54B8CE2}"/>
                  </a:ext>
                </a:extLst>
              </p:cNvPr>
              <p:cNvSpPr/>
              <p:nvPr userDrawn="1"/>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45" name="Rectangle 344">
                <a:extLst>
                  <a:ext uri="{FF2B5EF4-FFF2-40B4-BE49-F238E27FC236}">
                    <a16:creationId xmlns:a16="http://schemas.microsoft.com/office/drawing/2014/main" id="{8FE6B9C8-9996-154E-8F03-D9A578C3FA11}"/>
                  </a:ext>
                </a:extLst>
              </p:cNvPr>
              <p:cNvSpPr/>
              <p:nvPr userDrawn="1"/>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46" name="Rectangle 345">
                <a:extLst>
                  <a:ext uri="{FF2B5EF4-FFF2-40B4-BE49-F238E27FC236}">
                    <a16:creationId xmlns:a16="http://schemas.microsoft.com/office/drawing/2014/main" id="{88B4C5A1-0216-EE40-A0A9-1EFEB8C937C0}"/>
                  </a:ext>
                </a:extLst>
              </p:cNvPr>
              <p:cNvSpPr/>
              <p:nvPr userDrawn="1"/>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328" name="Group 327">
              <a:extLst>
                <a:ext uri="{FF2B5EF4-FFF2-40B4-BE49-F238E27FC236}">
                  <a16:creationId xmlns:a16="http://schemas.microsoft.com/office/drawing/2014/main" id="{5691AEF5-BAF9-2940-A428-476354829BBB}"/>
                </a:ext>
              </a:extLst>
            </p:cNvPr>
            <p:cNvGrpSpPr/>
            <p:nvPr userDrawn="1"/>
          </p:nvGrpSpPr>
          <p:grpSpPr>
            <a:xfrm>
              <a:off x="11887200" y="4254505"/>
              <a:ext cx="304800" cy="304800"/>
              <a:chOff x="11887200" y="3048000"/>
              <a:chExt cx="304800" cy="304800"/>
            </a:xfrm>
          </p:grpSpPr>
          <p:sp>
            <p:nvSpPr>
              <p:cNvPr id="339" name="Rectangle 338">
                <a:extLst>
                  <a:ext uri="{FF2B5EF4-FFF2-40B4-BE49-F238E27FC236}">
                    <a16:creationId xmlns:a16="http://schemas.microsoft.com/office/drawing/2014/main" id="{B7FCFCF0-CCF5-CB4C-A24B-79879CFEAB60}"/>
                  </a:ext>
                </a:extLst>
              </p:cNvPr>
              <p:cNvSpPr/>
              <p:nvPr userDrawn="1"/>
            </p:nvSpPr>
            <p:spPr>
              <a:xfrm>
                <a:off x="12039600" y="3200400"/>
                <a:ext cx="152400" cy="15240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40" name="Rectangle 339">
                <a:extLst>
                  <a:ext uri="{FF2B5EF4-FFF2-40B4-BE49-F238E27FC236}">
                    <a16:creationId xmlns:a16="http://schemas.microsoft.com/office/drawing/2014/main" id="{5EC303BA-EB59-6B45-A4AA-0FBB43856C1D}"/>
                  </a:ext>
                </a:extLst>
              </p:cNvPr>
              <p:cNvSpPr/>
              <p:nvPr userDrawn="1"/>
            </p:nvSpPr>
            <p:spPr>
              <a:xfrm>
                <a:off x="11887200" y="3200400"/>
                <a:ext cx="152400" cy="15240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41" name="Rectangle 340">
                <a:extLst>
                  <a:ext uri="{FF2B5EF4-FFF2-40B4-BE49-F238E27FC236}">
                    <a16:creationId xmlns:a16="http://schemas.microsoft.com/office/drawing/2014/main" id="{609F1807-73B8-2046-A52B-7F5C9E3F8D6C}"/>
                  </a:ext>
                </a:extLst>
              </p:cNvPr>
              <p:cNvSpPr/>
              <p:nvPr userDrawn="1"/>
            </p:nvSpPr>
            <p:spPr>
              <a:xfrm>
                <a:off x="12039600" y="3048000"/>
                <a:ext cx="152400" cy="15240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42" name="Rectangle 341">
                <a:extLst>
                  <a:ext uri="{FF2B5EF4-FFF2-40B4-BE49-F238E27FC236}">
                    <a16:creationId xmlns:a16="http://schemas.microsoft.com/office/drawing/2014/main" id="{D64A44CB-312C-8D43-BADC-9C25A65786B7}"/>
                  </a:ext>
                </a:extLst>
              </p:cNvPr>
              <p:cNvSpPr/>
              <p:nvPr userDrawn="1"/>
            </p:nvSpPr>
            <p:spPr>
              <a:xfrm>
                <a:off x="11887200" y="3048000"/>
                <a:ext cx="152400" cy="15240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329" name="Group 328">
              <a:extLst>
                <a:ext uri="{FF2B5EF4-FFF2-40B4-BE49-F238E27FC236}">
                  <a16:creationId xmlns:a16="http://schemas.microsoft.com/office/drawing/2014/main" id="{75DD42A7-110A-8A43-9999-FC5F6F629D9D}"/>
                </a:ext>
              </a:extLst>
            </p:cNvPr>
            <p:cNvGrpSpPr/>
            <p:nvPr userDrawn="1"/>
          </p:nvGrpSpPr>
          <p:grpSpPr>
            <a:xfrm>
              <a:off x="3963513" y="4254505"/>
              <a:ext cx="304800" cy="304800"/>
              <a:chOff x="4748283" y="3386554"/>
              <a:chExt cx="548640" cy="548640"/>
            </a:xfrm>
          </p:grpSpPr>
          <p:sp>
            <p:nvSpPr>
              <p:cNvPr id="335" name="Rectangle 334">
                <a:extLst>
                  <a:ext uri="{FF2B5EF4-FFF2-40B4-BE49-F238E27FC236}">
                    <a16:creationId xmlns:a16="http://schemas.microsoft.com/office/drawing/2014/main" id="{C2398D84-85F4-C846-A0B4-FDF603CF7ED5}"/>
                  </a:ext>
                </a:extLst>
              </p:cNvPr>
              <p:cNvSpPr/>
              <p:nvPr userDrawn="1"/>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36" name="Rectangle 335">
                <a:extLst>
                  <a:ext uri="{FF2B5EF4-FFF2-40B4-BE49-F238E27FC236}">
                    <a16:creationId xmlns:a16="http://schemas.microsoft.com/office/drawing/2014/main" id="{D89F6546-9921-1C4E-BC58-54CFEB3CD55B}"/>
                  </a:ext>
                </a:extLst>
              </p:cNvPr>
              <p:cNvSpPr/>
              <p:nvPr userDrawn="1"/>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37" name="Rectangle 336">
                <a:extLst>
                  <a:ext uri="{FF2B5EF4-FFF2-40B4-BE49-F238E27FC236}">
                    <a16:creationId xmlns:a16="http://schemas.microsoft.com/office/drawing/2014/main" id="{707F94D7-D94A-9341-9171-18F4E7328C50}"/>
                  </a:ext>
                </a:extLst>
              </p:cNvPr>
              <p:cNvSpPr/>
              <p:nvPr userDrawn="1"/>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38" name="Rectangle 337">
                <a:extLst>
                  <a:ext uri="{FF2B5EF4-FFF2-40B4-BE49-F238E27FC236}">
                    <a16:creationId xmlns:a16="http://schemas.microsoft.com/office/drawing/2014/main" id="{66B27AC9-65B0-4F45-B844-7C3544A7BA55}"/>
                  </a:ext>
                </a:extLst>
              </p:cNvPr>
              <p:cNvSpPr/>
              <p:nvPr userDrawn="1"/>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330" name="Group 329">
              <a:extLst>
                <a:ext uri="{FF2B5EF4-FFF2-40B4-BE49-F238E27FC236}">
                  <a16:creationId xmlns:a16="http://schemas.microsoft.com/office/drawing/2014/main" id="{FA980631-C869-934C-B0D5-27911A2317B3}"/>
                </a:ext>
              </a:extLst>
            </p:cNvPr>
            <p:cNvGrpSpPr/>
            <p:nvPr userDrawn="1"/>
          </p:nvGrpSpPr>
          <p:grpSpPr>
            <a:xfrm>
              <a:off x="7929263" y="4254505"/>
              <a:ext cx="304800" cy="304800"/>
              <a:chOff x="4748283" y="3386554"/>
              <a:chExt cx="548640" cy="548640"/>
            </a:xfrm>
          </p:grpSpPr>
          <p:sp>
            <p:nvSpPr>
              <p:cNvPr id="331" name="Rectangle 330">
                <a:extLst>
                  <a:ext uri="{FF2B5EF4-FFF2-40B4-BE49-F238E27FC236}">
                    <a16:creationId xmlns:a16="http://schemas.microsoft.com/office/drawing/2014/main" id="{406CDF3A-4352-B447-B53D-478B3765F657}"/>
                  </a:ext>
                </a:extLst>
              </p:cNvPr>
              <p:cNvSpPr/>
              <p:nvPr userDrawn="1"/>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32" name="Rectangle 331">
                <a:extLst>
                  <a:ext uri="{FF2B5EF4-FFF2-40B4-BE49-F238E27FC236}">
                    <a16:creationId xmlns:a16="http://schemas.microsoft.com/office/drawing/2014/main" id="{7D0AEF00-0DAE-8A4C-9382-FCE02F7929B8}"/>
                  </a:ext>
                </a:extLst>
              </p:cNvPr>
              <p:cNvSpPr/>
              <p:nvPr userDrawn="1"/>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33" name="Rectangle 332">
                <a:extLst>
                  <a:ext uri="{FF2B5EF4-FFF2-40B4-BE49-F238E27FC236}">
                    <a16:creationId xmlns:a16="http://schemas.microsoft.com/office/drawing/2014/main" id="{208533B0-3964-7F44-8026-7A9BA18798F4}"/>
                  </a:ext>
                </a:extLst>
              </p:cNvPr>
              <p:cNvSpPr/>
              <p:nvPr userDrawn="1"/>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34" name="Rectangle 333">
                <a:extLst>
                  <a:ext uri="{FF2B5EF4-FFF2-40B4-BE49-F238E27FC236}">
                    <a16:creationId xmlns:a16="http://schemas.microsoft.com/office/drawing/2014/main" id="{79B47363-1A18-3F4B-B904-4529B699E14B}"/>
                  </a:ext>
                </a:extLst>
              </p:cNvPr>
              <p:cNvSpPr/>
              <p:nvPr userDrawn="1"/>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350" name="Group 349">
            <a:extLst>
              <a:ext uri="{FF2B5EF4-FFF2-40B4-BE49-F238E27FC236}">
                <a16:creationId xmlns:a16="http://schemas.microsoft.com/office/drawing/2014/main" id="{550F5060-BDEE-9744-B34D-FB646DB2A2C9}"/>
              </a:ext>
            </a:extLst>
          </p:cNvPr>
          <p:cNvGrpSpPr/>
          <p:nvPr userDrawn="1"/>
        </p:nvGrpSpPr>
        <p:grpSpPr>
          <a:xfrm>
            <a:off x="0" y="4655680"/>
            <a:ext cx="12192000" cy="304801"/>
            <a:chOff x="0" y="3448053"/>
            <a:chExt cx="12192000" cy="304801"/>
          </a:xfrm>
        </p:grpSpPr>
        <p:grpSp>
          <p:nvGrpSpPr>
            <p:cNvPr id="351" name="Group 350">
              <a:extLst>
                <a:ext uri="{FF2B5EF4-FFF2-40B4-BE49-F238E27FC236}">
                  <a16:creationId xmlns:a16="http://schemas.microsoft.com/office/drawing/2014/main" id="{FF358C1B-964E-5C4E-B16C-3E18CE9CC942}"/>
                </a:ext>
              </a:extLst>
            </p:cNvPr>
            <p:cNvGrpSpPr/>
            <p:nvPr userDrawn="1"/>
          </p:nvGrpSpPr>
          <p:grpSpPr>
            <a:xfrm>
              <a:off x="152400" y="3448053"/>
              <a:ext cx="11887200" cy="304801"/>
              <a:chOff x="152400" y="4256566"/>
              <a:chExt cx="9591040" cy="304801"/>
            </a:xfrm>
          </p:grpSpPr>
          <p:sp>
            <p:nvSpPr>
              <p:cNvPr id="377" name="Rectangle 376">
                <a:extLst>
                  <a:ext uri="{FF2B5EF4-FFF2-40B4-BE49-F238E27FC236}">
                    <a16:creationId xmlns:a16="http://schemas.microsoft.com/office/drawing/2014/main" id="{409746C0-0633-8440-B5CF-DE04D82AFA84}"/>
                  </a:ext>
                </a:extLst>
              </p:cNvPr>
              <p:cNvSpPr/>
              <p:nvPr userDrawn="1"/>
            </p:nvSpPr>
            <p:spPr>
              <a:xfrm>
                <a:off x="152400" y="4256567"/>
                <a:ext cx="2397760" cy="304800"/>
              </a:xfrm>
              <a:prstGeom prst="rect">
                <a:avLst/>
              </a:prstGeom>
              <a:solidFill>
                <a:srgbClr val="A5172E">
                  <a:lumMod val="20000"/>
                  <a:lumOff val="8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78" name="Rectangle 377">
                <a:extLst>
                  <a:ext uri="{FF2B5EF4-FFF2-40B4-BE49-F238E27FC236}">
                    <a16:creationId xmlns:a16="http://schemas.microsoft.com/office/drawing/2014/main" id="{EB4B500C-F4AE-FC44-9061-B7345B89902B}"/>
                  </a:ext>
                </a:extLst>
              </p:cNvPr>
              <p:cNvSpPr/>
              <p:nvPr userDrawn="1"/>
            </p:nvSpPr>
            <p:spPr>
              <a:xfrm>
                <a:off x="2550160" y="4256566"/>
                <a:ext cx="2397760" cy="304800"/>
              </a:xfrm>
              <a:prstGeom prst="rect">
                <a:avLst/>
              </a:prstGeom>
              <a:solidFill>
                <a:srgbClr val="A5172E">
                  <a:lumMod val="40000"/>
                  <a:lumOff val="6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79" name="Rectangle 378">
                <a:extLst>
                  <a:ext uri="{FF2B5EF4-FFF2-40B4-BE49-F238E27FC236}">
                    <a16:creationId xmlns:a16="http://schemas.microsoft.com/office/drawing/2014/main" id="{0BF1E544-C1F3-ED4B-81EF-A461690F54E8}"/>
                  </a:ext>
                </a:extLst>
              </p:cNvPr>
              <p:cNvSpPr/>
              <p:nvPr userDrawn="1"/>
            </p:nvSpPr>
            <p:spPr>
              <a:xfrm>
                <a:off x="4947920" y="4256566"/>
                <a:ext cx="2397760" cy="304800"/>
              </a:xfrm>
              <a:prstGeom prst="rect">
                <a:avLst/>
              </a:prstGeom>
              <a:solidFill>
                <a:srgbClr val="A5172E">
                  <a:lumMod val="20000"/>
                  <a:lumOff val="8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80" name="Rectangle 379">
                <a:extLst>
                  <a:ext uri="{FF2B5EF4-FFF2-40B4-BE49-F238E27FC236}">
                    <a16:creationId xmlns:a16="http://schemas.microsoft.com/office/drawing/2014/main" id="{12BC584E-CCB4-E54D-B49E-9B06C53D232C}"/>
                  </a:ext>
                </a:extLst>
              </p:cNvPr>
              <p:cNvSpPr/>
              <p:nvPr userDrawn="1"/>
            </p:nvSpPr>
            <p:spPr>
              <a:xfrm>
                <a:off x="7345680" y="4256566"/>
                <a:ext cx="2397760" cy="304800"/>
              </a:xfrm>
              <a:prstGeom prst="rect">
                <a:avLst/>
              </a:prstGeom>
              <a:solidFill>
                <a:srgbClr val="A5172E">
                  <a:lumMod val="40000"/>
                  <a:lumOff val="6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352" name="Group 351">
              <a:extLst>
                <a:ext uri="{FF2B5EF4-FFF2-40B4-BE49-F238E27FC236}">
                  <a16:creationId xmlns:a16="http://schemas.microsoft.com/office/drawing/2014/main" id="{556235CC-2B49-304B-9713-0FD3E8F93696}"/>
                </a:ext>
              </a:extLst>
            </p:cNvPr>
            <p:cNvGrpSpPr/>
            <p:nvPr userDrawn="1"/>
          </p:nvGrpSpPr>
          <p:grpSpPr>
            <a:xfrm>
              <a:off x="0" y="3448053"/>
              <a:ext cx="304800" cy="304800"/>
              <a:chOff x="4748283" y="3386554"/>
              <a:chExt cx="548640" cy="548640"/>
            </a:xfrm>
          </p:grpSpPr>
          <p:sp>
            <p:nvSpPr>
              <p:cNvPr id="373" name="Rectangle 372">
                <a:extLst>
                  <a:ext uri="{FF2B5EF4-FFF2-40B4-BE49-F238E27FC236}">
                    <a16:creationId xmlns:a16="http://schemas.microsoft.com/office/drawing/2014/main" id="{D7097BE8-35D2-2746-887D-B177FD2F8D1B}"/>
                  </a:ext>
                </a:extLst>
              </p:cNvPr>
              <p:cNvSpPr/>
              <p:nvPr userDrawn="1"/>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74" name="Rectangle 373">
                <a:extLst>
                  <a:ext uri="{FF2B5EF4-FFF2-40B4-BE49-F238E27FC236}">
                    <a16:creationId xmlns:a16="http://schemas.microsoft.com/office/drawing/2014/main" id="{2ECE0126-EDDD-DD44-B0D0-CD7391099683}"/>
                  </a:ext>
                </a:extLst>
              </p:cNvPr>
              <p:cNvSpPr/>
              <p:nvPr userDrawn="1"/>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75" name="Rectangle 374">
                <a:extLst>
                  <a:ext uri="{FF2B5EF4-FFF2-40B4-BE49-F238E27FC236}">
                    <a16:creationId xmlns:a16="http://schemas.microsoft.com/office/drawing/2014/main" id="{CFBA5FA6-DEB5-9E4A-BBE4-396D213C732E}"/>
                  </a:ext>
                </a:extLst>
              </p:cNvPr>
              <p:cNvSpPr/>
              <p:nvPr userDrawn="1"/>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76" name="Rectangle 375">
                <a:extLst>
                  <a:ext uri="{FF2B5EF4-FFF2-40B4-BE49-F238E27FC236}">
                    <a16:creationId xmlns:a16="http://schemas.microsoft.com/office/drawing/2014/main" id="{43C3D7A8-8484-C149-879F-B9EAF5420993}"/>
                  </a:ext>
                </a:extLst>
              </p:cNvPr>
              <p:cNvSpPr/>
              <p:nvPr userDrawn="1"/>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353" name="Group 352">
              <a:extLst>
                <a:ext uri="{FF2B5EF4-FFF2-40B4-BE49-F238E27FC236}">
                  <a16:creationId xmlns:a16="http://schemas.microsoft.com/office/drawing/2014/main" id="{C69CF5F1-8CF6-A04A-8284-4F2839B94399}"/>
                </a:ext>
              </a:extLst>
            </p:cNvPr>
            <p:cNvGrpSpPr/>
            <p:nvPr userDrawn="1"/>
          </p:nvGrpSpPr>
          <p:grpSpPr>
            <a:xfrm>
              <a:off x="11887200" y="3448053"/>
              <a:ext cx="304800" cy="304800"/>
              <a:chOff x="11887200" y="3048000"/>
              <a:chExt cx="304800" cy="304800"/>
            </a:xfrm>
          </p:grpSpPr>
          <p:sp>
            <p:nvSpPr>
              <p:cNvPr id="369" name="Rectangle 368">
                <a:extLst>
                  <a:ext uri="{FF2B5EF4-FFF2-40B4-BE49-F238E27FC236}">
                    <a16:creationId xmlns:a16="http://schemas.microsoft.com/office/drawing/2014/main" id="{6DC74F9F-DF17-7A42-A69E-A3A4318BA705}"/>
                  </a:ext>
                </a:extLst>
              </p:cNvPr>
              <p:cNvSpPr/>
              <p:nvPr userDrawn="1"/>
            </p:nvSpPr>
            <p:spPr>
              <a:xfrm>
                <a:off x="12039600" y="3200400"/>
                <a:ext cx="152400" cy="15240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70" name="Rectangle 369">
                <a:extLst>
                  <a:ext uri="{FF2B5EF4-FFF2-40B4-BE49-F238E27FC236}">
                    <a16:creationId xmlns:a16="http://schemas.microsoft.com/office/drawing/2014/main" id="{F82F6DBD-1B92-8F44-9ABE-BF11BA0EB50F}"/>
                  </a:ext>
                </a:extLst>
              </p:cNvPr>
              <p:cNvSpPr/>
              <p:nvPr userDrawn="1"/>
            </p:nvSpPr>
            <p:spPr>
              <a:xfrm>
                <a:off x="11887200" y="3200400"/>
                <a:ext cx="152400" cy="15240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71" name="Rectangle 370">
                <a:extLst>
                  <a:ext uri="{FF2B5EF4-FFF2-40B4-BE49-F238E27FC236}">
                    <a16:creationId xmlns:a16="http://schemas.microsoft.com/office/drawing/2014/main" id="{36B84BE6-D1D3-2C4D-B113-FACC434F3138}"/>
                  </a:ext>
                </a:extLst>
              </p:cNvPr>
              <p:cNvSpPr/>
              <p:nvPr userDrawn="1"/>
            </p:nvSpPr>
            <p:spPr>
              <a:xfrm>
                <a:off x="12039600" y="3048000"/>
                <a:ext cx="152400" cy="15240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72" name="Rectangle 371">
                <a:extLst>
                  <a:ext uri="{FF2B5EF4-FFF2-40B4-BE49-F238E27FC236}">
                    <a16:creationId xmlns:a16="http://schemas.microsoft.com/office/drawing/2014/main" id="{53707E28-EBC1-EE47-9A87-B7F889B0A9B9}"/>
                  </a:ext>
                </a:extLst>
              </p:cNvPr>
              <p:cNvSpPr/>
              <p:nvPr userDrawn="1"/>
            </p:nvSpPr>
            <p:spPr>
              <a:xfrm>
                <a:off x="11887200" y="3048000"/>
                <a:ext cx="152400" cy="15240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354" name="Group 353">
              <a:extLst>
                <a:ext uri="{FF2B5EF4-FFF2-40B4-BE49-F238E27FC236}">
                  <a16:creationId xmlns:a16="http://schemas.microsoft.com/office/drawing/2014/main" id="{4FFE9B33-5860-1342-85F8-8499FD08D92D}"/>
                </a:ext>
              </a:extLst>
            </p:cNvPr>
            <p:cNvGrpSpPr/>
            <p:nvPr userDrawn="1"/>
          </p:nvGrpSpPr>
          <p:grpSpPr>
            <a:xfrm>
              <a:off x="2971800" y="3448053"/>
              <a:ext cx="304800" cy="304800"/>
              <a:chOff x="4748283" y="3386554"/>
              <a:chExt cx="548640" cy="548640"/>
            </a:xfrm>
          </p:grpSpPr>
          <p:sp>
            <p:nvSpPr>
              <p:cNvPr id="365" name="Rectangle 364">
                <a:extLst>
                  <a:ext uri="{FF2B5EF4-FFF2-40B4-BE49-F238E27FC236}">
                    <a16:creationId xmlns:a16="http://schemas.microsoft.com/office/drawing/2014/main" id="{0E96C0E4-9DDD-7B46-A150-FE31B0B3406F}"/>
                  </a:ext>
                </a:extLst>
              </p:cNvPr>
              <p:cNvSpPr/>
              <p:nvPr userDrawn="1"/>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66" name="Rectangle 365">
                <a:extLst>
                  <a:ext uri="{FF2B5EF4-FFF2-40B4-BE49-F238E27FC236}">
                    <a16:creationId xmlns:a16="http://schemas.microsoft.com/office/drawing/2014/main" id="{FFBE2D8A-C941-2D4C-A620-16C6BCEED752}"/>
                  </a:ext>
                </a:extLst>
              </p:cNvPr>
              <p:cNvSpPr/>
              <p:nvPr userDrawn="1"/>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67" name="Rectangle 366">
                <a:extLst>
                  <a:ext uri="{FF2B5EF4-FFF2-40B4-BE49-F238E27FC236}">
                    <a16:creationId xmlns:a16="http://schemas.microsoft.com/office/drawing/2014/main" id="{437C5ADA-D5C6-AA49-ABFC-C2BDB1A73DE2}"/>
                  </a:ext>
                </a:extLst>
              </p:cNvPr>
              <p:cNvSpPr/>
              <p:nvPr userDrawn="1"/>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68" name="Rectangle 367">
                <a:extLst>
                  <a:ext uri="{FF2B5EF4-FFF2-40B4-BE49-F238E27FC236}">
                    <a16:creationId xmlns:a16="http://schemas.microsoft.com/office/drawing/2014/main" id="{D5B3DA22-0555-D94D-B9CE-EFFD4D77A953}"/>
                  </a:ext>
                </a:extLst>
              </p:cNvPr>
              <p:cNvSpPr/>
              <p:nvPr userDrawn="1"/>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355" name="Group 354">
              <a:extLst>
                <a:ext uri="{FF2B5EF4-FFF2-40B4-BE49-F238E27FC236}">
                  <a16:creationId xmlns:a16="http://schemas.microsoft.com/office/drawing/2014/main" id="{0C1BF9D2-EC42-454D-9CE6-55A6E4DD7744}"/>
                </a:ext>
              </a:extLst>
            </p:cNvPr>
            <p:cNvGrpSpPr/>
            <p:nvPr userDrawn="1"/>
          </p:nvGrpSpPr>
          <p:grpSpPr>
            <a:xfrm>
              <a:off x="5943600" y="3448053"/>
              <a:ext cx="304800" cy="304800"/>
              <a:chOff x="4748283" y="3386554"/>
              <a:chExt cx="548640" cy="548640"/>
            </a:xfrm>
          </p:grpSpPr>
          <p:sp>
            <p:nvSpPr>
              <p:cNvPr id="361" name="Rectangle 360">
                <a:extLst>
                  <a:ext uri="{FF2B5EF4-FFF2-40B4-BE49-F238E27FC236}">
                    <a16:creationId xmlns:a16="http://schemas.microsoft.com/office/drawing/2014/main" id="{78D1B59D-87FF-2A4C-B245-29B4226A9601}"/>
                  </a:ext>
                </a:extLst>
              </p:cNvPr>
              <p:cNvSpPr/>
              <p:nvPr userDrawn="1"/>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62" name="Rectangle 361">
                <a:extLst>
                  <a:ext uri="{FF2B5EF4-FFF2-40B4-BE49-F238E27FC236}">
                    <a16:creationId xmlns:a16="http://schemas.microsoft.com/office/drawing/2014/main" id="{3DB64E46-B4A5-AE4F-B9CA-78D961D93013}"/>
                  </a:ext>
                </a:extLst>
              </p:cNvPr>
              <p:cNvSpPr/>
              <p:nvPr userDrawn="1"/>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63" name="Rectangle 362">
                <a:extLst>
                  <a:ext uri="{FF2B5EF4-FFF2-40B4-BE49-F238E27FC236}">
                    <a16:creationId xmlns:a16="http://schemas.microsoft.com/office/drawing/2014/main" id="{C230667B-5C71-2A4F-89CA-83AE9C87943F}"/>
                  </a:ext>
                </a:extLst>
              </p:cNvPr>
              <p:cNvSpPr/>
              <p:nvPr userDrawn="1"/>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64" name="Rectangle 363">
                <a:extLst>
                  <a:ext uri="{FF2B5EF4-FFF2-40B4-BE49-F238E27FC236}">
                    <a16:creationId xmlns:a16="http://schemas.microsoft.com/office/drawing/2014/main" id="{DA630AA0-3D34-5C48-AFB4-76E97A625B7B}"/>
                  </a:ext>
                </a:extLst>
              </p:cNvPr>
              <p:cNvSpPr/>
              <p:nvPr userDrawn="1"/>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356" name="Group 355">
              <a:extLst>
                <a:ext uri="{FF2B5EF4-FFF2-40B4-BE49-F238E27FC236}">
                  <a16:creationId xmlns:a16="http://schemas.microsoft.com/office/drawing/2014/main" id="{BFD5BADB-488A-A94F-8D20-EFBC3D598444}"/>
                </a:ext>
              </a:extLst>
            </p:cNvPr>
            <p:cNvGrpSpPr/>
            <p:nvPr userDrawn="1"/>
          </p:nvGrpSpPr>
          <p:grpSpPr>
            <a:xfrm>
              <a:off x="8915400" y="3448053"/>
              <a:ext cx="304800" cy="304800"/>
              <a:chOff x="4748283" y="3386554"/>
              <a:chExt cx="548640" cy="548640"/>
            </a:xfrm>
          </p:grpSpPr>
          <p:sp>
            <p:nvSpPr>
              <p:cNvPr id="357" name="Rectangle 356">
                <a:extLst>
                  <a:ext uri="{FF2B5EF4-FFF2-40B4-BE49-F238E27FC236}">
                    <a16:creationId xmlns:a16="http://schemas.microsoft.com/office/drawing/2014/main" id="{59B34A33-4617-B14B-A914-D9F3EA82C41F}"/>
                  </a:ext>
                </a:extLst>
              </p:cNvPr>
              <p:cNvSpPr/>
              <p:nvPr userDrawn="1"/>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58" name="Rectangle 357">
                <a:extLst>
                  <a:ext uri="{FF2B5EF4-FFF2-40B4-BE49-F238E27FC236}">
                    <a16:creationId xmlns:a16="http://schemas.microsoft.com/office/drawing/2014/main" id="{CDABBDD7-97EF-2348-9DD6-8F03290DFE79}"/>
                  </a:ext>
                </a:extLst>
              </p:cNvPr>
              <p:cNvSpPr/>
              <p:nvPr userDrawn="1"/>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59" name="Rectangle 358">
                <a:extLst>
                  <a:ext uri="{FF2B5EF4-FFF2-40B4-BE49-F238E27FC236}">
                    <a16:creationId xmlns:a16="http://schemas.microsoft.com/office/drawing/2014/main" id="{8FC44D92-36F7-5649-A759-0323F393CD43}"/>
                  </a:ext>
                </a:extLst>
              </p:cNvPr>
              <p:cNvSpPr/>
              <p:nvPr userDrawn="1"/>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60" name="Rectangle 359">
                <a:extLst>
                  <a:ext uri="{FF2B5EF4-FFF2-40B4-BE49-F238E27FC236}">
                    <a16:creationId xmlns:a16="http://schemas.microsoft.com/office/drawing/2014/main" id="{F91DAB7A-F766-F74E-ABBF-E2FB7A3CF921}"/>
                  </a:ext>
                </a:extLst>
              </p:cNvPr>
              <p:cNvSpPr/>
              <p:nvPr userDrawn="1"/>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381" name="Group 380">
            <a:extLst>
              <a:ext uri="{FF2B5EF4-FFF2-40B4-BE49-F238E27FC236}">
                <a16:creationId xmlns:a16="http://schemas.microsoft.com/office/drawing/2014/main" id="{E8110913-9069-DA4C-AA5A-860C663EEF8C}"/>
              </a:ext>
            </a:extLst>
          </p:cNvPr>
          <p:cNvGrpSpPr/>
          <p:nvPr userDrawn="1"/>
        </p:nvGrpSpPr>
        <p:grpSpPr>
          <a:xfrm>
            <a:off x="0" y="4019095"/>
            <a:ext cx="12192000" cy="304801"/>
            <a:chOff x="0" y="2679694"/>
            <a:chExt cx="12192000" cy="304801"/>
          </a:xfrm>
        </p:grpSpPr>
        <p:grpSp>
          <p:nvGrpSpPr>
            <p:cNvPr id="382" name="Group 381">
              <a:extLst>
                <a:ext uri="{FF2B5EF4-FFF2-40B4-BE49-F238E27FC236}">
                  <a16:creationId xmlns:a16="http://schemas.microsoft.com/office/drawing/2014/main" id="{36951F49-5417-EB45-B0D4-BA551A17CAB3}"/>
                </a:ext>
              </a:extLst>
            </p:cNvPr>
            <p:cNvGrpSpPr/>
            <p:nvPr userDrawn="1"/>
          </p:nvGrpSpPr>
          <p:grpSpPr>
            <a:xfrm>
              <a:off x="152400" y="2679694"/>
              <a:ext cx="11887200" cy="304801"/>
              <a:chOff x="152400" y="2946388"/>
              <a:chExt cx="14859000" cy="304801"/>
            </a:xfrm>
          </p:grpSpPr>
          <p:sp>
            <p:nvSpPr>
              <p:cNvPr id="413" name="Rectangle 412">
                <a:extLst>
                  <a:ext uri="{FF2B5EF4-FFF2-40B4-BE49-F238E27FC236}">
                    <a16:creationId xmlns:a16="http://schemas.microsoft.com/office/drawing/2014/main" id="{3C0DCD00-016C-8249-9E41-079096AFB3A6}"/>
                  </a:ext>
                </a:extLst>
              </p:cNvPr>
              <p:cNvSpPr/>
              <p:nvPr userDrawn="1"/>
            </p:nvSpPr>
            <p:spPr>
              <a:xfrm>
                <a:off x="152400" y="2946389"/>
                <a:ext cx="2971800" cy="304800"/>
              </a:xfrm>
              <a:prstGeom prst="rect">
                <a:avLst/>
              </a:prstGeom>
              <a:solidFill>
                <a:srgbClr val="A5172E">
                  <a:lumMod val="20000"/>
                  <a:lumOff val="8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14" name="Rectangle 413">
                <a:extLst>
                  <a:ext uri="{FF2B5EF4-FFF2-40B4-BE49-F238E27FC236}">
                    <a16:creationId xmlns:a16="http://schemas.microsoft.com/office/drawing/2014/main" id="{7D5C5BF9-225C-0945-9BD8-811FED6F7C6C}"/>
                  </a:ext>
                </a:extLst>
              </p:cNvPr>
              <p:cNvSpPr/>
              <p:nvPr userDrawn="1"/>
            </p:nvSpPr>
            <p:spPr>
              <a:xfrm>
                <a:off x="3124200" y="2946388"/>
                <a:ext cx="2971800" cy="304800"/>
              </a:xfrm>
              <a:prstGeom prst="rect">
                <a:avLst/>
              </a:prstGeom>
              <a:solidFill>
                <a:srgbClr val="A5172E">
                  <a:lumMod val="40000"/>
                  <a:lumOff val="6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15" name="Rectangle 414">
                <a:extLst>
                  <a:ext uri="{FF2B5EF4-FFF2-40B4-BE49-F238E27FC236}">
                    <a16:creationId xmlns:a16="http://schemas.microsoft.com/office/drawing/2014/main" id="{C63D455F-73BE-A943-8A70-41066037EB15}"/>
                  </a:ext>
                </a:extLst>
              </p:cNvPr>
              <p:cNvSpPr/>
              <p:nvPr userDrawn="1"/>
            </p:nvSpPr>
            <p:spPr>
              <a:xfrm>
                <a:off x="6096000" y="2946388"/>
                <a:ext cx="2971800" cy="304800"/>
              </a:xfrm>
              <a:prstGeom prst="rect">
                <a:avLst/>
              </a:prstGeom>
              <a:solidFill>
                <a:srgbClr val="A5172E">
                  <a:lumMod val="20000"/>
                  <a:lumOff val="8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16" name="Rectangle 415">
                <a:extLst>
                  <a:ext uri="{FF2B5EF4-FFF2-40B4-BE49-F238E27FC236}">
                    <a16:creationId xmlns:a16="http://schemas.microsoft.com/office/drawing/2014/main" id="{29C4F461-3408-F24E-93BE-7BE25C21160B}"/>
                  </a:ext>
                </a:extLst>
              </p:cNvPr>
              <p:cNvSpPr/>
              <p:nvPr userDrawn="1"/>
            </p:nvSpPr>
            <p:spPr>
              <a:xfrm>
                <a:off x="9067800" y="2946388"/>
                <a:ext cx="2971800" cy="304800"/>
              </a:xfrm>
              <a:prstGeom prst="rect">
                <a:avLst/>
              </a:prstGeom>
              <a:solidFill>
                <a:srgbClr val="A5172E">
                  <a:lumMod val="40000"/>
                  <a:lumOff val="6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17" name="Rectangle 416">
                <a:extLst>
                  <a:ext uri="{FF2B5EF4-FFF2-40B4-BE49-F238E27FC236}">
                    <a16:creationId xmlns:a16="http://schemas.microsoft.com/office/drawing/2014/main" id="{B07E25D9-5575-FA46-AE11-B58FECE45D22}"/>
                  </a:ext>
                </a:extLst>
              </p:cNvPr>
              <p:cNvSpPr/>
              <p:nvPr userDrawn="1"/>
            </p:nvSpPr>
            <p:spPr>
              <a:xfrm>
                <a:off x="12039600" y="2946388"/>
                <a:ext cx="2971800" cy="304800"/>
              </a:xfrm>
              <a:prstGeom prst="rect">
                <a:avLst/>
              </a:prstGeom>
              <a:solidFill>
                <a:srgbClr val="A5172E">
                  <a:lumMod val="20000"/>
                  <a:lumOff val="8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383" name="Group 382">
              <a:extLst>
                <a:ext uri="{FF2B5EF4-FFF2-40B4-BE49-F238E27FC236}">
                  <a16:creationId xmlns:a16="http://schemas.microsoft.com/office/drawing/2014/main" id="{CD0FDC72-FC9B-6943-B57B-C01216793CAE}"/>
                </a:ext>
              </a:extLst>
            </p:cNvPr>
            <p:cNvGrpSpPr/>
            <p:nvPr userDrawn="1"/>
          </p:nvGrpSpPr>
          <p:grpSpPr>
            <a:xfrm>
              <a:off x="0" y="2679694"/>
              <a:ext cx="304800" cy="304800"/>
              <a:chOff x="4748283" y="3386554"/>
              <a:chExt cx="548640" cy="548640"/>
            </a:xfrm>
          </p:grpSpPr>
          <p:sp>
            <p:nvSpPr>
              <p:cNvPr id="409" name="Rectangle 408">
                <a:extLst>
                  <a:ext uri="{FF2B5EF4-FFF2-40B4-BE49-F238E27FC236}">
                    <a16:creationId xmlns:a16="http://schemas.microsoft.com/office/drawing/2014/main" id="{1C699F7E-0E09-8B4E-A518-F3812BB194B0}"/>
                  </a:ext>
                </a:extLst>
              </p:cNvPr>
              <p:cNvSpPr/>
              <p:nvPr userDrawn="1"/>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10" name="Rectangle 409">
                <a:extLst>
                  <a:ext uri="{FF2B5EF4-FFF2-40B4-BE49-F238E27FC236}">
                    <a16:creationId xmlns:a16="http://schemas.microsoft.com/office/drawing/2014/main" id="{B8118C01-DA55-9740-B18A-0079C2AAA121}"/>
                  </a:ext>
                </a:extLst>
              </p:cNvPr>
              <p:cNvSpPr/>
              <p:nvPr userDrawn="1"/>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11" name="Rectangle 410">
                <a:extLst>
                  <a:ext uri="{FF2B5EF4-FFF2-40B4-BE49-F238E27FC236}">
                    <a16:creationId xmlns:a16="http://schemas.microsoft.com/office/drawing/2014/main" id="{74B07F51-45D2-EC4D-8FCF-448A0EBB53AE}"/>
                  </a:ext>
                </a:extLst>
              </p:cNvPr>
              <p:cNvSpPr/>
              <p:nvPr userDrawn="1"/>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12" name="Rectangle 411">
                <a:extLst>
                  <a:ext uri="{FF2B5EF4-FFF2-40B4-BE49-F238E27FC236}">
                    <a16:creationId xmlns:a16="http://schemas.microsoft.com/office/drawing/2014/main" id="{38AC2B4E-EE6C-824B-81E8-6C58F3A283DC}"/>
                  </a:ext>
                </a:extLst>
              </p:cNvPr>
              <p:cNvSpPr/>
              <p:nvPr userDrawn="1"/>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384" name="Group 383">
              <a:extLst>
                <a:ext uri="{FF2B5EF4-FFF2-40B4-BE49-F238E27FC236}">
                  <a16:creationId xmlns:a16="http://schemas.microsoft.com/office/drawing/2014/main" id="{CCDC25C0-61FE-A246-8120-D29F16B1BC40}"/>
                </a:ext>
              </a:extLst>
            </p:cNvPr>
            <p:cNvGrpSpPr/>
            <p:nvPr userDrawn="1"/>
          </p:nvGrpSpPr>
          <p:grpSpPr>
            <a:xfrm>
              <a:off x="11887200" y="2679694"/>
              <a:ext cx="304800" cy="304800"/>
              <a:chOff x="11887200" y="3048000"/>
              <a:chExt cx="304800" cy="304800"/>
            </a:xfrm>
          </p:grpSpPr>
          <p:sp>
            <p:nvSpPr>
              <p:cNvPr id="405" name="Rectangle 404">
                <a:extLst>
                  <a:ext uri="{FF2B5EF4-FFF2-40B4-BE49-F238E27FC236}">
                    <a16:creationId xmlns:a16="http://schemas.microsoft.com/office/drawing/2014/main" id="{1D646414-A87B-3B4E-9F53-684910FB6838}"/>
                  </a:ext>
                </a:extLst>
              </p:cNvPr>
              <p:cNvSpPr/>
              <p:nvPr userDrawn="1"/>
            </p:nvSpPr>
            <p:spPr>
              <a:xfrm>
                <a:off x="12039600" y="3200400"/>
                <a:ext cx="152400" cy="15240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06" name="Rectangle 405">
                <a:extLst>
                  <a:ext uri="{FF2B5EF4-FFF2-40B4-BE49-F238E27FC236}">
                    <a16:creationId xmlns:a16="http://schemas.microsoft.com/office/drawing/2014/main" id="{2D7165AC-E3E1-884C-95BA-5093037DF15B}"/>
                  </a:ext>
                </a:extLst>
              </p:cNvPr>
              <p:cNvSpPr/>
              <p:nvPr userDrawn="1"/>
            </p:nvSpPr>
            <p:spPr>
              <a:xfrm>
                <a:off x="11887200" y="3200400"/>
                <a:ext cx="152400" cy="15240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07" name="Rectangle 406">
                <a:extLst>
                  <a:ext uri="{FF2B5EF4-FFF2-40B4-BE49-F238E27FC236}">
                    <a16:creationId xmlns:a16="http://schemas.microsoft.com/office/drawing/2014/main" id="{75293567-A7C0-574E-AFF1-86E2F48DFC84}"/>
                  </a:ext>
                </a:extLst>
              </p:cNvPr>
              <p:cNvSpPr/>
              <p:nvPr userDrawn="1"/>
            </p:nvSpPr>
            <p:spPr>
              <a:xfrm>
                <a:off x="12039600" y="3048000"/>
                <a:ext cx="152400" cy="15240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08" name="Rectangle 407">
                <a:extLst>
                  <a:ext uri="{FF2B5EF4-FFF2-40B4-BE49-F238E27FC236}">
                    <a16:creationId xmlns:a16="http://schemas.microsoft.com/office/drawing/2014/main" id="{26E245A6-6498-E441-94A9-B88A598F627F}"/>
                  </a:ext>
                </a:extLst>
              </p:cNvPr>
              <p:cNvSpPr/>
              <p:nvPr userDrawn="1"/>
            </p:nvSpPr>
            <p:spPr>
              <a:xfrm>
                <a:off x="11887200" y="3048000"/>
                <a:ext cx="152400" cy="15240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385" name="Group 384">
              <a:extLst>
                <a:ext uri="{FF2B5EF4-FFF2-40B4-BE49-F238E27FC236}">
                  <a16:creationId xmlns:a16="http://schemas.microsoft.com/office/drawing/2014/main" id="{989EC034-C725-FA42-90CC-5765123F5A65}"/>
                </a:ext>
              </a:extLst>
            </p:cNvPr>
            <p:cNvGrpSpPr/>
            <p:nvPr userDrawn="1"/>
          </p:nvGrpSpPr>
          <p:grpSpPr>
            <a:xfrm>
              <a:off x="2377440" y="2679694"/>
              <a:ext cx="304800" cy="304800"/>
              <a:chOff x="4748283" y="3386554"/>
              <a:chExt cx="548640" cy="548640"/>
            </a:xfrm>
          </p:grpSpPr>
          <p:sp>
            <p:nvSpPr>
              <p:cNvPr id="401" name="Rectangle 400">
                <a:extLst>
                  <a:ext uri="{FF2B5EF4-FFF2-40B4-BE49-F238E27FC236}">
                    <a16:creationId xmlns:a16="http://schemas.microsoft.com/office/drawing/2014/main" id="{0DDE99E9-598E-0F44-AB53-F02225E90BC7}"/>
                  </a:ext>
                </a:extLst>
              </p:cNvPr>
              <p:cNvSpPr/>
              <p:nvPr userDrawn="1"/>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02" name="Rectangle 401">
                <a:extLst>
                  <a:ext uri="{FF2B5EF4-FFF2-40B4-BE49-F238E27FC236}">
                    <a16:creationId xmlns:a16="http://schemas.microsoft.com/office/drawing/2014/main" id="{A7D19A18-2156-C149-B92D-4FD908CB17A9}"/>
                  </a:ext>
                </a:extLst>
              </p:cNvPr>
              <p:cNvSpPr/>
              <p:nvPr userDrawn="1"/>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03" name="Rectangle 402">
                <a:extLst>
                  <a:ext uri="{FF2B5EF4-FFF2-40B4-BE49-F238E27FC236}">
                    <a16:creationId xmlns:a16="http://schemas.microsoft.com/office/drawing/2014/main" id="{B3F003EA-7D96-E24F-BB9E-9AAE5316A51F}"/>
                  </a:ext>
                </a:extLst>
              </p:cNvPr>
              <p:cNvSpPr/>
              <p:nvPr userDrawn="1"/>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04" name="Rectangle 403">
                <a:extLst>
                  <a:ext uri="{FF2B5EF4-FFF2-40B4-BE49-F238E27FC236}">
                    <a16:creationId xmlns:a16="http://schemas.microsoft.com/office/drawing/2014/main" id="{0DC78CC9-EA57-4B4F-B013-1F7359159C54}"/>
                  </a:ext>
                </a:extLst>
              </p:cNvPr>
              <p:cNvSpPr/>
              <p:nvPr userDrawn="1"/>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386" name="Group 385">
              <a:extLst>
                <a:ext uri="{FF2B5EF4-FFF2-40B4-BE49-F238E27FC236}">
                  <a16:creationId xmlns:a16="http://schemas.microsoft.com/office/drawing/2014/main" id="{AE6D9F72-7FDF-CE4B-838F-B774D274FE81}"/>
                </a:ext>
              </a:extLst>
            </p:cNvPr>
            <p:cNvGrpSpPr/>
            <p:nvPr userDrawn="1"/>
          </p:nvGrpSpPr>
          <p:grpSpPr>
            <a:xfrm>
              <a:off x="4758055" y="2679694"/>
              <a:ext cx="304800" cy="304800"/>
              <a:chOff x="4748283" y="3386554"/>
              <a:chExt cx="548640" cy="548640"/>
            </a:xfrm>
          </p:grpSpPr>
          <p:sp>
            <p:nvSpPr>
              <p:cNvPr id="397" name="Rectangle 396">
                <a:extLst>
                  <a:ext uri="{FF2B5EF4-FFF2-40B4-BE49-F238E27FC236}">
                    <a16:creationId xmlns:a16="http://schemas.microsoft.com/office/drawing/2014/main" id="{D4306F08-E512-C247-AC3A-33B8571D0607}"/>
                  </a:ext>
                </a:extLst>
              </p:cNvPr>
              <p:cNvSpPr/>
              <p:nvPr userDrawn="1"/>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98" name="Rectangle 397">
                <a:extLst>
                  <a:ext uri="{FF2B5EF4-FFF2-40B4-BE49-F238E27FC236}">
                    <a16:creationId xmlns:a16="http://schemas.microsoft.com/office/drawing/2014/main" id="{FBFE0CD7-01DE-9E49-A774-0F480A65A987}"/>
                  </a:ext>
                </a:extLst>
              </p:cNvPr>
              <p:cNvSpPr/>
              <p:nvPr userDrawn="1"/>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99" name="Rectangle 398">
                <a:extLst>
                  <a:ext uri="{FF2B5EF4-FFF2-40B4-BE49-F238E27FC236}">
                    <a16:creationId xmlns:a16="http://schemas.microsoft.com/office/drawing/2014/main" id="{64E61B29-4CCA-D244-BE9E-C336449655D2}"/>
                  </a:ext>
                </a:extLst>
              </p:cNvPr>
              <p:cNvSpPr/>
              <p:nvPr userDrawn="1"/>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00" name="Rectangle 399">
                <a:extLst>
                  <a:ext uri="{FF2B5EF4-FFF2-40B4-BE49-F238E27FC236}">
                    <a16:creationId xmlns:a16="http://schemas.microsoft.com/office/drawing/2014/main" id="{FEF820F9-53F6-7F4C-B259-E4EEC67D3CF1}"/>
                  </a:ext>
                </a:extLst>
              </p:cNvPr>
              <p:cNvSpPr/>
              <p:nvPr userDrawn="1"/>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387" name="Group 386">
              <a:extLst>
                <a:ext uri="{FF2B5EF4-FFF2-40B4-BE49-F238E27FC236}">
                  <a16:creationId xmlns:a16="http://schemas.microsoft.com/office/drawing/2014/main" id="{DDD1F4FD-197A-BA44-8771-712C08E93361}"/>
                </a:ext>
              </a:extLst>
            </p:cNvPr>
            <p:cNvGrpSpPr/>
            <p:nvPr userDrawn="1"/>
          </p:nvGrpSpPr>
          <p:grpSpPr>
            <a:xfrm>
              <a:off x="7129145" y="2679694"/>
              <a:ext cx="304800" cy="304800"/>
              <a:chOff x="4748283" y="3386554"/>
              <a:chExt cx="548640" cy="548640"/>
            </a:xfrm>
          </p:grpSpPr>
          <p:sp>
            <p:nvSpPr>
              <p:cNvPr id="393" name="Rectangle 392">
                <a:extLst>
                  <a:ext uri="{FF2B5EF4-FFF2-40B4-BE49-F238E27FC236}">
                    <a16:creationId xmlns:a16="http://schemas.microsoft.com/office/drawing/2014/main" id="{3233BE51-1EAF-1A41-9AC1-13E1AC9AEBB2}"/>
                  </a:ext>
                </a:extLst>
              </p:cNvPr>
              <p:cNvSpPr/>
              <p:nvPr userDrawn="1"/>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94" name="Rectangle 393">
                <a:extLst>
                  <a:ext uri="{FF2B5EF4-FFF2-40B4-BE49-F238E27FC236}">
                    <a16:creationId xmlns:a16="http://schemas.microsoft.com/office/drawing/2014/main" id="{F509AB97-B09E-0546-9E8C-09437E384CE2}"/>
                  </a:ext>
                </a:extLst>
              </p:cNvPr>
              <p:cNvSpPr/>
              <p:nvPr userDrawn="1"/>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95" name="Rectangle 394">
                <a:extLst>
                  <a:ext uri="{FF2B5EF4-FFF2-40B4-BE49-F238E27FC236}">
                    <a16:creationId xmlns:a16="http://schemas.microsoft.com/office/drawing/2014/main" id="{8BA1AAD5-A563-FB47-87A9-0B94FE6A8C09}"/>
                  </a:ext>
                </a:extLst>
              </p:cNvPr>
              <p:cNvSpPr/>
              <p:nvPr userDrawn="1"/>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96" name="Rectangle 395">
                <a:extLst>
                  <a:ext uri="{FF2B5EF4-FFF2-40B4-BE49-F238E27FC236}">
                    <a16:creationId xmlns:a16="http://schemas.microsoft.com/office/drawing/2014/main" id="{514B41BA-A84E-364A-8308-CF1D949AC83F}"/>
                  </a:ext>
                </a:extLst>
              </p:cNvPr>
              <p:cNvSpPr/>
              <p:nvPr userDrawn="1"/>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388" name="Group 387">
              <a:extLst>
                <a:ext uri="{FF2B5EF4-FFF2-40B4-BE49-F238E27FC236}">
                  <a16:creationId xmlns:a16="http://schemas.microsoft.com/office/drawing/2014/main" id="{D3F98928-573C-0247-BEFC-C171D6C6A2BC}"/>
                </a:ext>
              </a:extLst>
            </p:cNvPr>
            <p:cNvGrpSpPr/>
            <p:nvPr userDrawn="1"/>
          </p:nvGrpSpPr>
          <p:grpSpPr>
            <a:xfrm>
              <a:off x="9509760" y="2679694"/>
              <a:ext cx="304800" cy="304800"/>
              <a:chOff x="4748283" y="3386554"/>
              <a:chExt cx="548640" cy="548640"/>
            </a:xfrm>
          </p:grpSpPr>
          <p:sp>
            <p:nvSpPr>
              <p:cNvPr id="389" name="Rectangle 388">
                <a:extLst>
                  <a:ext uri="{FF2B5EF4-FFF2-40B4-BE49-F238E27FC236}">
                    <a16:creationId xmlns:a16="http://schemas.microsoft.com/office/drawing/2014/main" id="{65B33E1B-D72C-6545-A163-15FE54C9CA79}"/>
                  </a:ext>
                </a:extLst>
              </p:cNvPr>
              <p:cNvSpPr/>
              <p:nvPr userDrawn="1"/>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90" name="Rectangle 389">
                <a:extLst>
                  <a:ext uri="{FF2B5EF4-FFF2-40B4-BE49-F238E27FC236}">
                    <a16:creationId xmlns:a16="http://schemas.microsoft.com/office/drawing/2014/main" id="{21AFCDF0-CBB3-9C45-B0C2-A3F3E5EAF632}"/>
                  </a:ext>
                </a:extLst>
              </p:cNvPr>
              <p:cNvSpPr/>
              <p:nvPr userDrawn="1"/>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91" name="Rectangle 390">
                <a:extLst>
                  <a:ext uri="{FF2B5EF4-FFF2-40B4-BE49-F238E27FC236}">
                    <a16:creationId xmlns:a16="http://schemas.microsoft.com/office/drawing/2014/main" id="{1531E71B-D937-F742-9957-0713B4C42C88}"/>
                  </a:ext>
                </a:extLst>
              </p:cNvPr>
              <p:cNvSpPr/>
              <p:nvPr userDrawn="1"/>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92" name="Rectangle 391">
                <a:extLst>
                  <a:ext uri="{FF2B5EF4-FFF2-40B4-BE49-F238E27FC236}">
                    <a16:creationId xmlns:a16="http://schemas.microsoft.com/office/drawing/2014/main" id="{214FB835-5426-5540-B3AC-57A83A66F095}"/>
                  </a:ext>
                </a:extLst>
              </p:cNvPr>
              <p:cNvSpPr/>
              <p:nvPr userDrawn="1"/>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418" name="Group 417">
            <a:extLst>
              <a:ext uri="{FF2B5EF4-FFF2-40B4-BE49-F238E27FC236}">
                <a16:creationId xmlns:a16="http://schemas.microsoft.com/office/drawing/2014/main" id="{C3FA0D4E-3551-B443-B764-A560BB0F31B4}"/>
              </a:ext>
            </a:extLst>
          </p:cNvPr>
          <p:cNvGrpSpPr/>
          <p:nvPr userDrawn="1"/>
        </p:nvGrpSpPr>
        <p:grpSpPr>
          <a:xfrm>
            <a:off x="0" y="5943602"/>
            <a:ext cx="12192000" cy="304801"/>
            <a:chOff x="0" y="5060956"/>
            <a:chExt cx="12192000" cy="304801"/>
          </a:xfrm>
        </p:grpSpPr>
        <p:grpSp>
          <p:nvGrpSpPr>
            <p:cNvPr id="419" name="Group 418">
              <a:extLst>
                <a:ext uri="{FF2B5EF4-FFF2-40B4-BE49-F238E27FC236}">
                  <a16:creationId xmlns:a16="http://schemas.microsoft.com/office/drawing/2014/main" id="{3ED4F498-0EE3-5340-A78D-81AE3B278C25}"/>
                </a:ext>
              </a:extLst>
            </p:cNvPr>
            <p:cNvGrpSpPr/>
            <p:nvPr userDrawn="1"/>
          </p:nvGrpSpPr>
          <p:grpSpPr>
            <a:xfrm>
              <a:off x="152400" y="5060956"/>
              <a:ext cx="11887200" cy="304801"/>
              <a:chOff x="152400" y="5468945"/>
              <a:chExt cx="5943600" cy="304801"/>
            </a:xfrm>
          </p:grpSpPr>
          <p:sp>
            <p:nvSpPr>
              <p:cNvPr id="435" name="Rectangle 434">
                <a:extLst>
                  <a:ext uri="{FF2B5EF4-FFF2-40B4-BE49-F238E27FC236}">
                    <a16:creationId xmlns:a16="http://schemas.microsoft.com/office/drawing/2014/main" id="{168AE306-A0D3-924E-88F9-CBCC203C5193}"/>
                  </a:ext>
                </a:extLst>
              </p:cNvPr>
              <p:cNvSpPr/>
              <p:nvPr userDrawn="1"/>
            </p:nvSpPr>
            <p:spPr>
              <a:xfrm>
                <a:off x="152400" y="5468946"/>
                <a:ext cx="2971800" cy="304800"/>
              </a:xfrm>
              <a:prstGeom prst="rect">
                <a:avLst/>
              </a:prstGeom>
              <a:solidFill>
                <a:srgbClr val="A5172E">
                  <a:lumMod val="20000"/>
                  <a:lumOff val="8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36" name="Rectangle 435">
                <a:extLst>
                  <a:ext uri="{FF2B5EF4-FFF2-40B4-BE49-F238E27FC236}">
                    <a16:creationId xmlns:a16="http://schemas.microsoft.com/office/drawing/2014/main" id="{A3B192E7-794D-C14E-BC0F-394A020FA684}"/>
                  </a:ext>
                </a:extLst>
              </p:cNvPr>
              <p:cNvSpPr/>
              <p:nvPr userDrawn="1"/>
            </p:nvSpPr>
            <p:spPr>
              <a:xfrm>
                <a:off x="3124200" y="5468945"/>
                <a:ext cx="2971800" cy="304800"/>
              </a:xfrm>
              <a:prstGeom prst="rect">
                <a:avLst/>
              </a:prstGeom>
              <a:solidFill>
                <a:srgbClr val="A5172E">
                  <a:lumMod val="40000"/>
                  <a:lumOff val="6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420" name="Group 419">
              <a:extLst>
                <a:ext uri="{FF2B5EF4-FFF2-40B4-BE49-F238E27FC236}">
                  <a16:creationId xmlns:a16="http://schemas.microsoft.com/office/drawing/2014/main" id="{AD6C7E3C-C334-6F4A-B514-6C52AB007244}"/>
                </a:ext>
              </a:extLst>
            </p:cNvPr>
            <p:cNvGrpSpPr/>
            <p:nvPr userDrawn="1"/>
          </p:nvGrpSpPr>
          <p:grpSpPr>
            <a:xfrm>
              <a:off x="0" y="5060956"/>
              <a:ext cx="304800" cy="304800"/>
              <a:chOff x="4748283" y="3386554"/>
              <a:chExt cx="548640" cy="548640"/>
            </a:xfrm>
          </p:grpSpPr>
          <p:sp>
            <p:nvSpPr>
              <p:cNvPr id="431" name="Rectangle 430">
                <a:extLst>
                  <a:ext uri="{FF2B5EF4-FFF2-40B4-BE49-F238E27FC236}">
                    <a16:creationId xmlns:a16="http://schemas.microsoft.com/office/drawing/2014/main" id="{5D7210F9-038B-204E-B075-F05CEE6F58A4}"/>
                  </a:ext>
                </a:extLst>
              </p:cNvPr>
              <p:cNvSpPr/>
              <p:nvPr userDrawn="1"/>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32" name="Rectangle 431">
                <a:extLst>
                  <a:ext uri="{FF2B5EF4-FFF2-40B4-BE49-F238E27FC236}">
                    <a16:creationId xmlns:a16="http://schemas.microsoft.com/office/drawing/2014/main" id="{B9F22585-23A9-BE4A-8A3D-AB57FE6FB1D1}"/>
                  </a:ext>
                </a:extLst>
              </p:cNvPr>
              <p:cNvSpPr/>
              <p:nvPr userDrawn="1"/>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33" name="Rectangle 432">
                <a:extLst>
                  <a:ext uri="{FF2B5EF4-FFF2-40B4-BE49-F238E27FC236}">
                    <a16:creationId xmlns:a16="http://schemas.microsoft.com/office/drawing/2014/main" id="{67C0138B-AD3C-F24C-A766-18F10DEF3926}"/>
                  </a:ext>
                </a:extLst>
              </p:cNvPr>
              <p:cNvSpPr/>
              <p:nvPr userDrawn="1"/>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34" name="Rectangle 433">
                <a:extLst>
                  <a:ext uri="{FF2B5EF4-FFF2-40B4-BE49-F238E27FC236}">
                    <a16:creationId xmlns:a16="http://schemas.microsoft.com/office/drawing/2014/main" id="{6B65B973-2985-1A46-9D7E-B54790574FFD}"/>
                  </a:ext>
                </a:extLst>
              </p:cNvPr>
              <p:cNvSpPr/>
              <p:nvPr userDrawn="1"/>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421" name="Group 420">
              <a:extLst>
                <a:ext uri="{FF2B5EF4-FFF2-40B4-BE49-F238E27FC236}">
                  <a16:creationId xmlns:a16="http://schemas.microsoft.com/office/drawing/2014/main" id="{89E6048A-324B-7B4A-96E3-0182AFDA4E0F}"/>
                </a:ext>
              </a:extLst>
            </p:cNvPr>
            <p:cNvGrpSpPr/>
            <p:nvPr userDrawn="1"/>
          </p:nvGrpSpPr>
          <p:grpSpPr>
            <a:xfrm>
              <a:off x="11887200" y="5060956"/>
              <a:ext cx="304800" cy="304800"/>
              <a:chOff x="11887200" y="3048000"/>
              <a:chExt cx="304800" cy="304800"/>
            </a:xfrm>
          </p:grpSpPr>
          <p:sp>
            <p:nvSpPr>
              <p:cNvPr id="427" name="Rectangle 426">
                <a:extLst>
                  <a:ext uri="{FF2B5EF4-FFF2-40B4-BE49-F238E27FC236}">
                    <a16:creationId xmlns:a16="http://schemas.microsoft.com/office/drawing/2014/main" id="{35B7F55A-CA3E-6A49-9AAB-B8F4A9806129}"/>
                  </a:ext>
                </a:extLst>
              </p:cNvPr>
              <p:cNvSpPr/>
              <p:nvPr userDrawn="1"/>
            </p:nvSpPr>
            <p:spPr>
              <a:xfrm>
                <a:off x="12039600" y="3200400"/>
                <a:ext cx="152400" cy="15240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28" name="Rectangle 427">
                <a:extLst>
                  <a:ext uri="{FF2B5EF4-FFF2-40B4-BE49-F238E27FC236}">
                    <a16:creationId xmlns:a16="http://schemas.microsoft.com/office/drawing/2014/main" id="{A3353706-2E52-E144-8A63-6273B78CB93E}"/>
                  </a:ext>
                </a:extLst>
              </p:cNvPr>
              <p:cNvSpPr/>
              <p:nvPr userDrawn="1"/>
            </p:nvSpPr>
            <p:spPr>
              <a:xfrm>
                <a:off x="11887200" y="3200400"/>
                <a:ext cx="152400" cy="15240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29" name="Rectangle 428">
                <a:extLst>
                  <a:ext uri="{FF2B5EF4-FFF2-40B4-BE49-F238E27FC236}">
                    <a16:creationId xmlns:a16="http://schemas.microsoft.com/office/drawing/2014/main" id="{DE0C3521-EDAC-1A49-8ED8-2DA7FC9C5BC9}"/>
                  </a:ext>
                </a:extLst>
              </p:cNvPr>
              <p:cNvSpPr/>
              <p:nvPr userDrawn="1"/>
            </p:nvSpPr>
            <p:spPr>
              <a:xfrm>
                <a:off x="12039600" y="3048000"/>
                <a:ext cx="152400" cy="15240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30" name="Rectangle 429">
                <a:extLst>
                  <a:ext uri="{FF2B5EF4-FFF2-40B4-BE49-F238E27FC236}">
                    <a16:creationId xmlns:a16="http://schemas.microsoft.com/office/drawing/2014/main" id="{1B3C97FD-7422-3B49-9A32-5439ECC9129E}"/>
                  </a:ext>
                </a:extLst>
              </p:cNvPr>
              <p:cNvSpPr/>
              <p:nvPr userDrawn="1"/>
            </p:nvSpPr>
            <p:spPr>
              <a:xfrm>
                <a:off x="11887200" y="3048000"/>
                <a:ext cx="152400" cy="15240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422" name="Group 421">
              <a:extLst>
                <a:ext uri="{FF2B5EF4-FFF2-40B4-BE49-F238E27FC236}">
                  <a16:creationId xmlns:a16="http://schemas.microsoft.com/office/drawing/2014/main" id="{13909B4A-16B1-EB41-8EBA-C21C3846E275}"/>
                </a:ext>
              </a:extLst>
            </p:cNvPr>
            <p:cNvGrpSpPr/>
            <p:nvPr userDrawn="1"/>
          </p:nvGrpSpPr>
          <p:grpSpPr>
            <a:xfrm>
              <a:off x="5943600" y="5060956"/>
              <a:ext cx="304800" cy="304800"/>
              <a:chOff x="4748283" y="3386554"/>
              <a:chExt cx="548640" cy="548640"/>
            </a:xfrm>
          </p:grpSpPr>
          <p:sp>
            <p:nvSpPr>
              <p:cNvPr id="423" name="Rectangle 422">
                <a:extLst>
                  <a:ext uri="{FF2B5EF4-FFF2-40B4-BE49-F238E27FC236}">
                    <a16:creationId xmlns:a16="http://schemas.microsoft.com/office/drawing/2014/main" id="{78BBE9C9-671C-F143-A4EA-2DF4B70C6E9E}"/>
                  </a:ext>
                </a:extLst>
              </p:cNvPr>
              <p:cNvSpPr/>
              <p:nvPr userDrawn="1"/>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24" name="Rectangle 423">
                <a:extLst>
                  <a:ext uri="{FF2B5EF4-FFF2-40B4-BE49-F238E27FC236}">
                    <a16:creationId xmlns:a16="http://schemas.microsoft.com/office/drawing/2014/main" id="{D1572C1F-31B0-A449-AF07-F0C75F9333B5}"/>
                  </a:ext>
                </a:extLst>
              </p:cNvPr>
              <p:cNvSpPr/>
              <p:nvPr userDrawn="1"/>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25" name="Rectangle 424">
                <a:extLst>
                  <a:ext uri="{FF2B5EF4-FFF2-40B4-BE49-F238E27FC236}">
                    <a16:creationId xmlns:a16="http://schemas.microsoft.com/office/drawing/2014/main" id="{DA2AA3D6-DE7C-1648-95ED-0FDE1A3715AE}"/>
                  </a:ext>
                </a:extLst>
              </p:cNvPr>
              <p:cNvSpPr/>
              <p:nvPr userDrawn="1"/>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26" name="Rectangle 425">
                <a:extLst>
                  <a:ext uri="{FF2B5EF4-FFF2-40B4-BE49-F238E27FC236}">
                    <a16:creationId xmlns:a16="http://schemas.microsoft.com/office/drawing/2014/main" id="{ED8EFBE5-713C-AE42-B222-0B2BCDBA868C}"/>
                  </a:ext>
                </a:extLst>
              </p:cNvPr>
              <p:cNvSpPr/>
              <p:nvPr userDrawn="1"/>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437" name="Group 436">
            <a:extLst>
              <a:ext uri="{FF2B5EF4-FFF2-40B4-BE49-F238E27FC236}">
                <a16:creationId xmlns:a16="http://schemas.microsoft.com/office/drawing/2014/main" id="{BF14D695-A0CE-114E-8019-2ED18154094C}"/>
              </a:ext>
            </a:extLst>
          </p:cNvPr>
          <p:cNvGrpSpPr/>
          <p:nvPr userDrawn="1"/>
        </p:nvGrpSpPr>
        <p:grpSpPr>
          <a:xfrm>
            <a:off x="0" y="3336770"/>
            <a:ext cx="12192000" cy="304801"/>
            <a:chOff x="0" y="1720842"/>
            <a:chExt cx="12192000" cy="304801"/>
          </a:xfrm>
        </p:grpSpPr>
        <p:grpSp>
          <p:nvGrpSpPr>
            <p:cNvPr id="438" name="Group 437">
              <a:extLst>
                <a:ext uri="{FF2B5EF4-FFF2-40B4-BE49-F238E27FC236}">
                  <a16:creationId xmlns:a16="http://schemas.microsoft.com/office/drawing/2014/main" id="{B258BE61-F68C-6447-A182-49356BB4705F}"/>
                </a:ext>
              </a:extLst>
            </p:cNvPr>
            <p:cNvGrpSpPr/>
            <p:nvPr userDrawn="1"/>
          </p:nvGrpSpPr>
          <p:grpSpPr>
            <a:xfrm>
              <a:off x="152400" y="1720842"/>
              <a:ext cx="11887200" cy="304801"/>
              <a:chOff x="152400" y="1720842"/>
              <a:chExt cx="10226040" cy="304801"/>
            </a:xfrm>
          </p:grpSpPr>
          <p:sp>
            <p:nvSpPr>
              <p:cNvPr id="474" name="Rectangle 473">
                <a:extLst>
                  <a:ext uri="{FF2B5EF4-FFF2-40B4-BE49-F238E27FC236}">
                    <a16:creationId xmlns:a16="http://schemas.microsoft.com/office/drawing/2014/main" id="{2E39ADA9-047C-064C-B38A-58491F27D38A}"/>
                  </a:ext>
                </a:extLst>
              </p:cNvPr>
              <p:cNvSpPr/>
              <p:nvPr userDrawn="1"/>
            </p:nvSpPr>
            <p:spPr>
              <a:xfrm>
                <a:off x="152400" y="1720843"/>
                <a:ext cx="1704340" cy="304800"/>
              </a:xfrm>
              <a:prstGeom prst="rect">
                <a:avLst/>
              </a:prstGeom>
              <a:solidFill>
                <a:srgbClr val="A5172E">
                  <a:lumMod val="20000"/>
                  <a:lumOff val="8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75" name="Rectangle 474">
                <a:extLst>
                  <a:ext uri="{FF2B5EF4-FFF2-40B4-BE49-F238E27FC236}">
                    <a16:creationId xmlns:a16="http://schemas.microsoft.com/office/drawing/2014/main" id="{950CBAF9-139A-444A-99D3-8878A71E1230}"/>
                  </a:ext>
                </a:extLst>
              </p:cNvPr>
              <p:cNvSpPr/>
              <p:nvPr userDrawn="1"/>
            </p:nvSpPr>
            <p:spPr>
              <a:xfrm>
                <a:off x="1856740" y="1720842"/>
                <a:ext cx="1704340" cy="304800"/>
              </a:xfrm>
              <a:prstGeom prst="rect">
                <a:avLst/>
              </a:prstGeom>
              <a:solidFill>
                <a:srgbClr val="A5172E">
                  <a:lumMod val="40000"/>
                  <a:lumOff val="6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76" name="Rectangle 475">
                <a:extLst>
                  <a:ext uri="{FF2B5EF4-FFF2-40B4-BE49-F238E27FC236}">
                    <a16:creationId xmlns:a16="http://schemas.microsoft.com/office/drawing/2014/main" id="{B5A13F0A-72FA-0D47-801F-47CA60E80C0C}"/>
                  </a:ext>
                </a:extLst>
              </p:cNvPr>
              <p:cNvSpPr/>
              <p:nvPr userDrawn="1"/>
            </p:nvSpPr>
            <p:spPr>
              <a:xfrm>
                <a:off x="3561080" y="1720842"/>
                <a:ext cx="1704340" cy="304800"/>
              </a:xfrm>
              <a:prstGeom prst="rect">
                <a:avLst/>
              </a:prstGeom>
              <a:solidFill>
                <a:srgbClr val="A5172E">
                  <a:lumMod val="20000"/>
                  <a:lumOff val="8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77" name="Rectangle 476">
                <a:extLst>
                  <a:ext uri="{FF2B5EF4-FFF2-40B4-BE49-F238E27FC236}">
                    <a16:creationId xmlns:a16="http://schemas.microsoft.com/office/drawing/2014/main" id="{4FEF358F-4817-F64B-8CC4-0FD0C1FABF29}"/>
                  </a:ext>
                </a:extLst>
              </p:cNvPr>
              <p:cNvSpPr/>
              <p:nvPr userDrawn="1"/>
            </p:nvSpPr>
            <p:spPr>
              <a:xfrm>
                <a:off x="5265420" y="1720842"/>
                <a:ext cx="1704340" cy="304800"/>
              </a:xfrm>
              <a:prstGeom prst="rect">
                <a:avLst/>
              </a:prstGeom>
              <a:solidFill>
                <a:srgbClr val="A5172E">
                  <a:lumMod val="40000"/>
                  <a:lumOff val="6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78" name="Rectangle 477">
                <a:extLst>
                  <a:ext uri="{FF2B5EF4-FFF2-40B4-BE49-F238E27FC236}">
                    <a16:creationId xmlns:a16="http://schemas.microsoft.com/office/drawing/2014/main" id="{EFF11427-1778-1747-93D7-55F0840A0284}"/>
                  </a:ext>
                </a:extLst>
              </p:cNvPr>
              <p:cNvSpPr/>
              <p:nvPr userDrawn="1"/>
            </p:nvSpPr>
            <p:spPr>
              <a:xfrm>
                <a:off x="6969760" y="1720842"/>
                <a:ext cx="1704340" cy="304800"/>
              </a:xfrm>
              <a:prstGeom prst="rect">
                <a:avLst/>
              </a:prstGeom>
              <a:solidFill>
                <a:srgbClr val="A5172E">
                  <a:lumMod val="20000"/>
                  <a:lumOff val="8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79" name="Rectangle 478">
                <a:extLst>
                  <a:ext uri="{FF2B5EF4-FFF2-40B4-BE49-F238E27FC236}">
                    <a16:creationId xmlns:a16="http://schemas.microsoft.com/office/drawing/2014/main" id="{F3D80D4E-21FD-8E4F-BCC2-F182D2FB139B}"/>
                  </a:ext>
                </a:extLst>
              </p:cNvPr>
              <p:cNvSpPr/>
              <p:nvPr userDrawn="1"/>
            </p:nvSpPr>
            <p:spPr>
              <a:xfrm>
                <a:off x="8674100" y="1720842"/>
                <a:ext cx="1704340" cy="304800"/>
              </a:xfrm>
              <a:prstGeom prst="rect">
                <a:avLst/>
              </a:prstGeom>
              <a:solidFill>
                <a:srgbClr val="A5172E">
                  <a:lumMod val="40000"/>
                  <a:lumOff val="6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439" name="Group 438">
              <a:extLst>
                <a:ext uri="{FF2B5EF4-FFF2-40B4-BE49-F238E27FC236}">
                  <a16:creationId xmlns:a16="http://schemas.microsoft.com/office/drawing/2014/main" id="{772AB51C-F49A-0A4A-BA0B-000FC84A5867}"/>
                </a:ext>
              </a:extLst>
            </p:cNvPr>
            <p:cNvGrpSpPr/>
            <p:nvPr userDrawn="1"/>
          </p:nvGrpSpPr>
          <p:grpSpPr>
            <a:xfrm>
              <a:off x="0" y="1720842"/>
              <a:ext cx="304800" cy="304800"/>
              <a:chOff x="4748283" y="3386554"/>
              <a:chExt cx="548640" cy="548640"/>
            </a:xfrm>
          </p:grpSpPr>
          <p:sp>
            <p:nvSpPr>
              <p:cNvPr id="470" name="Rectangle 469">
                <a:extLst>
                  <a:ext uri="{FF2B5EF4-FFF2-40B4-BE49-F238E27FC236}">
                    <a16:creationId xmlns:a16="http://schemas.microsoft.com/office/drawing/2014/main" id="{E4A75E68-C0BB-4840-B07F-1D82C5547F73}"/>
                  </a:ext>
                </a:extLst>
              </p:cNvPr>
              <p:cNvSpPr/>
              <p:nvPr userDrawn="1"/>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71" name="Rectangle 470">
                <a:extLst>
                  <a:ext uri="{FF2B5EF4-FFF2-40B4-BE49-F238E27FC236}">
                    <a16:creationId xmlns:a16="http://schemas.microsoft.com/office/drawing/2014/main" id="{8DD8EBE3-10D1-3E44-85FC-03439E297582}"/>
                  </a:ext>
                </a:extLst>
              </p:cNvPr>
              <p:cNvSpPr/>
              <p:nvPr userDrawn="1"/>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72" name="Rectangle 471">
                <a:extLst>
                  <a:ext uri="{FF2B5EF4-FFF2-40B4-BE49-F238E27FC236}">
                    <a16:creationId xmlns:a16="http://schemas.microsoft.com/office/drawing/2014/main" id="{6AEBDBAB-049C-C94F-BA15-670FE7786BB7}"/>
                  </a:ext>
                </a:extLst>
              </p:cNvPr>
              <p:cNvSpPr/>
              <p:nvPr userDrawn="1"/>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73" name="Rectangle 472">
                <a:extLst>
                  <a:ext uri="{FF2B5EF4-FFF2-40B4-BE49-F238E27FC236}">
                    <a16:creationId xmlns:a16="http://schemas.microsoft.com/office/drawing/2014/main" id="{1839B25E-E114-E34C-A32D-6D7EC38B1EE9}"/>
                  </a:ext>
                </a:extLst>
              </p:cNvPr>
              <p:cNvSpPr/>
              <p:nvPr userDrawn="1"/>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440" name="Group 439">
              <a:extLst>
                <a:ext uri="{FF2B5EF4-FFF2-40B4-BE49-F238E27FC236}">
                  <a16:creationId xmlns:a16="http://schemas.microsoft.com/office/drawing/2014/main" id="{C4B9E153-27EB-B040-BCE0-309BDB8E8CDA}"/>
                </a:ext>
              </a:extLst>
            </p:cNvPr>
            <p:cNvGrpSpPr/>
            <p:nvPr userDrawn="1"/>
          </p:nvGrpSpPr>
          <p:grpSpPr>
            <a:xfrm>
              <a:off x="11887200" y="1720842"/>
              <a:ext cx="304800" cy="304800"/>
              <a:chOff x="11887200" y="3048000"/>
              <a:chExt cx="304800" cy="304800"/>
            </a:xfrm>
          </p:grpSpPr>
          <p:sp>
            <p:nvSpPr>
              <p:cNvPr id="466" name="Rectangle 465">
                <a:extLst>
                  <a:ext uri="{FF2B5EF4-FFF2-40B4-BE49-F238E27FC236}">
                    <a16:creationId xmlns:a16="http://schemas.microsoft.com/office/drawing/2014/main" id="{A27F3C4E-60C9-0441-BB28-DA297CC18C6B}"/>
                  </a:ext>
                </a:extLst>
              </p:cNvPr>
              <p:cNvSpPr/>
              <p:nvPr userDrawn="1"/>
            </p:nvSpPr>
            <p:spPr>
              <a:xfrm>
                <a:off x="12039600" y="3200400"/>
                <a:ext cx="152400" cy="15240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67" name="Rectangle 466">
                <a:extLst>
                  <a:ext uri="{FF2B5EF4-FFF2-40B4-BE49-F238E27FC236}">
                    <a16:creationId xmlns:a16="http://schemas.microsoft.com/office/drawing/2014/main" id="{21B5179C-3F21-4540-9AFE-2D927DFF8388}"/>
                  </a:ext>
                </a:extLst>
              </p:cNvPr>
              <p:cNvSpPr/>
              <p:nvPr userDrawn="1"/>
            </p:nvSpPr>
            <p:spPr>
              <a:xfrm>
                <a:off x="11887200" y="3200400"/>
                <a:ext cx="152400" cy="15240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68" name="Rectangle 467">
                <a:extLst>
                  <a:ext uri="{FF2B5EF4-FFF2-40B4-BE49-F238E27FC236}">
                    <a16:creationId xmlns:a16="http://schemas.microsoft.com/office/drawing/2014/main" id="{B81BD9A7-26C8-F74E-81CB-41418ED62A1D}"/>
                  </a:ext>
                </a:extLst>
              </p:cNvPr>
              <p:cNvSpPr/>
              <p:nvPr userDrawn="1"/>
            </p:nvSpPr>
            <p:spPr>
              <a:xfrm>
                <a:off x="12039600" y="3048000"/>
                <a:ext cx="152400" cy="15240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69" name="Rectangle 468">
                <a:extLst>
                  <a:ext uri="{FF2B5EF4-FFF2-40B4-BE49-F238E27FC236}">
                    <a16:creationId xmlns:a16="http://schemas.microsoft.com/office/drawing/2014/main" id="{D9514B8E-A753-2045-AAAA-E16B50514554}"/>
                  </a:ext>
                </a:extLst>
              </p:cNvPr>
              <p:cNvSpPr/>
              <p:nvPr userDrawn="1"/>
            </p:nvSpPr>
            <p:spPr>
              <a:xfrm>
                <a:off x="11887200" y="3048000"/>
                <a:ext cx="152400" cy="15240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441" name="Group 440">
              <a:extLst>
                <a:ext uri="{FF2B5EF4-FFF2-40B4-BE49-F238E27FC236}">
                  <a16:creationId xmlns:a16="http://schemas.microsoft.com/office/drawing/2014/main" id="{ECC44206-FD2E-F94D-9B86-B800910A14FE}"/>
                </a:ext>
              </a:extLst>
            </p:cNvPr>
            <p:cNvGrpSpPr/>
            <p:nvPr userDrawn="1"/>
          </p:nvGrpSpPr>
          <p:grpSpPr>
            <a:xfrm>
              <a:off x="1984915" y="1720842"/>
              <a:ext cx="304800" cy="304800"/>
              <a:chOff x="4748283" y="3386554"/>
              <a:chExt cx="548640" cy="548640"/>
            </a:xfrm>
          </p:grpSpPr>
          <p:sp>
            <p:nvSpPr>
              <p:cNvPr id="462" name="Rectangle 461">
                <a:extLst>
                  <a:ext uri="{FF2B5EF4-FFF2-40B4-BE49-F238E27FC236}">
                    <a16:creationId xmlns:a16="http://schemas.microsoft.com/office/drawing/2014/main" id="{C8BDDAA8-114B-3A4F-958C-920C69378416}"/>
                  </a:ext>
                </a:extLst>
              </p:cNvPr>
              <p:cNvSpPr/>
              <p:nvPr userDrawn="1"/>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63" name="Rectangle 462">
                <a:extLst>
                  <a:ext uri="{FF2B5EF4-FFF2-40B4-BE49-F238E27FC236}">
                    <a16:creationId xmlns:a16="http://schemas.microsoft.com/office/drawing/2014/main" id="{66EB955B-9466-F243-B786-3F7895B36FE2}"/>
                  </a:ext>
                </a:extLst>
              </p:cNvPr>
              <p:cNvSpPr/>
              <p:nvPr userDrawn="1"/>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64" name="Rectangle 463">
                <a:extLst>
                  <a:ext uri="{FF2B5EF4-FFF2-40B4-BE49-F238E27FC236}">
                    <a16:creationId xmlns:a16="http://schemas.microsoft.com/office/drawing/2014/main" id="{57AC506A-54E9-7442-9D5A-739F9BC156CE}"/>
                  </a:ext>
                </a:extLst>
              </p:cNvPr>
              <p:cNvSpPr/>
              <p:nvPr userDrawn="1"/>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65" name="Rectangle 464">
                <a:extLst>
                  <a:ext uri="{FF2B5EF4-FFF2-40B4-BE49-F238E27FC236}">
                    <a16:creationId xmlns:a16="http://schemas.microsoft.com/office/drawing/2014/main" id="{989669EA-D5BB-2749-A33E-897415693EA0}"/>
                  </a:ext>
                </a:extLst>
              </p:cNvPr>
              <p:cNvSpPr/>
              <p:nvPr userDrawn="1"/>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442" name="Group 441">
              <a:extLst>
                <a:ext uri="{FF2B5EF4-FFF2-40B4-BE49-F238E27FC236}">
                  <a16:creationId xmlns:a16="http://schemas.microsoft.com/office/drawing/2014/main" id="{2BF5526E-DA20-1A47-B1EC-05FCC4F811A6}"/>
                </a:ext>
              </a:extLst>
            </p:cNvPr>
            <p:cNvGrpSpPr/>
            <p:nvPr userDrawn="1"/>
          </p:nvGrpSpPr>
          <p:grpSpPr>
            <a:xfrm>
              <a:off x="3962829" y="1720842"/>
              <a:ext cx="304800" cy="304800"/>
              <a:chOff x="4748283" y="3386554"/>
              <a:chExt cx="548640" cy="548640"/>
            </a:xfrm>
          </p:grpSpPr>
          <p:sp>
            <p:nvSpPr>
              <p:cNvPr id="458" name="Rectangle 457">
                <a:extLst>
                  <a:ext uri="{FF2B5EF4-FFF2-40B4-BE49-F238E27FC236}">
                    <a16:creationId xmlns:a16="http://schemas.microsoft.com/office/drawing/2014/main" id="{C1CA3603-5759-F245-A0BC-7AC94B98ACB3}"/>
                  </a:ext>
                </a:extLst>
              </p:cNvPr>
              <p:cNvSpPr/>
              <p:nvPr userDrawn="1"/>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59" name="Rectangle 458">
                <a:extLst>
                  <a:ext uri="{FF2B5EF4-FFF2-40B4-BE49-F238E27FC236}">
                    <a16:creationId xmlns:a16="http://schemas.microsoft.com/office/drawing/2014/main" id="{E65062EA-2737-9F4A-AC6D-377AEBB24DA8}"/>
                  </a:ext>
                </a:extLst>
              </p:cNvPr>
              <p:cNvSpPr/>
              <p:nvPr userDrawn="1"/>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60" name="Rectangle 459">
                <a:extLst>
                  <a:ext uri="{FF2B5EF4-FFF2-40B4-BE49-F238E27FC236}">
                    <a16:creationId xmlns:a16="http://schemas.microsoft.com/office/drawing/2014/main" id="{5EFA2540-BC53-0A4B-818C-23B0B9216130}"/>
                  </a:ext>
                </a:extLst>
              </p:cNvPr>
              <p:cNvSpPr/>
              <p:nvPr userDrawn="1"/>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61" name="Rectangle 460">
                <a:extLst>
                  <a:ext uri="{FF2B5EF4-FFF2-40B4-BE49-F238E27FC236}">
                    <a16:creationId xmlns:a16="http://schemas.microsoft.com/office/drawing/2014/main" id="{A365443A-BD5B-D543-A1BC-48CD7E25F9B4}"/>
                  </a:ext>
                </a:extLst>
              </p:cNvPr>
              <p:cNvSpPr/>
              <p:nvPr userDrawn="1"/>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443" name="Group 442">
              <a:extLst>
                <a:ext uri="{FF2B5EF4-FFF2-40B4-BE49-F238E27FC236}">
                  <a16:creationId xmlns:a16="http://schemas.microsoft.com/office/drawing/2014/main" id="{3E69FC19-CB83-6F45-8D1E-A4DC1CCCC32E}"/>
                </a:ext>
              </a:extLst>
            </p:cNvPr>
            <p:cNvGrpSpPr/>
            <p:nvPr userDrawn="1"/>
          </p:nvGrpSpPr>
          <p:grpSpPr>
            <a:xfrm>
              <a:off x="5941695" y="1720842"/>
              <a:ext cx="304800" cy="304800"/>
              <a:chOff x="4748283" y="3386554"/>
              <a:chExt cx="548640" cy="548640"/>
            </a:xfrm>
          </p:grpSpPr>
          <p:sp>
            <p:nvSpPr>
              <p:cNvPr id="454" name="Rectangle 453">
                <a:extLst>
                  <a:ext uri="{FF2B5EF4-FFF2-40B4-BE49-F238E27FC236}">
                    <a16:creationId xmlns:a16="http://schemas.microsoft.com/office/drawing/2014/main" id="{D57A09A4-5C22-CA4B-BB1C-F7672C2AA69A}"/>
                  </a:ext>
                </a:extLst>
              </p:cNvPr>
              <p:cNvSpPr/>
              <p:nvPr userDrawn="1"/>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55" name="Rectangle 454">
                <a:extLst>
                  <a:ext uri="{FF2B5EF4-FFF2-40B4-BE49-F238E27FC236}">
                    <a16:creationId xmlns:a16="http://schemas.microsoft.com/office/drawing/2014/main" id="{17C22FAC-AC42-6E43-ACA2-58810E6D49CC}"/>
                  </a:ext>
                </a:extLst>
              </p:cNvPr>
              <p:cNvSpPr/>
              <p:nvPr userDrawn="1"/>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56" name="Rectangle 455">
                <a:extLst>
                  <a:ext uri="{FF2B5EF4-FFF2-40B4-BE49-F238E27FC236}">
                    <a16:creationId xmlns:a16="http://schemas.microsoft.com/office/drawing/2014/main" id="{5E375788-6501-DC47-A513-CA1940784EF3}"/>
                  </a:ext>
                </a:extLst>
              </p:cNvPr>
              <p:cNvSpPr/>
              <p:nvPr userDrawn="1"/>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57" name="Rectangle 456">
                <a:extLst>
                  <a:ext uri="{FF2B5EF4-FFF2-40B4-BE49-F238E27FC236}">
                    <a16:creationId xmlns:a16="http://schemas.microsoft.com/office/drawing/2014/main" id="{EDD8D43C-CFFB-4247-9B73-EFA60807FF1B}"/>
                  </a:ext>
                </a:extLst>
              </p:cNvPr>
              <p:cNvSpPr/>
              <p:nvPr userDrawn="1"/>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444" name="Group 443">
              <a:extLst>
                <a:ext uri="{FF2B5EF4-FFF2-40B4-BE49-F238E27FC236}">
                  <a16:creationId xmlns:a16="http://schemas.microsoft.com/office/drawing/2014/main" id="{88078022-BDD1-E941-A76D-8B2EA55DF35C}"/>
                </a:ext>
              </a:extLst>
            </p:cNvPr>
            <p:cNvGrpSpPr/>
            <p:nvPr userDrawn="1"/>
          </p:nvGrpSpPr>
          <p:grpSpPr>
            <a:xfrm>
              <a:off x="7925379" y="1720842"/>
              <a:ext cx="304800" cy="304800"/>
              <a:chOff x="4748283" y="3386554"/>
              <a:chExt cx="548640" cy="548640"/>
            </a:xfrm>
          </p:grpSpPr>
          <p:sp>
            <p:nvSpPr>
              <p:cNvPr id="450" name="Rectangle 449">
                <a:extLst>
                  <a:ext uri="{FF2B5EF4-FFF2-40B4-BE49-F238E27FC236}">
                    <a16:creationId xmlns:a16="http://schemas.microsoft.com/office/drawing/2014/main" id="{46CFF03B-0578-744C-B497-C6A70789806B}"/>
                  </a:ext>
                </a:extLst>
              </p:cNvPr>
              <p:cNvSpPr/>
              <p:nvPr userDrawn="1"/>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51" name="Rectangle 450">
                <a:extLst>
                  <a:ext uri="{FF2B5EF4-FFF2-40B4-BE49-F238E27FC236}">
                    <a16:creationId xmlns:a16="http://schemas.microsoft.com/office/drawing/2014/main" id="{E832363E-13BD-AE41-B338-5CE369511D0E}"/>
                  </a:ext>
                </a:extLst>
              </p:cNvPr>
              <p:cNvSpPr/>
              <p:nvPr userDrawn="1"/>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52" name="Rectangle 451">
                <a:extLst>
                  <a:ext uri="{FF2B5EF4-FFF2-40B4-BE49-F238E27FC236}">
                    <a16:creationId xmlns:a16="http://schemas.microsoft.com/office/drawing/2014/main" id="{7F3C2F47-5852-FE46-A6B8-0240E7FB37E8}"/>
                  </a:ext>
                </a:extLst>
              </p:cNvPr>
              <p:cNvSpPr/>
              <p:nvPr userDrawn="1"/>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53" name="Rectangle 452">
                <a:extLst>
                  <a:ext uri="{FF2B5EF4-FFF2-40B4-BE49-F238E27FC236}">
                    <a16:creationId xmlns:a16="http://schemas.microsoft.com/office/drawing/2014/main" id="{62234A22-B732-8643-8B93-EDA7BEDDA589}"/>
                  </a:ext>
                </a:extLst>
              </p:cNvPr>
              <p:cNvSpPr/>
              <p:nvPr userDrawn="1"/>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445" name="Group 444">
              <a:extLst>
                <a:ext uri="{FF2B5EF4-FFF2-40B4-BE49-F238E27FC236}">
                  <a16:creationId xmlns:a16="http://schemas.microsoft.com/office/drawing/2014/main" id="{3B83FBB8-0104-2A44-B8DB-E77F2800533E}"/>
                </a:ext>
              </a:extLst>
            </p:cNvPr>
            <p:cNvGrpSpPr/>
            <p:nvPr userDrawn="1"/>
          </p:nvGrpSpPr>
          <p:grpSpPr>
            <a:xfrm>
              <a:off x="9906579" y="1720842"/>
              <a:ext cx="304800" cy="304800"/>
              <a:chOff x="4748283" y="3386554"/>
              <a:chExt cx="548640" cy="548640"/>
            </a:xfrm>
          </p:grpSpPr>
          <p:sp>
            <p:nvSpPr>
              <p:cNvPr id="446" name="Rectangle 445">
                <a:extLst>
                  <a:ext uri="{FF2B5EF4-FFF2-40B4-BE49-F238E27FC236}">
                    <a16:creationId xmlns:a16="http://schemas.microsoft.com/office/drawing/2014/main" id="{41E071DB-0DDA-B34C-AB39-A3E6C3A412DA}"/>
                  </a:ext>
                </a:extLst>
              </p:cNvPr>
              <p:cNvSpPr/>
              <p:nvPr userDrawn="1"/>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47" name="Rectangle 446">
                <a:extLst>
                  <a:ext uri="{FF2B5EF4-FFF2-40B4-BE49-F238E27FC236}">
                    <a16:creationId xmlns:a16="http://schemas.microsoft.com/office/drawing/2014/main" id="{4B7E35A1-132C-754F-950B-7CBCB087D913}"/>
                  </a:ext>
                </a:extLst>
              </p:cNvPr>
              <p:cNvSpPr/>
              <p:nvPr userDrawn="1"/>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48" name="Rectangle 447">
                <a:extLst>
                  <a:ext uri="{FF2B5EF4-FFF2-40B4-BE49-F238E27FC236}">
                    <a16:creationId xmlns:a16="http://schemas.microsoft.com/office/drawing/2014/main" id="{20745239-C123-C44A-BB88-8EB50EDE843F}"/>
                  </a:ext>
                </a:extLst>
              </p:cNvPr>
              <p:cNvSpPr/>
              <p:nvPr userDrawn="1"/>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49" name="Rectangle 448">
                <a:extLst>
                  <a:ext uri="{FF2B5EF4-FFF2-40B4-BE49-F238E27FC236}">
                    <a16:creationId xmlns:a16="http://schemas.microsoft.com/office/drawing/2014/main" id="{55EBCF78-5308-C540-ABE3-CAF92FF8F600}"/>
                  </a:ext>
                </a:extLst>
              </p:cNvPr>
              <p:cNvSpPr/>
              <p:nvPr userDrawn="1"/>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sp>
        <p:nvSpPr>
          <p:cNvPr id="480" name="TextBox 479">
            <a:extLst>
              <a:ext uri="{FF2B5EF4-FFF2-40B4-BE49-F238E27FC236}">
                <a16:creationId xmlns:a16="http://schemas.microsoft.com/office/drawing/2014/main" id="{342D7EB4-B12F-644A-9E0A-98B8EF09117E}"/>
              </a:ext>
            </a:extLst>
          </p:cNvPr>
          <p:cNvSpPr txBox="1"/>
          <p:nvPr userDrawn="1"/>
        </p:nvSpPr>
        <p:spPr>
          <a:xfrm>
            <a:off x="304801" y="3126889"/>
            <a:ext cx="468077" cy="138499"/>
          </a:xfrm>
          <a:prstGeom prst="rect">
            <a:avLst/>
          </a:prstGeom>
          <a:noFill/>
        </p:spPr>
        <p:txBody>
          <a:bodyPr wrap="none" lIns="0" tIns="0" rIns="0" bIns="0" rtlCol="0">
            <a:spAutoFit/>
          </a:bodyPr>
          <a:lstStyle/>
          <a:p>
            <a:pPr marL="0" marR="0" lvl="0" indent="0" defTabSz="685778"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tx1"/>
                </a:solidFill>
                <a:effectLst/>
                <a:uLnTx/>
                <a:uFillTx/>
              </a:rPr>
              <a:t>6 column</a:t>
            </a:r>
          </a:p>
        </p:txBody>
      </p:sp>
      <p:sp>
        <p:nvSpPr>
          <p:cNvPr id="481" name="TextBox 480">
            <a:extLst>
              <a:ext uri="{FF2B5EF4-FFF2-40B4-BE49-F238E27FC236}">
                <a16:creationId xmlns:a16="http://schemas.microsoft.com/office/drawing/2014/main" id="{7056B7B5-7702-9842-8ACC-189B0B1EC818}"/>
              </a:ext>
            </a:extLst>
          </p:cNvPr>
          <p:cNvSpPr txBox="1"/>
          <p:nvPr userDrawn="1"/>
        </p:nvSpPr>
        <p:spPr>
          <a:xfrm>
            <a:off x="304801" y="3823114"/>
            <a:ext cx="468077" cy="138499"/>
          </a:xfrm>
          <a:prstGeom prst="rect">
            <a:avLst/>
          </a:prstGeom>
          <a:noFill/>
        </p:spPr>
        <p:txBody>
          <a:bodyPr wrap="none" lIns="0" tIns="0" rIns="0" bIns="0" rtlCol="0">
            <a:spAutoFit/>
          </a:bodyPr>
          <a:lstStyle/>
          <a:p>
            <a:pPr marL="0" marR="0" lvl="0" indent="0" defTabSz="685778"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tx1"/>
                </a:solidFill>
                <a:effectLst/>
                <a:uLnTx/>
                <a:uFillTx/>
              </a:rPr>
              <a:t>5 column</a:t>
            </a:r>
          </a:p>
        </p:txBody>
      </p:sp>
      <p:sp>
        <p:nvSpPr>
          <p:cNvPr id="482" name="TextBox 481">
            <a:extLst>
              <a:ext uri="{FF2B5EF4-FFF2-40B4-BE49-F238E27FC236}">
                <a16:creationId xmlns:a16="http://schemas.microsoft.com/office/drawing/2014/main" id="{86211BCB-2DF9-6644-8DCD-BC5B31A507D4}"/>
              </a:ext>
            </a:extLst>
          </p:cNvPr>
          <p:cNvSpPr txBox="1"/>
          <p:nvPr userDrawn="1"/>
        </p:nvSpPr>
        <p:spPr>
          <a:xfrm>
            <a:off x="304801" y="4456626"/>
            <a:ext cx="468077" cy="138499"/>
          </a:xfrm>
          <a:prstGeom prst="rect">
            <a:avLst/>
          </a:prstGeom>
          <a:noFill/>
        </p:spPr>
        <p:txBody>
          <a:bodyPr wrap="none" lIns="0" tIns="0" rIns="0" bIns="0" rtlCol="0">
            <a:spAutoFit/>
          </a:bodyPr>
          <a:lstStyle/>
          <a:p>
            <a:pPr marL="0" marR="0" lvl="0" indent="0" defTabSz="685778"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tx1"/>
                </a:solidFill>
                <a:effectLst/>
                <a:uLnTx/>
                <a:uFillTx/>
              </a:rPr>
              <a:t>4 column</a:t>
            </a:r>
          </a:p>
        </p:txBody>
      </p:sp>
      <p:sp>
        <p:nvSpPr>
          <p:cNvPr id="483" name="TextBox 482">
            <a:extLst>
              <a:ext uri="{FF2B5EF4-FFF2-40B4-BE49-F238E27FC236}">
                <a16:creationId xmlns:a16="http://schemas.microsoft.com/office/drawing/2014/main" id="{480A6B41-B33C-4544-AA80-B05EA7E4F5F8}"/>
              </a:ext>
            </a:extLst>
          </p:cNvPr>
          <p:cNvSpPr txBox="1"/>
          <p:nvPr userDrawn="1"/>
        </p:nvSpPr>
        <p:spPr>
          <a:xfrm>
            <a:off x="304801" y="5094907"/>
            <a:ext cx="468077" cy="138499"/>
          </a:xfrm>
          <a:prstGeom prst="rect">
            <a:avLst/>
          </a:prstGeom>
          <a:noFill/>
        </p:spPr>
        <p:txBody>
          <a:bodyPr wrap="none" lIns="0" tIns="0" rIns="0" bIns="0" rtlCol="0">
            <a:spAutoFit/>
          </a:bodyPr>
          <a:lstStyle/>
          <a:p>
            <a:pPr marL="0" marR="0" lvl="0" indent="0" defTabSz="685778"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tx1"/>
                </a:solidFill>
                <a:effectLst/>
                <a:uLnTx/>
                <a:uFillTx/>
              </a:rPr>
              <a:t>3 column</a:t>
            </a:r>
          </a:p>
        </p:txBody>
      </p:sp>
      <p:sp>
        <p:nvSpPr>
          <p:cNvPr id="484" name="TextBox 483">
            <a:extLst>
              <a:ext uri="{FF2B5EF4-FFF2-40B4-BE49-F238E27FC236}">
                <a16:creationId xmlns:a16="http://schemas.microsoft.com/office/drawing/2014/main" id="{29F7A788-CE98-6246-ADB3-ACDB5AD10573}"/>
              </a:ext>
            </a:extLst>
          </p:cNvPr>
          <p:cNvSpPr txBox="1"/>
          <p:nvPr userDrawn="1"/>
        </p:nvSpPr>
        <p:spPr>
          <a:xfrm>
            <a:off x="304801" y="5751328"/>
            <a:ext cx="468077" cy="138499"/>
          </a:xfrm>
          <a:prstGeom prst="rect">
            <a:avLst/>
          </a:prstGeom>
          <a:noFill/>
        </p:spPr>
        <p:txBody>
          <a:bodyPr wrap="none" lIns="0" tIns="0" rIns="0" bIns="0" rtlCol="0">
            <a:spAutoFit/>
          </a:bodyPr>
          <a:lstStyle/>
          <a:p>
            <a:pPr marL="0" marR="0" lvl="0" indent="0" defTabSz="685778"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tx1"/>
                </a:solidFill>
                <a:effectLst/>
                <a:uLnTx/>
                <a:uFillTx/>
              </a:rPr>
              <a:t>2 column</a:t>
            </a:r>
          </a:p>
        </p:txBody>
      </p:sp>
      <p:sp>
        <p:nvSpPr>
          <p:cNvPr id="164" name="Slide Number Placeholder 2">
            <a:extLst>
              <a:ext uri="{FF2B5EF4-FFF2-40B4-BE49-F238E27FC236}">
                <a16:creationId xmlns:a16="http://schemas.microsoft.com/office/drawing/2014/main" id="{F03B75DB-F93B-BB4A-88B7-BC503665EB12}"/>
              </a:ext>
            </a:extLst>
          </p:cNvPr>
          <p:cNvSpPr>
            <a:spLocks noGrp="1"/>
          </p:cNvSpPr>
          <p:nvPr>
            <p:ph type="sldNum" sz="quarter" idx="10"/>
          </p:nvPr>
        </p:nvSpPr>
        <p:spPr>
          <a:xfrm>
            <a:off x="2" y="6553202"/>
            <a:ext cx="304799" cy="304799"/>
          </a:xfrm>
        </p:spPr>
        <p:txBody>
          <a:bodyPr/>
          <a:lstStyle/>
          <a:p>
            <a:fld id="{89006F1E-66CD-4A4B-9370-B4A3080F0E6C}" type="slidenum">
              <a:rPr lang="en-US" smtClean="0"/>
              <a:pPr/>
              <a:t>‹#›</a:t>
            </a:fld>
            <a:endParaRPr lang="en-US"/>
          </a:p>
        </p:txBody>
      </p:sp>
      <p:sp>
        <p:nvSpPr>
          <p:cNvPr id="165" name="Footer Placeholder 1">
            <a:extLst>
              <a:ext uri="{FF2B5EF4-FFF2-40B4-BE49-F238E27FC236}">
                <a16:creationId xmlns:a16="http://schemas.microsoft.com/office/drawing/2014/main" id="{32024396-8CE7-064A-913E-52749C1A59C6}"/>
              </a:ext>
            </a:extLst>
          </p:cNvPr>
          <p:cNvSpPr>
            <a:spLocks noGrp="1"/>
          </p:cNvSpPr>
          <p:nvPr>
            <p:ph type="ftr" sz="quarter" idx="14"/>
          </p:nvPr>
        </p:nvSpPr>
        <p:spPr>
          <a:xfrm>
            <a:off x="304802" y="6553201"/>
            <a:ext cx="3657601" cy="304800"/>
          </a:xfrm>
          <a:prstGeom prst="rect">
            <a:avLst/>
          </a:prstGeom>
        </p:spPr>
        <p:txBody>
          <a:bodyPr/>
          <a:lstStyle>
            <a:lvl1pPr>
              <a:defRPr>
                <a:solidFill>
                  <a:schemeClr val="accent5"/>
                </a:solidFill>
              </a:defRPr>
            </a:lvl1pPr>
          </a:lstStyle>
          <a:p>
            <a:r>
              <a:rPr lang="en-US">
                <a:ea typeface="MS PGothic" panose="020B0600070205080204" pitchFamily="34" charset="-128"/>
              </a:rPr>
              <a:t>Proprietary &amp; Confidential |  authoremail@thermofisher.com | 5-August-2020</a:t>
            </a:r>
          </a:p>
        </p:txBody>
      </p:sp>
      <p:grpSp>
        <p:nvGrpSpPr>
          <p:cNvPr id="12" name="Group 11">
            <a:extLst>
              <a:ext uri="{FF2B5EF4-FFF2-40B4-BE49-F238E27FC236}">
                <a16:creationId xmlns:a16="http://schemas.microsoft.com/office/drawing/2014/main" id="{6F86E547-682A-6B4F-B0EC-65D336F3A540}"/>
              </a:ext>
            </a:extLst>
          </p:cNvPr>
          <p:cNvGrpSpPr/>
          <p:nvPr userDrawn="1"/>
        </p:nvGrpSpPr>
        <p:grpSpPr>
          <a:xfrm>
            <a:off x="300227" y="876301"/>
            <a:ext cx="11586972" cy="5676899"/>
            <a:chOff x="300227" y="876301"/>
            <a:chExt cx="11586972" cy="5676899"/>
          </a:xfrm>
        </p:grpSpPr>
        <p:sp>
          <p:nvSpPr>
            <p:cNvPr id="3" name="Rectangle 2">
              <a:extLst>
                <a:ext uri="{FF2B5EF4-FFF2-40B4-BE49-F238E27FC236}">
                  <a16:creationId xmlns:a16="http://schemas.microsoft.com/office/drawing/2014/main" id="{8EE04DA2-78B1-A642-A2C2-0873783B7B9C}"/>
                </a:ext>
              </a:extLst>
            </p:cNvPr>
            <p:cNvSpPr/>
            <p:nvPr userDrawn="1"/>
          </p:nvSpPr>
          <p:spPr>
            <a:xfrm>
              <a:off x="300227" y="876301"/>
              <a:ext cx="11586972" cy="5676899"/>
            </a:xfrm>
            <a:prstGeom prst="rect">
              <a:avLst/>
            </a:prstGeom>
            <a:noFill/>
            <a:ln>
              <a:solidFill>
                <a:schemeClr val="accent5">
                  <a:lumMod val="60000"/>
                  <a:lumOff val="40000"/>
                </a:schemeClr>
              </a:solidFill>
              <a:prstDash val="dash"/>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350"/>
            </a:p>
          </p:txBody>
        </p:sp>
        <p:cxnSp>
          <p:nvCxnSpPr>
            <p:cNvPr id="5" name="Straight Arrow Connector 4">
              <a:extLst>
                <a:ext uri="{FF2B5EF4-FFF2-40B4-BE49-F238E27FC236}">
                  <a16:creationId xmlns:a16="http://schemas.microsoft.com/office/drawing/2014/main" id="{73EED049-4AD2-0B49-BBEA-A4247ECC89A5}"/>
                </a:ext>
              </a:extLst>
            </p:cNvPr>
            <p:cNvCxnSpPr/>
            <p:nvPr userDrawn="1"/>
          </p:nvCxnSpPr>
          <p:spPr>
            <a:xfrm>
              <a:off x="474651" y="876301"/>
              <a:ext cx="0" cy="174504"/>
            </a:xfrm>
            <a:prstGeom prst="straightConnector1">
              <a:avLst/>
            </a:prstGeom>
            <a:ln w="12700">
              <a:solidFill>
                <a:schemeClr val="accent5"/>
              </a:solidFill>
              <a:tailEnd type="arrow"/>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1BA01FDD-B887-5D48-9BCC-AB3E59DA8C44}"/>
                </a:ext>
              </a:extLst>
            </p:cNvPr>
            <p:cNvSpPr txBox="1"/>
            <p:nvPr userDrawn="1"/>
          </p:nvSpPr>
          <p:spPr>
            <a:xfrm>
              <a:off x="579276" y="905884"/>
              <a:ext cx="3517997" cy="174504"/>
            </a:xfrm>
            <a:prstGeom prst="rect">
              <a:avLst/>
            </a:prstGeom>
            <a:noFill/>
          </p:spPr>
          <p:txBody>
            <a:bodyPr wrap="none" lIns="0" tIns="0" rIns="0" bIns="0" rtlCol="0">
              <a:normAutofit/>
            </a:bodyPr>
            <a:lstStyle/>
            <a:p>
              <a:pPr marL="0" indent="0" algn="l" defTabSz="685778">
                <a:lnSpc>
                  <a:spcPct val="120000"/>
                </a:lnSpc>
                <a:spcBef>
                  <a:spcPts val="150"/>
                </a:spcBef>
                <a:buClr>
                  <a:schemeClr val="tx2"/>
                </a:buClr>
                <a:buSzPct val="100000"/>
                <a:buFont typeface="Arial" panose="020B0604020202020204" pitchFamily="34" charset="0"/>
                <a:buNone/>
              </a:pPr>
              <a:r>
                <a:rPr lang="en-US" sz="788"/>
                <a:t>Safe zone</a:t>
              </a:r>
            </a:p>
          </p:txBody>
        </p:sp>
        <p:cxnSp>
          <p:nvCxnSpPr>
            <p:cNvPr id="171" name="Straight Arrow Connector 170">
              <a:extLst>
                <a:ext uri="{FF2B5EF4-FFF2-40B4-BE49-F238E27FC236}">
                  <a16:creationId xmlns:a16="http://schemas.microsoft.com/office/drawing/2014/main" id="{9BD67516-3606-FF42-BF2C-613E58799753}"/>
                </a:ext>
              </a:extLst>
            </p:cNvPr>
            <p:cNvCxnSpPr/>
            <p:nvPr userDrawn="1"/>
          </p:nvCxnSpPr>
          <p:spPr>
            <a:xfrm>
              <a:off x="474651" y="1455311"/>
              <a:ext cx="0" cy="174504"/>
            </a:xfrm>
            <a:prstGeom prst="straightConnector1">
              <a:avLst/>
            </a:prstGeom>
            <a:ln w="12700">
              <a:solidFill>
                <a:schemeClr val="accent5"/>
              </a:solidFill>
              <a:tailEnd type="arrow"/>
            </a:ln>
          </p:spPr>
          <p:style>
            <a:lnRef idx="1">
              <a:schemeClr val="accent1"/>
            </a:lnRef>
            <a:fillRef idx="0">
              <a:schemeClr val="accent1"/>
            </a:fillRef>
            <a:effectRef idx="0">
              <a:schemeClr val="accent1"/>
            </a:effectRef>
            <a:fontRef idx="minor">
              <a:schemeClr val="tx1"/>
            </a:fontRef>
          </p:style>
        </p:cxnSp>
        <p:sp>
          <p:nvSpPr>
            <p:cNvPr id="172" name="TextBox 171">
              <a:extLst>
                <a:ext uri="{FF2B5EF4-FFF2-40B4-BE49-F238E27FC236}">
                  <a16:creationId xmlns:a16="http://schemas.microsoft.com/office/drawing/2014/main" id="{4E864EDE-9D5F-984C-A44E-2B8534B762A2}"/>
                </a:ext>
              </a:extLst>
            </p:cNvPr>
            <p:cNvSpPr txBox="1"/>
            <p:nvPr userDrawn="1"/>
          </p:nvSpPr>
          <p:spPr>
            <a:xfrm>
              <a:off x="579276" y="1484894"/>
              <a:ext cx="3517997" cy="174504"/>
            </a:xfrm>
            <a:prstGeom prst="rect">
              <a:avLst/>
            </a:prstGeom>
            <a:noFill/>
          </p:spPr>
          <p:txBody>
            <a:bodyPr wrap="none" lIns="0" tIns="0" rIns="0" bIns="0" rtlCol="0">
              <a:normAutofit/>
            </a:bodyPr>
            <a:lstStyle/>
            <a:p>
              <a:pPr marL="0" indent="0" algn="l" defTabSz="685778">
                <a:lnSpc>
                  <a:spcPct val="120000"/>
                </a:lnSpc>
                <a:spcBef>
                  <a:spcPts val="150"/>
                </a:spcBef>
                <a:buClr>
                  <a:schemeClr val="tx2"/>
                </a:buClr>
                <a:buSzPct val="100000"/>
                <a:buFont typeface="Arial" panose="020B0604020202020204" pitchFamily="34" charset="0"/>
                <a:buNone/>
              </a:pPr>
              <a:r>
                <a:rPr lang="en-US" sz="788"/>
                <a:t>Safe zone with sub-title</a:t>
              </a:r>
            </a:p>
          </p:txBody>
        </p:sp>
        <p:cxnSp>
          <p:nvCxnSpPr>
            <p:cNvPr id="8" name="Straight Connector 7">
              <a:extLst>
                <a:ext uri="{FF2B5EF4-FFF2-40B4-BE49-F238E27FC236}">
                  <a16:creationId xmlns:a16="http://schemas.microsoft.com/office/drawing/2014/main" id="{11BD3366-59E4-7A48-9F82-4F24D0C736CB}"/>
                </a:ext>
              </a:extLst>
            </p:cNvPr>
            <p:cNvCxnSpPr>
              <a:cxnSpLocks/>
            </p:cNvCxnSpPr>
            <p:nvPr userDrawn="1"/>
          </p:nvCxnSpPr>
          <p:spPr>
            <a:xfrm>
              <a:off x="300227" y="1455311"/>
              <a:ext cx="11586972" cy="0"/>
            </a:xfrm>
            <a:prstGeom prst="line">
              <a:avLst/>
            </a:prstGeom>
            <a:noFill/>
            <a:ln>
              <a:solidFill>
                <a:schemeClr val="accent5">
                  <a:lumMod val="60000"/>
                  <a:lumOff val="40000"/>
                </a:schemeClr>
              </a:solidFill>
              <a:prstDash val="dash"/>
            </a:ln>
          </p:spPr>
          <p:style>
            <a:lnRef idx="2">
              <a:schemeClr val="accent6"/>
            </a:lnRef>
            <a:fillRef idx="1">
              <a:schemeClr val="lt1"/>
            </a:fillRef>
            <a:effectRef idx="0">
              <a:schemeClr val="accent6"/>
            </a:effectRef>
            <a:fontRef idx="minor">
              <a:schemeClr val="dk1"/>
            </a:fontRef>
          </p:style>
        </p:cxnSp>
      </p:grpSp>
      <p:grpSp>
        <p:nvGrpSpPr>
          <p:cNvPr id="16" name="Group 15">
            <a:extLst>
              <a:ext uri="{FF2B5EF4-FFF2-40B4-BE49-F238E27FC236}">
                <a16:creationId xmlns:a16="http://schemas.microsoft.com/office/drawing/2014/main" id="{69B2DC8A-7A6F-9644-8D71-F808322A48E6}"/>
              </a:ext>
            </a:extLst>
          </p:cNvPr>
          <p:cNvGrpSpPr/>
          <p:nvPr userDrawn="1"/>
        </p:nvGrpSpPr>
        <p:grpSpPr>
          <a:xfrm>
            <a:off x="2083984" y="1584075"/>
            <a:ext cx="8024037" cy="1628059"/>
            <a:chOff x="2105247" y="1591161"/>
            <a:chExt cx="8024037" cy="1628059"/>
          </a:xfrm>
        </p:grpSpPr>
        <p:pic>
          <p:nvPicPr>
            <p:cNvPr id="180" name="Picture 179">
              <a:extLst>
                <a:ext uri="{FF2B5EF4-FFF2-40B4-BE49-F238E27FC236}">
                  <a16:creationId xmlns:a16="http://schemas.microsoft.com/office/drawing/2014/main" id="{7DE60FB9-62FE-9C46-B40B-0229DBC6F0D9}"/>
                </a:ext>
              </a:extLst>
            </p:cNvPr>
            <p:cNvPicPr>
              <a:picLocks noChangeAspect="1"/>
            </p:cNvPicPr>
            <p:nvPr userDrawn="1"/>
          </p:nvPicPr>
          <p:blipFill>
            <a:blip r:embed="rId2" cstate="screen">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a:off x="3874331" y="1591161"/>
              <a:ext cx="4443338" cy="1542319"/>
            </a:xfrm>
            <a:prstGeom prst="rect">
              <a:avLst/>
            </a:prstGeom>
          </p:spPr>
        </p:pic>
        <p:sp>
          <p:nvSpPr>
            <p:cNvPr id="179" name="Parallelogram 178">
              <a:extLst>
                <a:ext uri="{FF2B5EF4-FFF2-40B4-BE49-F238E27FC236}">
                  <a16:creationId xmlns:a16="http://schemas.microsoft.com/office/drawing/2014/main" id="{C604ECB2-C049-5D43-9BEB-15DEE7EE1A1E}"/>
                </a:ext>
              </a:extLst>
            </p:cNvPr>
            <p:cNvSpPr>
              <a:spLocks/>
            </p:cNvSpPr>
            <p:nvPr userDrawn="1"/>
          </p:nvSpPr>
          <p:spPr bwMode="auto">
            <a:xfrm>
              <a:off x="2105247" y="1611455"/>
              <a:ext cx="8024037" cy="1607765"/>
            </a:xfrm>
            <a:prstGeom prst="parallelogram">
              <a:avLst>
                <a:gd name="adj" fmla="val 31844"/>
              </a:avLst>
            </a:prstGeom>
            <a:noFill/>
            <a:ln w="6350" cap="flat" cmpd="sng" algn="ctr">
              <a:solidFill>
                <a:schemeClr val="accent5">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685778" eaLnBrk="0" fontAlgn="base" hangingPunct="0">
                <a:spcBef>
                  <a:spcPct val="0"/>
                </a:spcBef>
                <a:spcAft>
                  <a:spcPct val="0"/>
                </a:spcAft>
              </a:pPr>
              <a:r>
                <a:rPr lang="en-US" sz="1350">
                  <a:latin typeface="Arial" pitchFamily="124" charset="0"/>
                </a:rPr>
                <a:t>     </a:t>
              </a:r>
            </a:p>
          </p:txBody>
        </p:sp>
        <p:cxnSp>
          <p:nvCxnSpPr>
            <p:cNvPr id="14" name="Straight Connector 13">
              <a:extLst>
                <a:ext uri="{FF2B5EF4-FFF2-40B4-BE49-F238E27FC236}">
                  <a16:creationId xmlns:a16="http://schemas.microsoft.com/office/drawing/2014/main" id="{995298F5-F7FE-A248-809C-3B79A412B130}"/>
                </a:ext>
              </a:extLst>
            </p:cNvPr>
            <p:cNvCxnSpPr/>
            <p:nvPr userDrawn="1"/>
          </p:nvCxnSpPr>
          <p:spPr>
            <a:xfrm flipV="1">
              <a:off x="6265284" y="1611455"/>
              <a:ext cx="516531" cy="1607765"/>
            </a:xfrm>
            <a:prstGeom prst="line">
              <a:avLst/>
            </a:prstGeom>
            <a:noFill/>
            <a:ln w="6350" cap="flat" cmpd="sng" algn="ctr">
              <a:solidFill>
                <a:schemeClr val="accent5">
                  <a:lumMod val="60000"/>
                  <a:lumOff val="40000"/>
                </a:schemeClr>
              </a:solidFill>
              <a:prstDash val="solid"/>
              <a:round/>
              <a:headEnd type="none" w="med" len="med"/>
              <a:tailEnd type="none" w="med" len="med"/>
            </a:ln>
            <a:effectLst/>
          </p:spPr>
        </p:cxnSp>
        <p:sp>
          <p:nvSpPr>
            <p:cNvPr id="186" name="TextBox 185">
              <a:extLst>
                <a:ext uri="{FF2B5EF4-FFF2-40B4-BE49-F238E27FC236}">
                  <a16:creationId xmlns:a16="http://schemas.microsoft.com/office/drawing/2014/main" id="{2E915A16-BE94-8648-888A-1C89BAA886EB}"/>
                </a:ext>
              </a:extLst>
            </p:cNvPr>
            <p:cNvSpPr txBox="1"/>
            <p:nvPr userDrawn="1"/>
          </p:nvSpPr>
          <p:spPr>
            <a:xfrm>
              <a:off x="2682698" y="2296374"/>
              <a:ext cx="873729" cy="174504"/>
            </a:xfrm>
            <a:prstGeom prst="rect">
              <a:avLst/>
            </a:prstGeom>
            <a:noFill/>
          </p:spPr>
          <p:txBody>
            <a:bodyPr wrap="none" lIns="0" tIns="0" rIns="0" bIns="0" rtlCol="0">
              <a:normAutofit/>
            </a:bodyPr>
            <a:lstStyle/>
            <a:p>
              <a:pPr marL="0" indent="0" algn="ctr" defTabSz="685778">
                <a:lnSpc>
                  <a:spcPct val="120000"/>
                </a:lnSpc>
                <a:spcBef>
                  <a:spcPts val="150"/>
                </a:spcBef>
                <a:buClr>
                  <a:schemeClr val="tx2"/>
                </a:buClr>
                <a:buSzPct val="100000"/>
                <a:buFont typeface="Arial" panose="020B0604020202020204" pitchFamily="34" charset="0"/>
                <a:buNone/>
              </a:pPr>
              <a:r>
                <a:rPr lang="en-US" sz="788"/>
                <a:t>Angle Guide</a:t>
              </a:r>
            </a:p>
          </p:txBody>
        </p:sp>
        <p:sp>
          <p:nvSpPr>
            <p:cNvPr id="187" name="TextBox 186">
              <a:extLst>
                <a:ext uri="{FF2B5EF4-FFF2-40B4-BE49-F238E27FC236}">
                  <a16:creationId xmlns:a16="http://schemas.microsoft.com/office/drawing/2014/main" id="{E5BD1D51-69A2-4F40-9366-6263E56C9410}"/>
                </a:ext>
              </a:extLst>
            </p:cNvPr>
            <p:cNvSpPr txBox="1"/>
            <p:nvPr userDrawn="1"/>
          </p:nvSpPr>
          <p:spPr>
            <a:xfrm>
              <a:off x="8580213" y="2296374"/>
              <a:ext cx="873729" cy="174504"/>
            </a:xfrm>
            <a:prstGeom prst="rect">
              <a:avLst/>
            </a:prstGeom>
            <a:noFill/>
          </p:spPr>
          <p:txBody>
            <a:bodyPr wrap="none" lIns="0" tIns="0" rIns="0" bIns="0" rtlCol="0">
              <a:normAutofit/>
            </a:bodyPr>
            <a:lstStyle/>
            <a:p>
              <a:pPr marL="0" indent="0" algn="ctr" defTabSz="685778">
                <a:lnSpc>
                  <a:spcPct val="120000"/>
                </a:lnSpc>
                <a:spcBef>
                  <a:spcPts val="150"/>
                </a:spcBef>
                <a:buClr>
                  <a:schemeClr val="tx2"/>
                </a:buClr>
                <a:buSzPct val="100000"/>
                <a:buFont typeface="Arial" panose="020B0604020202020204" pitchFamily="34" charset="0"/>
                <a:buNone/>
              </a:pPr>
              <a:r>
                <a:rPr lang="en-US" sz="788"/>
                <a:t>Angle Guide</a:t>
              </a:r>
            </a:p>
          </p:txBody>
        </p:sp>
        <p:cxnSp>
          <p:nvCxnSpPr>
            <p:cNvPr id="189" name="Straight Connector 188">
              <a:extLst>
                <a:ext uri="{FF2B5EF4-FFF2-40B4-BE49-F238E27FC236}">
                  <a16:creationId xmlns:a16="http://schemas.microsoft.com/office/drawing/2014/main" id="{C216DAF5-4369-B241-B946-0ED9F3E7EC5D}"/>
                </a:ext>
              </a:extLst>
            </p:cNvPr>
            <p:cNvCxnSpPr/>
            <p:nvPr userDrawn="1"/>
          </p:nvCxnSpPr>
          <p:spPr>
            <a:xfrm flipV="1">
              <a:off x="3649675" y="1611455"/>
              <a:ext cx="516531" cy="1607765"/>
            </a:xfrm>
            <a:prstGeom prst="line">
              <a:avLst/>
            </a:prstGeom>
            <a:noFill/>
            <a:ln w="6350" cap="flat" cmpd="sng" algn="ctr">
              <a:solidFill>
                <a:schemeClr val="accent5">
                  <a:lumMod val="60000"/>
                  <a:lumOff val="40000"/>
                </a:schemeClr>
              </a:solidFill>
              <a:prstDash val="solid"/>
              <a:round/>
              <a:headEnd type="none" w="med" len="med"/>
              <a:tailEnd type="none" w="med" len="med"/>
            </a:ln>
            <a:effectLst/>
          </p:spPr>
        </p:cxnSp>
        <p:cxnSp>
          <p:nvCxnSpPr>
            <p:cNvPr id="190" name="Straight Connector 189">
              <a:extLst>
                <a:ext uri="{FF2B5EF4-FFF2-40B4-BE49-F238E27FC236}">
                  <a16:creationId xmlns:a16="http://schemas.microsoft.com/office/drawing/2014/main" id="{8E1CD583-1C76-814A-860F-230F9D23AD6A}"/>
                </a:ext>
              </a:extLst>
            </p:cNvPr>
            <p:cNvCxnSpPr/>
            <p:nvPr userDrawn="1"/>
          </p:nvCxnSpPr>
          <p:spPr>
            <a:xfrm flipV="1">
              <a:off x="7921380" y="1611455"/>
              <a:ext cx="516531" cy="1607765"/>
            </a:xfrm>
            <a:prstGeom prst="line">
              <a:avLst/>
            </a:prstGeom>
            <a:noFill/>
            <a:ln w="6350" cap="flat" cmpd="sng" algn="ctr">
              <a:solidFill>
                <a:schemeClr val="accent5">
                  <a:lumMod val="60000"/>
                  <a:lumOff val="40000"/>
                </a:schemeClr>
              </a:solidFill>
              <a:prstDash val="solid"/>
              <a:round/>
              <a:headEnd type="none" w="med" len="med"/>
              <a:tailEnd type="none" w="med" len="med"/>
            </a:ln>
            <a:effectLst/>
          </p:spPr>
        </p:cxnSp>
      </p:grpSp>
    </p:spTree>
    <p:extLst>
      <p:ext uri="{BB962C8B-B14F-4D97-AF65-F5344CB8AC3E}">
        <p14:creationId xmlns:p14="http://schemas.microsoft.com/office/powerpoint/2010/main" val="4238497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2" name="Title"/>
          <p:cNvSpPr>
            <a:spLocks noGrp="1"/>
          </p:cNvSpPr>
          <p:nvPr>
            <p:ph type="title"/>
            <p:custDataLst>
              <p:tags r:id="rId1"/>
            </p:custDataLst>
          </p:nvPr>
        </p:nvSpPr>
        <p:spPr/>
        <p:txBody>
          <a:bodyPr/>
          <a:lstStyle/>
          <a:p>
            <a:r>
              <a:rPr lang="en-US"/>
              <a:t>Click to edit Master title style</a:t>
            </a:r>
          </a:p>
        </p:txBody>
      </p:sp>
      <p:sp>
        <p:nvSpPr>
          <p:cNvPr id="3" name="btfpLayoutConfig" hidden="1"/>
          <p:cNvSpPr txBox="1"/>
          <p:nvPr userDrawn="1">
            <p:custDataLst>
              <p:tags r:id="rId2"/>
            </p:custDataLst>
          </p:nvPr>
        </p:nvSpPr>
        <p:spPr bwMode="gray">
          <a:xfrm>
            <a:off x="16934" y="12701"/>
            <a:ext cx="413600" cy="69916"/>
          </a:xfrm>
          <a:prstGeom prst="rect">
            <a:avLst/>
          </a:prstGeom>
          <a:noFill/>
        </p:spPr>
        <p:txBody>
          <a:bodyPr vert="horz" wrap="none" lIns="27000" tIns="27000" rIns="27000" bIns="27000" rtlCol="0">
            <a:spAutoFit/>
          </a:bodyPr>
          <a:lstStyle/>
          <a:p>
            <a:pPr marL="0" indent="0">
              <a:buNone/>
            </a:pPr>
            <a:r>
              <a:rPr lang="en-US" sz="100">
                <a:solidFill>
                  <a:srgbClr val="FFFFFF">
                    <a:alpha val="0"/>
                  </a:srgbClr>
                </a:solidFill>
              </a:rPr>
              <a:t>overall_0_131722476803250252 columns_1_131722476803250252 </a:t>
            </a:r>
          </a:p>
        </p:txBody>
      </p:sp>
    </p:spTree>
    <p:extLst>
      <p:ext uri="{BB962C8B-B14F-4D97-AF65-F5344CB8AC3E}">
        <p14:creationId xmlns:p14="http://schemas.microsoft.com/office/powerpoint/2010/main" val="1094142851"/>
      </p:ext>
    </p:extLst>
  </p:cSld>
  <p:clrMapOvr>
    <a:masterClrMapping/>
  </p:clrMapOvr>
  <p:transition/>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2"/>
          <p:cNvSpPr>
            <a:spLocks noGrp="1"/>
          </p:cNvSpPr>
          <p:nvPr>
            <p:ph type="title"/>
            <p:custDataLst>
              <p:tags r:id="rId1"/>
            </p:custDataLst>
          </p:nvPr>
        </p:nvSpPr>
        <p:spPr/>
        <p:txBody>
          <a:bodyPr/>
          <a:lstStyle/>
          <a:p>
            <a:r>
              <a:rPr lang="en-US"/>
              <a:t>Click to edit Master title style</a:t>
            </a:r>
          </a:p>
        </p:txBody>
      </p:sp>
      <p:sp>
        <p:nvSpPr>
          <p:cNvPr id="5" name="Text Placeholder 5"/>
          <p:cNvSpPr>
            <a:spLocks noGrp="1"/>
          </p:cNvSpPr>
          <p:nvPr>
            <p:ph type="body" sz="quarter" idx="10"/>
            <p:custDataLst>
              <p:tags r:id="rId2"/>
            </p:custDataLst>
          </p:nvPr>
        </p:nvSpPr>
        <p:spPr>
          <a:xfrm>
            <a:off x="266701" y="5732206"/>
            <a:ext cx="11658600" cy="422532"/>
          </a:xfrm>
        </p:spPr>
        <p:txBody>
          <a:bodyPr lIns="0" tIns="0" rIns="0" bIns="0" anchor="b"/>
          <a:lstStyle>
            <a:lvl1pPr marL="0" indent="0">
              <a:buNone/>
              <a:defRPr sz="675">
                <a:solidFill>
                  <a:schemeClr val="accent5"/>
                </a:solidFill>
              </a:defRPr>
            </a:lvl1pPr>
          </a:lstStyle>
          <a:p>
            <a:pPr lvl="0"/>
            <a:endParaRPr lang="en-US"/>
          </a:p>
        </p:txBody>
      </p:sp>
    </p:spTree>
    <p:extLst>
      <p:ext uri="{BB962C8B-B14F-4D97-AF65-F5344CB8AC3E}">
        <p14:creationId xmlns:p14="http://schemas.microsoft.com/office/powerpoint/2010/main" val="1921416984"/>
      </p:ext>
    </p:extLst>
  </p:cSld>
  <p:clrMapOvr>
    <a:masterClrMapping/>
  </p:clrMapOvr>
  <p:transition>
    <p:fade/>
  </p:transition>
  <p:extLst>
    <p:ext uri="{DCECCB84-F9BA-43D5-87BE-67443E8EF086}">
      <p15:sldGuideLst xmlns:p15="http://schemas.microsoft.com/office/powerpoint/2012/main">
        <p15:guide id="1">
          <p15:clr>
            <a:srgbClr val="CCCCCC"/>
          </p15:clr>
        </p15:guide>
        <p15:guide id="2" pos="7680">
          <p15:clr>
            <a:srgbClr val="CCCCCC"/>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1_Title Slide">
    <p:bg>
      <p:bgPr>
        <a:gradFill>
          <a:gsLst>
            <a:gs pos="0">
              <a:schemeClr val="bg1"/>
            </a:gs>
            <a:gs pos="41000">
              <a:schemeClr val="bg1"/>
            </a:gs>
            <a:gs pos="63000">
              <a:schemeClr val="bg2"/>
            </a:gs>
          </a:gsLst>
          <a:lin ang="1080000" scaled="0"/>
        </a:gra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677DF418-A9B4-B748-8DE9-21DBD7EA3747}"/>
              </a:ext>
            </a:extLst>
          </p:cNvPr>
          <p:cNvPicPr>
            <a:picLocks noChangeAspect="1"/>
          </p:cNvPicPr>
          <p:nvPr userDrawn="1"/>
        </p:nvPicPr>
        <p:blipFill>
          <a:blip r:embed="rId2">
            <a:extLst>
              <a:ext uri="{28A0092B-C50C-407E-A947-70E740481C1C}">
                <a14:useLocalDpi xmlns:a14="http://schemas.microsoft.com/office/drawing/2010/main"/>
              </a:ext>
            </a:extLst>
          </a:blip>
          <a:srcRect l="2177" r="2177"/>
          <a:stretch>
            <a:fillRect/>
          </a:stretch>
        </p:blipFill>
        <p:spPr>
          <a:xfrm>
            <a:off x="5560460" y="3"/>
            <a:ext cx="6631541" cy="6857999"/>
          </a:xfrm>
          <a:custGeom>
            <a:avLst/>
            <a:gdLst>
              <a:gd name="connsiteX0" fmla="*/ 2183862 w 6631541"/>
              <a:gd name="connsiteY0" fmla="*/ 0 h 6857999"/>
              <a:gd name="connsiteX1" fmla="*/ 6631541 w 6631541"/>
              <a:gd name="connsiteY1" fmla="*/ 0 h 6857999"/>
              <a:gd name="connsiteX2" fmla="*/ 6631541 w 6631541"/>
              <a:gd name="connsiteY2" fmla="*/ 6857999 h 6857999"/>
              <a:gd name="connsiteX3" fmla="*/ 0 w 66315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6631541" h="6857999">
                <a:moveTo>
                  <a:pt x="2183862" y="0"/>
                </a:moveTo>
                <a:lnTo>
                  <a:pt x="6631541" y="0"/>
                </a:lnTo>
                <a:lnTo>
                  <a:pt x="6631541" y="6857999"/>
                </a:lnTo>
                <a:lnTo>
                  <a:pt x="0" y="6857999"/>
                </a:lnTo>
                <a:close/>
              </a:path>
            </a:pathLst>
          </a:custGeom>
        </p:spPr>
      </p:pic>
      <p:grpSp>
        <p:nvGrpSpPr>
          <p:cNvPr id="7" name="Group 6">
            <a:extLst>
              <a:ext uri="{FF2B5EF4-FFF2-40B4-BE49-F238E27FC236}">
                <a16:creationId xmlns:a16="http://schemas.microsoft.com/office/drawing/2014/main" id="{B1F511C6-A535-A245-B123-CC04435D2DAF}"/>
              </a:ext>
            </a:extLst>
          </p:cNvPr>
          <p:cNvGrpSpPr/>
          <p:nvPr userDrawn="1"/>
        </p:nvGrpSpPr>
        <p:grpSpPr>
          <a:xfrm>
            <a:off x="304801" y="0"/>
            <a:ext cx="2427682" cy="1044934"/>
            <a:chOff x="0" y="0"/>
            <a:chExt cx="2447693" cy="1053548"/>
          </a:xfrm>
        </p:grpSpPr>
        <p:sp>
          <p:nvSpPr>
            <p:cNvPr id="8" name="Parallelogram 7">
              <a:extLst>
                <a:ext uri="{FF2B5EF4-FFF2-40B4-BE49-F238E27FC236}">
                  <a16:creationId xmlns:a16="http://schemas.microsoft.com/office/drawing/2014/main" id="{6399281C-FD14-2942-9A9B-13B5E50B7517}"/>
                </a:ext>
              </a:extLst>
            </p:cNvPr>
            <p:cNvSpPr/>
            <p:nvPr userDrawn="1"/>
          </p:nvSpPr>
          <p:spPr bwMode="auto">
            <a:xfrm>
              <a:off x="0" y="0"/>
              <a:ext cx="2447693" cy="1053548"/>
            </a:xfrm>
            <a:prstGeom prst="parallelogram">
              <a:avLst>
                <a:gd name="adj" fmla="val 0"/>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685778" rtl="0" eaLnBrk="0" fontAlgn="base" latinLnBrk="0" hangingPunct="0">
                <a:lnSpc>
                  <a:spcPct val="100000"/>
                </a:lnSpc>
                <a:spcBef>
                  <a:spcPct val="0"/>
                </a:spcBef>
                <a:spcAft>
                  <a:spcPct val="0"/>
                </a:spcAft>
                <a:buClrTx/>
                <a:buSzTx/>
                <a:buFontTx/>
                <a:buNone/>
              </a:pPr>
              <a:r>
                <a:rPr lang="en-US" sz="1350">
                  <a:latin typeface="Arial" pitchFamily="124" charset="0"/>
                </a:rPr>
                <a:t>               </a:t>
              </a:r>
            </a:p>
          </p:txBody>
        </p:sp>
        <p:pic>
          <p:nvPicPr>
            <p:cNvPr id="9" name="Picture 8">
              <a:extLst>
                <a:ext uri="{FF2B5EF4-FFF2-40B4-BE49-F238E27FC236}">
                  <a16:creationId xmlns:a16="http://schemas.microsoft.com/office/drawing/2014/main" id="{7D60AD95-BD80-6049-9976-D024EC4ECDE8}"/>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35820" y="154984"/>
              <a:ext cx="2178058" cy="756021"/>
            </a:xfrm>
            <a:prstGeom prst="rect">
              <a:avLst/>
            </a:prstGeom>
          </p:spPr>
        </p:pic>
      </p:grpSp>
      <p:grpSp>
        <p:nvGrpSpPr>
          <p:cNvPr id="29" name="Group 28">
            <a:extLst>
              <a:ext uri="{FF2B5EF4-FFF2-40B4-BE49-F238E27FC236}">
                <a16:creationId xmlns:a16="http://schemas.microsoft.com/office/drawing/2014/main" id="{C22F9FBA-8765-F543-9501-7F99893993AB}"/>
              </a:ext>
            </a:extLst>
          </p:cNvPr>
          <p:cNvGrpSpPr/>
          <p:nvPr userDrawn="1"/>
        </p:nvGrpSpPr>
        <p:grpSpPr>
          <a:xfrm>
            <a:off x="283193" y="5970592"/>
            <a:ext cx="5053203" cy="441233"/>
            <a:chOff x="5155556" y="6168462"/>
            <a:chExt cx="5053203" cy="441233"/>
          </a:xfrm>
        </p:grpSpPr>
        <p:sp>
          <p:nvSpPr>
            <p:cNvPr id="30" name="TextBox 29">
              <a:extLst>
                <a:ext uri="{FF2B5EF4-FFF2-40B4-BE49-F238E27FC236}">
                  <a16:creationId xmlns:a16="http://schemas.microsoft.com/office/drawing/2014/main" id="{AA7B3D6A-876F-BF4D-9180-BC91EE9697B0}"/>
                </a:ext>
              </a:extLst>
            </p:cNvPr>
            <p:cNvSpPr txBox="1"/>
            <p:nvPr userDrawn="1"/>
          </p:nvSpPr>
          <p:spPr>
            <a:xfrm>
              <a:off x="5656050" y="6168462"/>
              <a:ext cx="4552709" cy="441233"/>
            </a:xfrm>
            <a:prstGeom prst="rect">
              <a:avLst/>
            </a:prstGeom>
            <a:noFill/>
          </p:spPr>
          <p:txBody>
            <a:bodyPr vert="horz" wrap="square" lIns="0" tIns="0" rIns="0" bIns="0" rtlCol="0" anchor="ctr" anchorCtr="0">
              <a:noAutofit/>
            </a:bodyPr>
            <a:lstStyle/>
            <a:p>
              <a:pPr marL="0" indent="0" algn="l">
                <a:spcBef>
                  <a:spcPts val="0"/>
                </a:spcBef>
                <a:buNone/>
              </a:pPr>
              <a:r>
                <a:rPr lang="en-US" sz="1500">
                  <a:solidFill>
                    <a:schemeClr val="tx1"/>
                  </a:solidFill>
                  <a:latin typeface="Arial"/>
                </a:rPr>
                <a:t>The world leader in serving science</a:t>
              </a:r>
            </a:p>
          </p:txBody>
        </p:sp>
        <p:sp>
          <p:nvSpPr>
            <p:cNvPr id="31" name="Parallelogram 30">
              <a:extLst>
                <a:ext uri="{FF2B5EF4-FFF2-40B4-BE49-F238E27FC236}">
                  <a16:creationId xmlns:a16="http://schemas.microsoft.com/office/drawing/2014/main" id="{05D00626-6EB1-244B-9ADB-13C2AE5E1907}"/>
                </a:ext>
              </a:extLst>
            </p:cNvPr>
            <p:cNvSpPr/>
            <p:nvPr userDrawn="1"/>
          </p:nvSpPr>
          <p:spPr bwMode="auto">
            <a:xfrm>
              <a:off x="5155556" y="6302295"/>
              <a:ext cx="310510" cy="188737"/>
            </a:xfrm>
            <a:prstGeom prst="parallelogram">
              <a:avLst>
                <a:gd name="adj" fmla="val 31844"/>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685778" rtl="0" eaLnBrk="0" fontAlgn="base" latinLnBrk="0" hangingPunct="0">
                <a:lnSpc>
                  <a:spcPct val="100000"/>
                </a:lnSpc>
                <a:spcBef>
                  <a:spcPct val="0"/>
                </a:spcBef>
                <a:spcAft>
                  <a:spcPct val="0"/>
                </a:spcAft>
                <a:buClrTx/>
                <a:buSzTx/>
                <a:buFontTx/>
                <a:buNone/>
              </a:pPr>
              <a:r>
                <a:rPr lang="en-US" sz="1350">
                  <a:latin typeface="Arial" pitchFamily="124" charset="0"/>
                </a:rPr>
                <a:t>               </a:t>
              </a:r>
            </a:p>
          </p:txBody>
        </p:sp>
      </p:grpSp>
      <p:sp>
        <p:nvSpPr>
          <p:cNvPr id="15" name="Text Placeholder 15">
            <a:extLst>
              <a:ext uri="{FF2B5EF4-FFF2-40B4-BE49-F238E27FC236}">
                <a16:creationId xmlns:a16="http://schemas.microsoft.com/office/drawing/2014/main" id="{8209BE38-5C75-4E48-AACA-BEDC106131D5}"/>
              </a:ext>
            </a:extLst>
          </p:cNvPr>
          <p:cNvSpPr>
            <a:spLocks noGrp="1"/>
          </p:cNvSpPr>
          <p:nvPr>
            <p:ph type="body" sz="quarter" idx="10" hasCustomPrompt="1"/>
          </p:nvPr>
        </p:nvSpPr>
        <p:spPr>
          <a:xfrm>
            <a:off x="304802" y="3903896"/>
            <a:ext cx="5791199" cy="308120"/>
          </a:xfrm>
          <a:prstGeom prst="rect">
            <a:avLst/>
          </a:prstGeom>
        </p:spPr>
        <p:txBody>
          <a:bodyPr lIns="0" tIns="0" rIns="0" bIns="0" anchor="b"/>
          <a:lstStyle>
            <a:lvl1pPr>
              <a:spcBef>
                <a:spcPct val="0"/>
              </a:spcBef>
              <a:spcAft>
                <a:spcPct val="0"/>
              </a:spcAft>
              <a:buFontTx/>
              <a:buNone/>
              <a:defRPr sz="1200" b="0" baseline="0">
                <a:solidFill>
                  <a:schemeClr val="tx2"/>
                </a:solidFill>
              </a:defRPr>
            </a:lvl1pPr>
            <a:lvl2pPr marL="85722" indent="3572">
              <a:spcAft>
                <a:spcPct val="0"/>
              </a:spcAft>
              <a:buFontTx/>
              <a:buNone/>
              <a:defRPr sz="1050" i="1" baseline="0">
                <a:solidFill>
                  <a:schemeClr val="tx1"/>
                </a:solidFill>
              </a:defRPr>
            </a:lvl2pPr>
          </a:lstStyle>
          <a:p>
            <a:pPr lvl="0"/>
            <a:r>
              <a:rPr lang="en-US"/>
              <a:t>Presenter name [16pt Arial] </a:t>
            </a:r>
          </a:p>
        </p:txBody>
      </p:sp>
      <p:sp>
        <p:nvSpPr>
          <p:cNvPr id="16" name="Title 16">
            <a:extLst>
              <a:ext uri="{FF2B5EF4-FFF2-40B4-BE49-F238E27FC236}">
                <a16:creationId xmlns:a16="http://schemas.microsoft.com/office/drawing/2014/main" id="{B2B8D3D1-6FA6-C04D-951C-FD0E7458C808}"/>
              </a:ext>
            </a:extLst>
          </p:cNvPr>
          <p:cNvSpPr>
            <a:spLocks noGrp="1"/>
          </p:cNvSpPr>
          <p:nvPr>
            <p:ph type="title" hasCustomPrompt="1"/>
          </p:nvPr>
        </p:nvSpPr>
        <p:spPr>
          <a:xfrm>
            <a:off x="304802" y="1726100"/>
            <a:ext cx="5791199" cy="2071868"/>
          </a:xfrm>
          <a:prstGeom prst="rect">
            <a:avLst/>
          </a:prstGeom>
          <a:noFill/>
        </p:spPr>
        <p:txBody>
          <a:bodyPr wrap="square" lIns="0" tIns="0" rIns="0" bIns="0" anchor="b">
            <a:noAutofit/>
          </a:bodyPr>
          <a:lstStyle>
            <a:lvl1pPr>
              <a:lnSpc>
                <a:spcPct val="110000"/>
              </a:lnSpc>
              <a:defRPr sz="2100" b="1">
                <a:solidFill>
                  <a:schemeClr val="tx1"/>
                </a:solidFill>
              </a:defRPr>
            </a:lvl1pPr>
          </a:lstStyle>
          <a:p>
            <a:r>
              <a:rPr lang="en-US"/>
              <a:t>Title [28pt Arial Bold] </a:t>
            </a:r>
          </a:p>
        </p:txBody>
      </p:sp>
      <p:sp>
        <p:nvSpPr>
          <p:cNvPr id="21" name="Text Placeholder 15">
            <a:extLst>
              <a:ext uri="{FF2B5EF4-FFF2-40B4-BE49-F238E27FC236}">
                <a16:creationId xmlns:a16="http://schemas.microsoft.com/office/drawing/2014/main" id="{046B4CC3-134E-7548-B9F5-FA5784CFD5AE}"/>
              </a:ext>
            </a:extLst>
          </p:cNvPr>
          <p:cNvSpPr>
            <a:spLocks noGrp="1"/>
          </p:cNvSpPr>
          <p:nvPr>
            <p:ph type="body" sz="quarter" idx="14" hasCustomPrompt="1"/>
          </p:nvPr>
        </p:nvSpPr>
        <p:spPr>
          <a:xfrm>
            <a:off x="304802" y="4255835"/>
            <a:ext cx="5791199" cy="1097215"/>
          </a:xfrm>
          <a:prstGeom prst="rect">
            <a:avLst/>
          </a:prstGeom>
        </p:spPr>
        <p:txBody>
          <a:bodyPr lIns="0" tIns="0" rIns="0" bIns="0" anchor="t">
            <a:normAutofit/>
          </a:bodyPr>
          <a:lstStyle>
            <a:lvl1pPr marL="134536" marR="0" indent="-134536" algn="l" defTabSz="685778" rtl="0" eaLnBrk="1" fontAlgn="auto" latinLnBrk="0" hangingPunct="1">
              <a:lnSpc>
                <a:spcPct val="120000"/>
              </a:lnSpc>
              <a:spcBef>
                <a:spcPct val="0"/>
              </a:spcBef>
              <a:spcAft>
                <a:spcPct val="0"/>
              </a:spcAft>
              <a:buClr>
                <a:schemeClr val="accent4"/>
              </a:buClr>
              <a:buSzTx/>
              <a:buFontTx/>
              <a:buNone/>
              <a:defRPr sz="1050" b="0" baseline="0">
                <a:solidFill>
                  <a:schemeClr val="tx1"/>
                </a:solidFill>
              </a:defRPr>
            </a:lvl1pPr>
            <a:lvl2pPr marL="85722" indent="3572">
              <a:spcAft>
                <a:spcPct val="0"/>
              </a:spcAft>
              <a:buFontTx/>
              <a:buNone/>
              <a:defRPr sz="1050" i="1" baseline="0">
                <a:solidFill>
                  <a:schemeClr val="tx1"/>
                </a:solidFill>
              </a:defRPr>
            </a:lvl2pPr>
          </a:lstStyle>
          <a:p>
            <a:pPr marL="308600" marR="0" lvl="0" indent="-308600" algn="l" defTabSz="685778" rtl="0" eaLnBrk="1" fontAlgn="auto" latinLnBrk="0" hangingPunct="1">
              <a:lnSpc>
                <a:spcPct val="120000"/>
              </a:lnSpc>
              <a:spcBef>
                <a:spcPct val="0"/>
              </a:spcBef>
              <a:spcAft>
                <a:spcPct val="0"/>
              </a:spcAft>
              <a:buClr>
                <a:schemeClr val="accent4"/>
              </a:buClr>
              <a:buSzTx/>
              <a:buFontTx/>
              <a:buNone/>
              <a:defRPr/>
            </a:pPr>
            <a:r>
              <a:rPr lang="en-US"/>
              <a:t>Presenter Title [14pt Arial]</a:t>
            </a:r>
            <a:br>
              <a:rPr lang="en-US"/>
            </a:br>
            <a:r>
              <a:rPr lang="en-US"/>
              <a:t>Date [14pt Arial] </a:t>
            </a:r>
          </a:p>
        </p:txBody>
      </p:sp>
      <p:sp>
        <p:nvSpPr>
          <p:cNvPr id="19" name="Footer Placeholder 1">
            <a:extLst>
              <a:ext uri="{FF2B5EF4-FFF2-40B4-BE49-F238E27FC236}">
                <a16:creationId xmlns:a16="http://schemas.microsoft.com/office/drawing/2014/main" id="{BA129332-E471-D44D-8711-996E85A9EE29}"/>
              </a:ext>
            </a:extLst>
          </p:cNvPr>
          <p:cNvSpPr txBox="1">
            <a:spLocks/>
          </p:cNvSpPr>
          <p:nvPr userDrawn="1"/>
        </p:nvSpPr>
        <p:spPr>
          <a:xfrm>
            <a:off x="6790379" y="6553202"/>
            <a:ext cx="5096820" cy="304799"/>
          </a:xfrm>
          <a:prstGeom prst="rect">
            <a:avLst/>
          </a:prstGeom>
        </p:spPr>
        <p:txBody>
          <a:bodyPr vert="horz" lIns="68580" tIns="34290" rIns="68580" bIns="34290" rtlCol="0" anchor="ctr"/>
          <a:lstStyle>
            <a:defPPr>
              <a:defRPr lang="en-US"/>
            </a:defPPr>
            <a:lvl1pPr marL="0" indent="0" algn="l" defTabSz="711200" rtl="0" eaLnBrk="1" latinLnBrk="0" hangingPunct="1">
              <a:spcBef>
                <a:spcPts val="1200"/>
              </a:spcBef>
              <a:buNone/>
              <a:defRPr lang="en-US" sz="800" kern="1200">
                <a:solidFill>
                  <a:schemeClr val="accent5"/>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algn="r"/>
            <a:r>
              <a:rPr lang="en-US" sz="600"/>
              <a:t>This information is confidential; it is not to be relied on by any 3rd party without prior written consent.</a:t>
            </a:r>
          </a:p>
        </p:txBody>
      </p:sp>
      <p:sp>
        <p:nvSpPr>
          <p:cNvPr id="4" name="btfpLayoutConfig" hidden="1"/>
          <p:cNvSpPr txBox="1"/>
          <p:nvPr userDrawn="1"/>
        </p:nvSpPr>
        <p:spPr bwMode="gray">
          <a:xfrm>
            <a:off x="12700" y="12701"/>
            <a:ext cx="413600" cy="69916"/>
          </a:xfrm>
          <a:prstGeom prst="rect">
            <a:avLst/>
          </a:prstGeom>
          <a:noFill/>
        </p:spPr>
        <p:txBody>
          <a:bodyPr vert="horz" wrap="none" lIns="27000" tIns="27000" rIns="27000" bIns="27000" rtlCol="0">
            <a:spAutoFit/>
          </a:bodyPr>
          <a:lstStyle/>
          <a:p>
            <a:pPr marL="0" indent="0">
              <a:buNone/>
            </a:pPr>
            <a:r>
              <a:rPr lang="en-US" sz="100">
                <a:solidFill>
                  <a:srgbClr val="FFFFFF">
                    <a:alpha val="0"/>
                  </a:srgbClr>
                </a:solidFill>
              </a:rPr>
              <a:t>overall_0_132430381019304322 columns_1_132430381019304322 </a:t>
            </a:r>
            <a:endParaRPr lang="en-US" sz="100" err="1">
              <a:solidFill>
                <a:srgbClr val="FFFFFF">
                  <a:alpha val="0"/>
                </a:srgbClr>
              </a:solidFill>
            </a:endParaRPr>
          </a:p>
        </p:txBody>
      </p:sp>
      <p:sp>
        <p:nvSpPr>
          <p:cNvPr id="18" name="Footer Placeholder 1">
            <a:extLst>
              <a:ext uri="{FF2B5EF4-FFF2-40B4-BE49-F238E27FC236}">
                <a16:creationId xmlns:a16="http://schemas.microsoft.com/office/drawing/2014/main" id="{BA129332-E471-D44D-8711-996E85A9EE29}"/>
              </a:ext>
            </a:extLst>
          </p:cNvPr>
          <p:cNvSpPr txBox="1">
            <a:spLocks/>
          </p:cNvSpPr>
          <p:nvPr userDrawn="1"/>
        </p:nvSpPr>
        <p:spPr>
          <a:xfrm>
            <a:off x="304800" y="6553202"/>
            <a:ext cx="3657600" cy="304799"/>
          </a:xfrm>
          <a:prstGeom prst="rect">
            <a:avLst/>
          </a:prstGeom>
        </p:spPr>
        <p:txBody>
          <a:bodyPr vert="horz" lIns="68580" tIns="34290" rIns="68580" bIns="34290" rtlCol="0" anchor="ctr"/>
          <a:lstStyle>
            <a:defPPr>
              <a:defRPr lang="en-US"/>
            </a:defPPr>
            <a:lvl1pPr marL="0" indent="0" algn="l" defTabSz="711200" rtl="0" eaLnBrk="1" latinLnBrk="0" hangingPunct="1">
              <a:spcBef>
                <a:spcPts val="1200"/>
              </a:spcBef>
              <a:buNone/>
              <a:defRPr lang="en-US" sz="800" kern="1200">
                <a:solidFill>
                  <a:schemeClr val="accent5"/>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r>
              <a:rPr lang="en-US" sz="600"/>
              <a:t>Proprietary &amp; Confidential </a:t>
            </a:r>
          </a:p>
        </p:txBody>
      </p:sp>
      <p:sp>
        <p:nvSpPr>
          <p:cNvPr id="20" name="Slide Number Placeholder 2">
            <a:extLst>
              <a:ext uri="{FF2B5EF4-FFF2-40B4-BE49-F238E27FC236}">
                <a16:creationId xmlns:a16="http://schemas.microsoft.com/office/drawing/2014/main" id="{B4F77913-5D2C-C141-AB22-388096EB8230}"/>
              </a:ext>
            </a:extLst>
          </p:cNvPr>
          <p:cNvSpPr txBox="1">
            <a:spLocks/>
          </p:cNvSpPr>
          <p:nvPr userDrawn="1"/>
        </p:nvSpPr>
        <p:spPr>
          <a:xfrm>
            <a:off x="2" y="6553202"/>
            <a:ext cx="304799" cy="304799"/>
          </a:xfrm>
          <a:prstGeom prst="rect">
            <a:avLst/>
          </a:prstGeom>
        </p:spPr>
        <p:txBody>
          <a:bodyPr vert="horz" lIns="0" tIns="0" rIns="0" bIns="0" rtlCol="0" anchor="ctr"/>
          <a:lstStyle>
            <a:defPPr>
              <a:defRPr lang="en-US"/>
            </a:defPPr>
            <a:lvl1pPr marL="0" indent="0" algn="ctr" defTabSz="711200" rtl="0" eaLnBrk="1" latinLnBrk="0" hangingPunct="1">
              <a:spcBef>
                <a:spcPts val="0"/>
              </a:spcBef>
              <a:buNone/>
              <a:defRPr sz="1000" kern="1200">
                <a:solidFill>
                  <a:schemeClr val="accent5"/>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fld id="{89006F1E-66CD-4A4B-9370-B4A3080F0E6C}" type="slidenum">
              <a:rPr lang="en-US" sz="750" smtClean="0"/>
              <a:pPr/>
              <a:t>‹#›</a:t>
            </a:fld>
            <a:endParaRPr lang="en-US" sz="750"/>
          </a:p>
        </p:txBody>
      </p:sp>
    </p:spTree>
    <p:extLst>
      <p:ext uri="{BB962C8B-B14F-4D97-AF65-F5344CB8AC3E}">
        <p14:creationId xmlns:p14="http://schemas.microsoft.com/office/powerpoint/2010/main" val="21527917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pos="192">
          <p15:clr>
            <a:srgbClr val="CCCCCC"/>
          </p15:clr>
        </p15:guide>
        <p15:guide id="2" pos="7488">
          <p15:clr>
            <a:srgbClr val="CCCCCC"/>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efault title slide 1">
    <p:bg>
      <p:bgPr>
        <a:gradFill>
          <a:gsLst>
            <a:gs pos="0">
              <a:schemeClr val="bg1"/>
            </a:gs>
            <a:gs pos="41000">
              <a:schemeClr val="bg1"/>
            </a:gs>
            <a:gs pos="63000">
              <a:schemeClr val="bg2"/>
            </a:gs>
          </a:gsLst>
          <a:lin ang="1080000" scaled="0"/>
        </a:gra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677DF418-A9B4-B748-8DE9-21DBD7EA3747}"/>
              </a:ext>
            </a:extLst>
          </p:cNvPr>
          <p:cNvPicPr>
            <a:picLocks noChangeAspect="1"/>
          </p:cNvPicPr>
          <p:nvPr userDrawn="1"/>
        </p:nvPicPr>
        <p:blipFill>
          <a:blip r:embed="rId2" cstate="screen">
            <a:extLst>
              <a:ext uri="{28A0092B-C50C-407E-A947-70E740481C1C}">
                <a14:useLocalDpi xmlns:a14="http://schemas.microsoft.com/office/drawing/2010/main"/>
              </a:ext>
            </a:extLst>
          </a:blip>
          <a:srcRect l="2177" r="2177"/>
          <a:stretch>
            <a:fillRect/>
          </a:stretch>
        </p:blipFill>
        <p:spPr>
          <a:xfrm>
            <a:off x="5560460" y="3"/>
            <a:ext cx="6631541" cy="6857999"/>
          </a:xfrm>
          <a:custGeom>
            <a:avLst/>
            <a:gdLst>
              <a:gd name="connsiteX0" fmla="*/ 2183862 w 6631541"/>
              <a:gd name="connsiteY0" fmla="*/ 0 h 6857999"/>
              <a:gd name="connsiteX1" fmla="*/ 6631541 w 6631541"/>
              <a:gd name="connsiteY1" fmla="*/ 0 h 6857999"/>
              <a:gd name="connsiteX2" fmla="*/ 6631541 w 6631541"/>
              <a:gd name="connsiteY2" fmla="*/ 6857999 h 6857999"/>
              <a:gd name="connsiteX3" fmla="*/ 0 w 66315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6631541" h="6857999">
                <a:moveTo>
                  <a:pt x="2183862" y="0"/>
                </a:moveTo>
                <a:lnTo>
                  <a:pt x="6631541" y="0"/>
                </a:lnTo>
                <a:lnTo>
                  <a:pt x="6631541" y="6857999"/>
                </a:lnTo>
                <a:lnTo>
                  <a:pt x="0" y="6857999"/>
                </a:lnTo>
                <a:close/>
              </a:path>
            </a:pathLst>
          </a:custGeom>
        </p:spPr>
      </p:pic>
      <p:grpSp>
        <p:nvGrpSpPr>
          <p:cNvPr id="7" name="Group 6">
            <a:extLst>
              <a:ext uri="{FF2B5EF4-FFF2-40B4-BE49-F238E27FC236}">
                <a16:creationId xmlns:a16="http://schemas.microsoft.com/office/drawing/2014/main" id="{B1F511C6-A535-A245-B123-CC04435D2DAF}"/>
              </a:ext>
            </a:extLst>
          </p:cNvPr>
          <p:cNvGrpSpPr/>
          <p:nvPr userDrawn="1"/>
        </p:nvGrpSpPr>
        <p:grpSpPr>
          <a:xfrm>
            <a:off x="304801" y="0"/>
            <a:ext cx="2427682" cy="1044934"/>
            <a:chOff x="0" y="0"/>
            <a:chExt cx="2447693" cy="1053548"/>
          </a:xfrm>
        </p:grpSpPr>
        <p:sp>
          <p:nvSpPr>
            <p:cNvPr id="8" name="Parallelogram 7">
              <a:extLst>
                <a:ext uri="{FF2B5EF4-FFF2-40B4-BE49-F238E27FC236}">
                  <a16:creationId xmlns:a16="http://schemas.microsoft.com/office/drawing/2014/main" id="{6399281C-FD14-2942-9A9B-13B5E50B7517}"/>
                </a:ext>
              </a:extLst>
            </p:cNvPr>
            <p:cNvSpPr/>
            <p:nvPr userDrawn="1"/>
          </p:nvSpPr>
          <p:spPr bwMode="auto">
            <a:xfrm>
              <a:off x="0" y="0"/>
              <a:ext cx="2447693" cy="1053548"/>
            </a:xfrm>
            <a:prstGeom prst="parallelogram">
              <a:avLst>
                <a:gd name="adj" fmla="val 0"/>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685778" rtl="0" eaLnBrk="0" fontAlgn="base" latinLnBrk="0" hangingPunct="0">
                <a:lnSpc>
                  <a:spcPct val="100000"/>
                </a:lnSpc>
                <a:spcBef>
                  <a:spcPct val="0"/>
                </a:spcBef>
                <a:spcAft>
                  <a:spcPct val="0"/>
                </a:spcAft>
                <a:buClrTx/>
                <a:buSzTx/>
                <a:buFontTx/>
                <a:buNone/>
                <a:tabLst/>
              </a:pPr>
              <a:r>
                <a:rPr lang="en-US" sz="1350">
                  <a:latin typeface="Arial" pitchFamily="124" charset="0"/>
                </a:rPr>
                <a:t>               </a:t>
              </a:r>
            </a:p>
          </p:txBody>
        </p:sp>
        <p:pic>
          <p:nvPicPr>
            <p:cNvPr id="9" name="Picture 8">
              <a:extLst>
                <a:ext uri="{FF2B5EF4-FFF2-40B4-BE49-F238E27FC236}">
                  <a16:creationId xmlns:a16="http://schemas.microsoft.com/office/drawing/2014/main" id="{7D60AD95-BD80-6049-9976-D024EC4ECDE8}"/>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35820" y="154984"/>
              <a:ext cx="2178058" cy="756021"/>
            </a:xfrm>
            <a:prstGeom prst="rect">
              <a:avLst/>
            </a:prstGeom>
          </p:spPr>
        </p:pic>
      </p:grpSp>
      <p:grpSp>
        <p:nvGrpSpPr>
          <p:cNvPr id="29" name="Group 28">
            <a:extLst>
              <a:ext uri="{FF2B5EF4-FFF2-40B4-BE49-F238E27FC236}">
                <a16:creationId xmlns:a16="http://schemas.microsoft.com/office/drawing/2014/main" id="{C22F9FBA-8765-F543-9501-7F99893993AB}"/>
              </a:ext>
            </a:extLst>
          </p:cNvPr>
          <p:cNvGrpSpPr/>
          <p:nvPr userDrawn="1"/>
        </p:nvGrpSpPr>
        <p:grpSpPr>
          <a:xfrm>
            <a:off x="283193" y="5970592"/>
            <a:ext cx="5053203" cy="441233"/>
            <a:chOff x="5155556" y="6168462"/>
            <a:chExt cx="5053203" cy="441233"/>
          </a:xfrm>
        </p:grpSpPr>
        <p:sp>
          <p:nvSpPr>
            <p:cNvPr id="30" name="TextBox 29">
              <a:extLst>
                <a:ext uri="{FF2B5EF4-FFF2-40B4-BE49-F238E27FC236}">
                  <a16:creationId xmlns:a16="http://schemas.microsoft.com/office/drawing/2014/main" id="{AA7B3D6A-876F-BF4D-9180-BC91EE9697B0}"/>
                </a:ext>
              </a:extLst>
            </p:cNvPr>
            <p:cNvSpPr txBox="1"/>
            <p:nvPr userDrawn="1"/>
          </p:nvSpPr>
          <p:spPr>
            <a:xfrm>
              <a:off x="5656050" y="6168462"/>
              <a:ext cx="4552709" cy="441233"/>
            </a:xfrm>
            <a:prstGeom prst="rect">
              <a:avLst/>
            </a:prstGeom>
            <a:noFill/>
          </p:spPr>
          <p:txBody>
            <a:bodyPr vert="horz" wrap="square" lIns="0" tIns="0" rIns="0" bIns="0" rtlCol="0" anchor="ctr" anchorCtr="0">
              <a:noAutofit/>
            </a:bodyPr>
            <a:lstStyle/>
            <a:p>
              <a:pPr algn="l"/>
              <a:r>
                <a:rPr lang="en-US" sz="1500">
                  <a:solidFill>
                    <a:schemeClr val="tx1"/>
                  </a:solidFill>
                  <a:latin typeface="Arial"/>
                </a:rPr>
                <a:t>The world leader in serving science</a:t>
              </a:r>
            </a:p>
          </p:txBody>
        </p:sp>
        <p:sp>
          <p:nvSpPr>
            <p:cNvPr id="31" name="Parallelogram 30">
              <a:extLst>
                <a:ext uri="{FF2B5EF4-FFF2-40B4-BE49-F238E27FC236}">
                  <a16:creationId xmlns:a16="http://schemas.microsoft.com/office/drawing/2014/main" id="{05D00626-6EB1-244B-9ADB-13C2AE5E1907}"/>
                </a:ext>
              </a:extLst>
            </p:cNvPr>
            <p:cNvSpPr/>
            <p:nvPr userDrawn="1"/>
          </p:nvSpPr>
          <p:spPr bwMode="auto">
            <a:xfrm>
              <a:off x="5155556" y="6302295"/>
              <a:ext cx="310510" cy="188737"/>
            </a:xfrm>
            <a:prstGeom prst="parallelogram">
              <a:avLst>
                <a:gd name="adj" fmla="val 31844"/>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685778" rtl="0" eaLnBrk="0" fontAlgn="base" latinLnBrk="0" hangingPunct="0">
                <a:lnSpc>
                  <a:spcPct val="100000"/>
                </a:lnSpc>
                <a:spcBef>
                  <a:spcPct val="0"/>
                </a:spcBef>
                <a:spcAft>
                  <a:spcPct val="0"/>
                </a:spcAft>
                <a:buClrTx/>
                <a:buSzTx/>
                <a:buFontTx/>
                <a:buNone/>
                <a:tabLst/>
              </a:pPr>
              <a:r>
                <a:rPr lang="en-US" sz="1350">
                  <a:latin typeface="Arial" pitchFamily="124" charset="0"/>
                </a:rPr>
                <a:t>               </a:t>
              </a:r>
            </a:p>
          </p:txBody>
        </p:sp>
      </p:grpSp>
      <p:sp>
        <p:nvSpPr>
          <p:cNvPr id="2" name="Footer Placeholder 1">
            <a:extLst>
              <a:ext uri="{FF2B5EF4-FFF2-40B4-BE49-F238E27FC236}">
                <a16:creationId xmlns:a16="http://schemas.microsoft.com/office/drawing/2014/main" id="{BA129332-E471-D44D-8711-996E85A9EE29}"/>
              </a:ext>
            </a:extLst>
          </p:cNvPr>
          <p:cNvSpPr>
            <a:spLocks noGrp="1"/>
          </p:cNvSpPr>
          <p:nvPr>
            <p:ph type="ftr" sz="quarter" idx="11"/>
          </p:nvPr>
        </p:nvSpPr>
        <p:spPr>
          <a:xfrm>
            <a:off x="304800" y="6553202"/>
            <a:ext cx="3657600" cy="304799"/>
          </a:xfrm>
        </p:spPr>
        <p:txBody>
          <a:bodyPr/>
          <a:lstStyle/>
          <a:p>
            <a:r>
              <a:rPr lang="en-US"/>
              <a:t>Proprietary &amp; Confidential |  authoremail@thermofisher.com | 5-August-2020</a:t>
            </a:r>
          </a:p>
        </p:txBody>
      </p:sp>
      <p:sp>
        <p:nvSpPr>
          <p:cNvPr id="3" name="Slide Number Placeholder 2">
            <a:extLst>
              <a:ext uri="{FF2B5EF4-FFF2-40B4-BE49-F238E27FC236}">
                <a16:creationId xmlns:a16="http://schemas.microsoft.com/office/drawing/2014/main" id="{B4F77913-5D2C-C141-AB22-388096EB8230}"/>
              </a:ext>
            </a:extLst>
          </p:cNvPr>
          <p:cNvSpPr>
            <a:spLocks noGrp="1"/>
          </p:cNvSpPr>
          <p:nvPr>
            <p:ph type="sldNum" sz="quarter" idx="12"/>
          </p:nvPr>
        </p:nvSpPr>
        <p:spPr/>
        <p:txBody>
          <a:bodyPr/>
          <a:lstStyle/>
          <a:p>
            <a:fld id="{89006F1E-66CD-4A4B-9370-B4A3080F0E6C}" type="slidenum">
              <a:rPr lang="en-US" smtClean="0"/>
              <a:pPr/>
              <a:t>‹#›</a:t>
            </a:fld>
            <a:endParaRPr lang="en-US"/>
          </a:p>
        </p:txBody>
      </p:sp>
      <p:sp>
        <p:nvSpPr>
          <p:cNvPr id="15" name="Text Placeholder 15">
            <a:extLst>
              <a:ext uri="{FF2B5EF4-FFF2-40B4-BE49-F238E27FC236}">
                <a16:creationId xmlns:a16="http://schemas.microsoft.com/office/drawing/2014/main" id="{8209BE38-5C75-4E48-AACA-BEDC106131D5}"/>
              </a:ext>
            </a:extLst>
          </p:cNvPr>
          <p:cNvSpPr>
            <a:spLocks noGrp="1"/>
          </p:cNvSpPr>
          <p:nvPr>
            <p:ph type="body" sz="quarter" idx="10" hasCustomPrompt="1"/>
          </p:nvPr>
        </p:nvSpPr>
        <p:spPr>
          <a:xfrm>
            <a:off x="304802" y="3903896"/>
            <a:ext cx="5791199" cy="308120"/>
          </a:xfrm>
          <a:prstGeom prst="rect">
            <a:avLst/>
          </a:prstGeom>
        </p:spPr>
        <p:txBody>
          <a:bodyPr lIns="0" tIns="0" rIns="0" bIns="0" anchor="b"/>
          <a:lstStyle>
            <a:lvl1pPr>
              <a:spcBef>
                <a:spcPts val="0"/>
              </a:spcBef>
              <a:spcAft>
                <a:spcPts val="0"/>
              </a:spcAft>
              <a:buFontTx/>
              <a:buNone/>
              <a:defRPr sz="1200" b="0" baseline="0">
                <a:solidFill>
                  <a:schemeClr val="tx2"/>
                </a:solidFill>
              </a:defRPr>
            </a:lvl1pPr>
            <a:lvl2pPr marL="85722" indent="3572">
              <a:spcAft>
                <a:spcPts val="0"/>
              </a:spcAft>
              <a:buFontTx/>
              <a:buNone/>
              <a:defRPr sz="1050" i="1" baseline="0">
                <a:solidFill>
                  <a:schemeClr val="tx1"/>
                </a:solidFill>
              </a:defRPr>
            </a:lvl2pPr>
          </a:lstStyle>
          <a:p>
            <a:pPr lvl="0"/>
            <a:r>
              <a:rPr lang="en-US"/>
              <a:t>Presenter name [16pt Arial] </a:t>
            </a:r>
          </a:p>
        </p:txBody>
      </p:sp>
      <p:sp>
        <p:nvSpPr>
          <p:cNvPr id="16" name="Title 16">
            <a:extLst>
              <a:ext uri="{FF2B5EF4-FFF2-40B4-BE49-F238E27FC236}">
                <a16:creationId xmlns:a16="http://schemas.microsoft.com/office/drawing/2014/main" id="{B2B8D3D1-6FA6-C04D-951C-FD0E7458C808}"/>
              </a:ext>
            </a:extLst>
          </p:cNvPr>
          <p:cNvSpPr>
            <a:spLocks noGrp="1"/>
          </p:cNvSpPr>
          <p:nvPr>
            <p:ph type="title" hasCustomPrompt="1"/>
          </p:nvPr>
        </p:nvSpPr>
        <p:spPr>
          <a:xfrm>
            <a:off x="304802" y="1726100"/>
            <a:ext cx="5791199" cy="2071868"/>
          </a:xfrm>
          <a:prstGeom prst="rect">
            <a:avLst/>
          </a:prstGeom>
          <a:noFill/>
        </p:spPr>
        <p:txBody>
          <a:bodyPr wrap="square" lIns="0" tIns="0" rIns="0" bIns="0" anchor="b">
            <a:noAutofit/>
          </a:bodyPr>
          <a:lstStyle>
            <a:lvl1pPr>
              <a:lnSpc>
                <a:spcPct val="110000"/>
              </a:lnSpc>
              <a:defRPr sz="2100" b="1">
                <a:solidFill>
                  <a:schemeClr val="tx1"/>
                </a:solidFill>
              </a:defRPr>
            </a:lvl1pPr>
          </a:lstStyle>
          <a:p>
            <a:r>
              <a:rPr lang="en-US"/>
              <a:t>Title [28pt Arial Bold] </a:t>
            </a:r>
          </a:p>
        </p:txBody>
      </p:sp>
      <p:sp>
        <p:nvSpPr>
          <p:cNvPr id="21" name="Text Placeholder 15">
            <a:extLst>
              <a:ext uri="{FF2B5EF4-FFF2-40B4-BE49-F238E27FC236}">
                <a16:creationId xmlns:a16="http://schemas.microsoft.com/office/drawing/2014/main" id="{046B4CC3-134E-7548-B9F5-FA5784CFD5AE}"/>
              </a:ext>
            </a:extLst>
          </p:cNvPr>
          <p:cNvSpPr>
            <a:spLocks noGrp="1"/>
          </p:cNvSpPr>
          <p:nvPr>
            <p:ph type="body" sz="quarter" idx="14" hasCustomPrompt="1"/>
          </p:nvPr>
        </p:nvSpPr>
        <p:spPr>
          <a:xfrm>
            <a:off x="304802" y="4255835"/>
            <a:ext cx="5791199" cy="1097215"/>
          </a:xfrm>
          <a:prstGeom prst="rect">
            <a:avLst/>
          </a:prstGeom>
        </p:spPr>
        <p:txBody>
          <a:bodyPr lIns="0" tIns="0" rIns="0" bIns="0" anchor="t">
            <a:normAutofit/>
          </a:bodyPr>
          <a:lstStyle>
            <a:lvl1pPr marL="134536" marR="0" indent="-134536" algn="l" defTabSz="685778" rtl="0" eaLnBrk="1" fontAlgn="auto" latinLnBrk="0" hangingPunct="1">
              <a:lnSpc>
                <a:spcPct val="120000"/>
              </a:lnSpc>
              <a:spcBef>
                <a:spcPts val="0"/>
              </a:spcBef>
              <a:spcAft>
                <a:spcPts val="0"/>
              </a:spcAft>
              <a:buClr>
                <a:schemeClr val="accent4"/>
              </a:buClr>
              <a:buSzPct val="100000"/>
              <a:buFontTx/>
              <a:buNone/>
              <a:tabLst/>
              <a:defRPr sz="1050" b="0" baseline="0">
                <a:solidFill>
                  <a:schemeClr val="tx1"/>
                </a:solidFill>
              </a:defRPr>
            </a:lvl1pPr>
            <a:lvl2pPr marL="85722" indent="3572">
              <a:spcAft>
                <a:spcPts val="0"/>
              </a:spcAft>
              <a:buFontTx/>
              <a:buNone/>
              <a:defRPr sz="1050" i="1" baseline="0">
                <a:solidFill>
                  <a:schemeClr val="tx1"/>
                </a:solidFill>
              </a:defRPr>
            </a:lvl2pPr>
          </a:lstStyle>
          <a:p>
            <a:pPr marL="308600" marR="0" lvl="0" indent="-308600" algn="l" defTabSz="685778" rtl="0" eaLnBrk="1" fontAlgn="auto" latinLnBrk="0" hangingPunct="1">
              <a:lnSpc>
                <a:spcPct val="120000"/>
              </a:lnSpc>
              <a:spcBef>
                <a:spcPts val="0"/>
              </a:spcBef>
              <a:spcAft>
                <a:spcPts val="0"/>
              </a:spcAft>
              <a:buClr>
                <a:schemeClr val="accent4"/>
              </a:buClr>
              <a:buSzPct val="100000"/>
              <a:buFontTx/>
              <a:buNone/>
              <a:tabLst/>
              <a:defRPr/>
            </a:pPr>
            <a:r>
              <a:rPr lang="en-US"/>
              <a:t>Presenter Title [14pt Arial]</a:t>
            </a:r>
            <a:br>
              <a:rPr lang="en-US"/>
            </a:br>
            <a:r>
              <a:rPr lang="en-US"/>
              <a:t>Date [14pt Arial] </a:t>
            </a:r>
          </a:p>
        </p:txBody>
      </p:sp>
    </p:spTree>
    <p:extLst>
      <p:ext uri="{BB962C8B-B14F-4D97-AF65-F5344CB8AC3E}">
        <p14:creationId xmlns:p14="http://schemas.microsoft.com/office/powerpoint/2010/main" val="46990967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23852" y="1065215"/>
            <a:ext cx="11569700" cy="4833937"/>
          </a:xfrm>
        </p:spPr>
        <p:txBody>
          <a:bodyPr/>
          <a:lstStyle>
            <a:lvl1pPr>
              <a:defRPr/>
            </a:lvl1pPr>
            <a:lvl2pPr>
              <a:defRPr baseline="0"/>
            </a:lvl2pPr>
            <a:lvl3pPr>
              <a:buClr>
                <a:schemeClr val="accent5">
                  <a:lumMod val="75000"/>
                </a:schemeClr>
              </a:buClr>
              <a:defRPr/>
            </a:lvl3pPr>
          </a:lstStyle>
          <a:p>
            <a:pPr lvl="0"/>
            <a:r>
              <a:rPr lang="en-US"/>
              <a:t>First level: Arial 20pt</a:t>
            </a:r>
          </a:p>
          <a:p>
            <a:pPr lvl="1"/>
            <a:r>
              <a:rPr lang="en-US"/>
              <a:t>Second level: Arial 18pt</a:t>
            </a:r>
          </a:p>
          <a:p>
            <a:pPr lvl="2"/>
            <a:r>
              <a:rPr lang="en-US"/>
              <a:t>Third level: Arial 16pt</a:t>
            </a: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2921003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pos="192">
          <p15:clr>
            <a:srgbClr val="CCCCCC"/>
          </p15:clr>
        </p15:guide>
        <p15:guide id="2" pos="3728">
          <p15:clr>
            <a:srgbClr val="CCCCCC"/>
          </p15:clr>
        </p15:guide>
        <p15:guide id="3" pos="3952">
          <p15:clr>
            <a:srgbClr val="CCCCCC"/>
          </p15:clr>
        </p15:guide>
        <p15:guide id="4" pos="7488">
          <p15:clr>
            <a:srgbClr val="CCCCCC"/>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Custom_1">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FCD351-FB49-4649-BD51-7F2228F8A180}"/>
              </a:ext>
            </a:extLst>
          </p:cNvPr>
          <p:cNvSpPr>
            <a:spLocks noGrp="1"/>
          </p:cNvSpPr>
          <p:nvPr>
            <p:ph type="title"/>
          </p:nvPr>
        </p:nvSpPr>
        <p:spPr>
          <a:xfrm>
            <a:off x="1364929" y="250319"/>
            <a:ext cx="8686801" cy="895029"/>
          </a:xfrm>
        </p:spPr>
        <p:txBody>
          <a:bodyPr anchor="ctr" anchorCtr="0"/>
          <a:lstStyle>
            <a:lvl1pPr>
              <a:defRPr>
                <a:solidFill>
                  <a:schemeClr val="tx2"/>
                </a:solidFill>
              </a:defRPr>
            </a:lvl1pPr>
          </a:lstStyle>
          <a:p>
            <a:r>
              <a:rPr lang="en-US"/>
              <a:t>Click to edit Master title style</a:t>
            </a:r>
          </a:p>
        </p:txBody>
      </p:sp>
      <p:sp>
        <p:nvSpPr>
          <p:cNvPr id="6" name="Text Placeholder 7">
            <a:extLst>
              <a:ext uri="{FF2B5EF4-FFF2-40B4-BE49-F238E27FC236}">
                <a16:creationId xmlns:a16="http://schemas.microsoft.com/office/drawing/2014/main" id="{AC6D37E8-5E1B-4025-9CB6-9AADD0B2F568}"/>
              </a:ext>
            </a:extLst>
          </p:cNvPr>
          <p:cNvSpPr>
            <a:spLocks noGrp="1"/>
          </p:cNvSpPr>
          <p:nvPr>
            <p:ph type="body" sz="quarter" idx="11" hasCustomPrompt="1"/>
          </p:nvPr>
        </p:nvSpPr>
        <p:spPr>
          <a:xfrm>
            <a:off x="304798" y="1268439"/>
            <a:ext cx="11591546" cy="381001"/>
          </a:xfrm>
          <a:prstGeom prst="rect">
            <a:avLst/>
          </a:prstGeom>
        </p:spPr>
        <p:txBody>
          <a:bodyPr lIns="0" tIns="0" rIns="0" bIns="0" anchor="t">
            <a:noAutofit/>
          </a:bodyPr>
          <a:lstStyle>
            <a:lvl1pPr marL="0" indent="0">
              <a:buNone/>
              <a:defRPr sz="1500">
                <a:solidFill>
                  <a:schemeClr val="tx1"/>
                </a:solidFill>
              </a:defRPr>
            </a:lvl1pPr>
          </a:lstStyle>
          <a:p>
            <a:pPr lvl="0"/>
            <a:r>
              <a:rPr lang="en-US"/>
              <a:t>Click to add </a:t>
            </a:r>
            <a:r>
              <a:rPr lang="en-US" err="1"/>
              <a:t>subheader</a:t>
            </a:r>
            <a:endParaRPr lang="en-US"/>
          </a:p>
        </p:txBody>
      </p:sp>
      <p:sp>
        <p:nvSpPr>
          <p:cNvPr id="7" name="Text Placeholder 7">
            <a:extLst>
              <a:ext uri="{FF2B5EF4-FFF2-40B4-BE49-F238E27FC236}">
                <a16:creationId xmlns:a16="http://schemas.microsoft.com/office/drawing/2014/main" id="{C1053C4D-3245-41E9-BC79-2133D6EFE62D}"/>
              </a:ext>
            </a:extLst>
          </p:cNvPr>
          <p:cNvSpPr>
            <a:spLocks noGrp="1"/>
          </p:cNvSpPr>
          <p:nvPr>
            <p:ph type="body" sz="quarter" idx="12" hasCustomPrompt="1"/>
          </p:nvPr>
        </p:nvSpPr>
        <p:spPr>
          <a:xfrm>
            <a:off x="304798" y="6055756"/>
            <a:ext cx="11582401" cy="489204"/>
          </a:xfrm>
          <a:prstGeom prst="rect">
            <a:avLst/>
          </a:prstGeom>
        </p:spPr>
        <p:txBody>
          <a:bodyPr anchor="b">
            <a:normAutofit/>
          </a:bodyPr>
          <a:lstStyle>
            <a:lvl1pPr marL="0" indent="0">
              <a:spcBef>
                <a:spcPts val="75"/>
              </a:spcBef>
              <a:buNone/>
              <a:defRPr sz="750">
                <a:solidFill>
                  <a:schemeClr val="accent5"/>
                </a:solidFill>
              </a:defRPr>
            </a:lvl1pPr>
          </a:lstStyle>
          <a:p>
            <a:pPr lvl="0"/>
            <a:r>
              <a:rPr lang="en-US"/>
              <a:t>Source notes</a:t>
            </a:r>
          </a:p>
        </p:txBody>
      </p:sp>
      <p:sp>
        <p:nvSpPr>
          <p:cNvPr id="8" name="Slide Number Placeholder 11">
            <a:extLst>
              <a:ext uri="{FF2B5EF4-FFF2-40B4-BE49-F238E27FC236}">
                <a16:creationId xmlns:a16="http://schemas.microsoft.com/office/drawing/2014/main" id="{43FDEDB6-CE04-F84B-AAD3-991730DCA9C0}"/>
              </a:ext>
            </a:extLst>
          </p:cNvPr>
          <p:cNvSpPr>
            <a:spLocks noGrp="1"/>
          </p:cNvSpPr>
          <p:nvPr>
            <p:ph type="sldNum" sz="quarter" idx="10"/>
          </p:nvPr>
        </p:nvSpPr>
        <p:spPr>
          <a:xfrm>
            <a:off x="2" y="6553202"/>
            <a:ext cx="304799" cy="304799"/>
          </a:xfrm>
        </p:spPr>
        <p:txBody>
          <a:bodyPr lIns="0" tIns="0" rIns="0" bIns="0"/>
          <a:lstStyle/>
          <a:p>
            <a:fld id="{89006F1E-66CD-4A4B-9370-B4A3080F0E6C}" type="slidenum">
              <a:rPr lang="en-US" smtClean="0"/>
              <a:pPr/>
              <a:t>‹#›</a:t>
            </a:fld>
            <a:endParaRPr lang="en-US"/>
          </a:p>
        </p:txBody>
      </p:sp>
      <p:sp>
        <p:nvSpPr>
          <p:cNvPr id="9" name="Footer Placeholder 1">
            <a:extLst>
              <a:ext uri="{FF2B5EF4-FFF2-40B4-BE49-F238E27FC236}">
                <a16:creationId xmlns:a16="http://schemas.microsoft.com/office/drawing/2014/main" id="{D91B50C1-7025-B243-9430-602CDE810AAB}"/>
              </a:ext>
            </a:extLst>
          </p:cNvPr>
          <p:cNvSpPr>
            <a:spLocks noGrp="1"/>
          </p:cNvSpPr>
          <p:nvPr>
            <p:ph type="ftr" sz="quarter" idx="13"/>
          </p:nvPr>
        </p:nvSpPr>
        <p:spPr>
          <a:xfrm>
            <a:off x="304802" y="6553201"/>
            <a:ext cx="11582399" cy="304800"/>
          </a:xfrm>
          <a:prstGeom prst="rect">
            <a:avLst/>
          </a:prstGeom>
        </p:spPr>
        <p:txBody>
          <a:bodyPr/>
          <a:lstStyle>
            <a:lvl1pPr>
              <a:defRPr>
                <a:solidFill>
                  <a:schemeClr val="accent5"/>
                </a:solidFill>
              </a:defRPr>
            </a:lvl1pPr>
          </a:lstStyle>
          <a:p>
            <a:r>
              <a:rPr lang="en-US"/>
              <a:t>Q4 2020</a:t>
            </a:r>
          </a:p>
        </p:txBody>
      </p:sp>
      <p:grpSp>
        <p:nvGrpSpPr>
          <p:cNvPr id="10" name="Group 9">
            <a:extLst>
              <a:ext uri="{FF2B5EF4-FFF2-40B4-BE49-F238E27FC236}">
                <a16:creationId xmlns:a16="http://schemas.microsoft.com/office/drawing/2014/main" id="{99CBBF46-F419-BB41-A2D1-3AD6DCE78E51}"/>
              </a:ext>
            </a:extLst>
          </p:cNvPr>
          <p:cNvGrpSpPr/>
          <p:nvPr userDrawn="1"/>
        </p:nvGrpSpPr>
        <p:grpSpPr>
          <a:xfrm>
            <a:off x="304802" y="250319"/>
            <a:ext cx="895028" cy="895029"/>
            <a:chOff x="5671729" y="2603136"/>
            <a:chExt cx="901737" cy="901737"/>
          </a:xfrm>
        </p:grpSpPr>
        <p:grpSp>
          <p:nvGrpSpPr>
            <p:cNvPr id="11" name="Group 10">
              <a:extLst>
                <a:ext uri="{FF2B5EF4-FFF2-40B4-BE49-F238E27FC236}">
                  <a16:creationId xmlns:a16="http://schemas.microsoft.com/office/drawing/2014/main" id="{1D8109F2-522D-104F-9818-62A4DD2D51E5}"/>
                </a:ext>
              </a:extLst>
            </p:cNvPr>
            <p:cNvGrpSpPr/>
            <p:nvPr/>
          </p:nvGrpSpPr>
          <p:grpSpPr>
            <a:xfrm>
              <a:off x="5671729" y="2603136"/>
              <a:ext cx="901737" cy="901737"/>
              <a:chOff x="5665478" y="2350982"/>
              <a:chExt cx="901737" cy="901737"/>
            </a:xfrm>
          </p:grpSpPr>
          <p:sp>
            <p:nvSpPr>
              <p:cNvPr id="13" name="Oval 12">
                <a:extLst>
                  <a:ext uri="{FF2B5EF4-FFF2-40B4-BE49-F238E27FC236}">
                    <a16:creationId xmlns:a16="http://schemas.microsoft.com/office/drawing/2014/main" id="{2AF323B1-A96A-8442-B8C1-D92F18F2AC8E}"/>
                  </a:ext>
                </a:extLst>
              </p:cNvPr>
              <p:cNvSpPr>
                <a:spLocks noChangeAspect="1"/>
              </p:cNvSpPr>
              <p:nvPr/>
            </p:nvSpPr>
            <p:spPr bwMode="auto">
              <a:xfrm>
                <a:off x="5665478" y="2350982"/>
                <a:ext cx="901737" cy="901737"/>
              </a:xfrm>
              <a:prstGeom prst="ellipse">
                <a:avLst/>
              </a:prstGeom>
              <a:solidFill>
                <a:schemeClr val="bg2"/>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685778"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222222"/>
                  </a:solidFill>
                  <a:effectLst/>
                  <a:uLnTx/>
                  <a:uFillTx/>
                  <a:latin typeface="Arial" pitchFamily="124" charset="0"/>
                  <a:ea typeface="+mn-ea"/>
                  <a:cs typeface="+mn-cs"/>
                </a:endParaRPr>
              </a:p>
            </p:txBody>
          </p:sp>
          <p:sp>
            <p:nvSpPr>
              <p:cNvPr id="14" name="Oval 13">
                <a:extLst>
                  <a:ext uri="{FF2B5EF4-FFF2-40B4-BE49-F238E27FC236}">
                    <a16:creationId xmlns:a16="http://schemas.microsoft.com/office/drawing/2014/main" id="{69204685-3B9C-584A-80DB-A0B92919E5C6}"/>
                  </a:ext>
                </a:extLst>
              </p:cNvPr>
              <p:cNvSpPr>
                <a:spLocks noChangeAspect="1"/>
              </p:cNvSpPr>
              <p:nvPr/>
            </p:nvSpPr>
            <p:spPr bwMode="auto">
              <a:xfrm>
                <a:off x="5734842" y="2420346"/>
                <a:ext cx="763008" cy="763008"/>
              </a:xfrm>
              <a:prstGeom prst="ellipse">
                <a:avLst/>
              </a:prstGeom>
              <a:solidFill>
                <a:schemeClr val="bg1"/>
              </a:solidFill>
              <a:ln w="31750"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685778"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222222"/>
                  </a:solidFill>
                  <a:effectLst/>
                  <a:uLnTx/>
                  <a:uFillTx/>
                  <a:latin typeface="Arial" pitchFamily="124" charset="0"/>
                  <a:ea typeface="+mn-ea"/>
                  <a:cs typeface="+mn-cs"/>
                </a:endParaRPr>
              </a:p>
            </p:txBody>
          </p:sp>
        </p:grpSp>
        <p:pic>
          <p:nvPicPr>
            <p:cNvPr id="12" name="Graphic 11" descr="DNA with solid fill">
              <a:extLst>
                <a:ext uri="{FF2B5EF4-FFF2-40B4-BE49-F238E27FC236}">
                  <a16:creationId xmlns:a16="http://schemas.microsoft.com/office/drawing/2014/main" id="{F73DED58-A75B-7340-9E49-5FDFC5E31A30}"/>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2431836">
              <a:off x="5852352" y="2783759"/>
              <a:ext cx="540490" cy="540490"/>
            </a:xfrm>
            <a:prstGeom prst="rect">
              <a:avLst/>
            </a:prstGeom>
          </p:spPr>
        </p:pic>
      </p:grpSp>
    </p:spTree>
    <p:extLst>
      <p:ext uri="{BB962C8B-B14F-4D97-AF65-F5344CB8AC3E}">
        <p14:creationId xmlns:p14="http://schemas.microsoft.com/office/powerpoint/2010/main" val="764727405"/>
      </p:ext>
    </p:extLst>
  </p:cSld>
  <p:clrMapOvr>
    <a:masterClrMapping/>
  </p:clrMapOvr>
  <mc:AlternateContent xmlns:mc="http://schemas.openxmlformats.org/markup-compatibility/2006" xmlns:p14="http://schemas.microsoft.com/office/powerpoint/2010/main">
    <mc:Choice Requires="p14">
      <p:transition p14:dur="0">
        <p:fade/>
      </p:transition>
    </mc:Choice>
    <mc:Fallback xmlns="">
      <p:transition>
        <p:fade/>
      </p:transition>
    </mc:Fallback>
  </mc:AlternateContent>
  <p:hf hdr="0" dt="0"/>
  <p:extLst>
    <p:ext uri="{DCECCB84-F9BA-43D5-87BE-67443E8EF086}">
      <p15:sldGuideLst xmlns:p15="http://schemas.microsoft.com/office/powerpoint/2012/main">
        <p15:guide id="2" pos="3744">
          <p15:clr>
            <a:srgbClr val="FBAE40"/>
          </p15:clr>
        </p15:guide>
        <p15:guide id="3" pos="3936">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Custom_2">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FCD351-FB49-4649-BD51-7F2228F8A180}"/>
              </a:ext>
            </a:extLst>
          </p:cNvPr>
          <p:cNvSpPr>
            <a:spLocks noGrp="1"/>
          </p:cNvSpPr>
          <p:nvPr>
            <p:ph type="title"/>
          </p:nvPr>
        </p:nvSpPr>
        <p:spPr>
          <a:xfrm>
            <a:off x="1364929" y="250319"/>
            <a:ext cx="8686801" cy="895029"/>
          </a:xfrm>
        </p:spPr>
        <p:txBody>
          <a:bodyPr anchor="ctr" anchorCtr="0"/>
          <a:lstStyle>
            <a:lvl1pPr>
              <a:defRPr>
                <a:solidFill>
                  <a:schemeClr val="tx2"/>
                </a:solidFill>
              </a:defRPr>
            </a:lvl1pPr>
          </a:lstStyle>
          <a:p>
            <a:r>
              <a:rPr lang="en-US"/>
              <a:t>Click to edit Master title style</a:t>
            </a:r>
          </a:p>
        </p:txBody>
      </p:sp>
      <p:sp>
        <p:nvSpPr>
          <p:cNvPr id="6" name="Text Placeholder 7">
            <a:extLst>
              <a:ext uri="{FF2B5EF4-FFF2-40B4-BE49-F238E27FC236}">
                <a16:creationId xmlns:a16="http://schemas.microsoft.com/office/drawing/2014/main" id="{AC6D37E8-5E1B-4025-9CB6-9AADD0B2F568}"/>
              </a:ext>
            </a:extLst>
          </p:cNvPr>
          <p:cNvSpPr>
            <a:spLocks noGrp="1"/>
          </p:cNvSpPr>
          <p:nvPr>
            <p:ph type="body" sz="quarter" idx="11" hasCustomPrompt="1"/>
          </p:nvPr>
        </p:nvSpPr>
        <p:spPr>
          <a:xfrm>
            <a:off x="304798" y="1268439"/>
            <a:ext cx="11591546" cy="381001"/>
          </a:xfrm>
          <a:prstGeom prst="rect">
            <a:avLst/>
          </a:prstGeom>
        </p:spPr>
        <p:txBody>
          <a:bodyPr lIns="0" tIns="0" rIns="0" bIns="0" anchor="t">
            <a:noAutofit/>
          </a:bodyPr>
          <a:lstStyle>
            <a:lvl1pPr marL="0" indent="0">
              <a:buNone/>
              <a:defRPr sz="1500">
                <a:solidFill>
                  <a:schemeClr val="tx1"/>
                </a:solidFill>
              </a:defRPr>
            </a:lvl1pPr>
          </a:lstStyle>
          <a:p>
            <a:pPr lvl="0"/>
            <a:r>
              <a:rPr lang="en-US"/>
              <a:t>Click to add </a:t>
            </a:r>
            <a:r>
              <a:rPr lang="en-US" err="1"/>
              <a:t>subheader</a:t>
            </a:r>
            <a:endParaRPr lang="en-US"/>
          </a:p>
        </p:txBody>
      </p:sp>
      <p:sp>
        <p:nvSpPr>
          <p:cNvPr id="7" name="Text Placeholder 7">
            <a:extLst>
              <a:ext uri="{FF2B5EF4-FFF2-40B4-BE49-F238E27FC236}">
                <a16:creationId xmlns:a16="http://schemas.microsoft.com/office/drawing/2014/main" id="{C1053C4D-3245-41E9-BC79-2133D6EFE62D}"/>
              </a:ext>
            </a:extLst>
          </p:cNvPr>
          <p:cNvSpPr>
            <a:spLocks noGrp="1"/>
          </p:cNvSpPr>
          <p:nvPr>
            <p:ph type="body" sz="quarter" idx="12" hasCustomPrompt="1"/>
          </p:nvPr>
        </p:nvSpPr>
        <p:spPr>
          <a:xfrm>
            <a:off x="304798" y="6055756"/>
            <a:ext cx="11582401" cy="489204"/>
          </a:xfrm>
          <a:prstGeom prst="rect">
            <a:avLst/>
          </a:prstGeom>
        </p:spPr>
        <p:txBody>
          <a:bodyPr anchor="b">
            <a:normAutofit/>
          </a:bodyPr>
          <a:lstStyle>
            <a:lvl1pPr marL="0" indent="0">
              <a:spcBef>
                <a:spcPts val="75"/>
              </a:spcBef>
              <a:buNone/>
              <a:defRPr sz="750">
                <a:solidFill>
                  <a:schemeClr val="accent5"/>
                </a:solidFill>
              </a:defRPr>
            </a:lvl1pPr>
          </a:lstStyle>
          <a:p>
            <a:pPr lvl="0"/>
            <a:r>
              <a:rPr lang="en-US"/>
              <a:t>Source notes</a:t>
            </a:r>
          </a:p>
        </p:txBody>
      </p:sp>
      <p:sp>
        <p:nvSpPr>
          <p:cNvPr id="8" name="Slide Number Placeholder 11">
            <a:extLst>
              <a:ext uri="{FF2B5EF4-FFF2-40B4-BE49-F238E27FC236}">
                <a16:creationId xmlns:a16="http://schemas.microsoft.com/office/drawing/2014/main" id="{43FDEDB6-CE04-F84B-AAD3-991730DCA9C0}"/>
              </a:ext>
            </a:extLst>
          </p:cNvPr>
          <p:cNvSpPr>
            <a:spLocks noGrp="1"/>
          </p:cNvSpPr>
          <p:nvPr>
            <p:ph type="sldNum" sz="quarter" idx="10"/>
          </p:nvPr>
        </p:nvSpPr>
        <p:spPr>
          <a:xfrm>
            <a:off x="2" y="6553202"/>
            <a:ext cx="304799" cy="304799"/>
          </a:xfrm>
        </p:spPr>
        <p:txBody>
          <a:bodyPr lIns="0" tIns="0" rIns="0" bIns="0"/>
          <a:lstStyle/>
          <a:p>
            <a:fld id="{89006F1E-66CD-4A4B-9370-B4A3080F0E6C}" type="slidenum">
              <a:rPr lang="en-US" smtClean="0"/>
              <a:pPr/>
              <a:t>‹#›</a:t>
            </a:fld>
            <a:endParaRPr lang="en-US"/>
          </a:p>
        </p:txBody>
      </p:sp>
      <p:sp>
        <p:nvSpPr>
          <p:cNvPr id="9" name="Footer Placeholder 1">
            <a:extLst>
              <a:ext uri="{FF2B5EF4-FFF2-40B4-BE49-F238E27FC236}">
                <a16:creationId xmlns:a16="http://schemas.microsoft.com/office/drawing/2014/main" id="{D91B50C1-7025-B243-9430-602CDE810AAB}"/>
              </a:ext>
            </a:extLst>
          </p:cNvPr>
          <p:cNvSpPr>
            <a:spLocks noGrp="1"/>
          </p:cNvSpPr>
          <p:nvPr>
            <p:ph type="ftr" sz="quarter" idx="13"/>
          </p:nvPr>
        </p:nvSpPr>
        <p:spPr>
          <a:xfrm>
            <a:off x="304802" y="6553201"/>
            <a:ext cx="11582399" cy="304800"/>
          </a:xfrm>
          <a:prstGeom prst="rect">
            <a:avLst/>
          </a:prstGeom>
        </p:spPr>
        <p:txBody>
          <a:bodyPr/>
          <a:lstStyle>
            <a:lvl1pPr>
              <a:defRPr>
                <a:solidFill>
                  <a:schemeClr val="accent5"/>
                </a:solidFill>
              </a:defRPr>
            </a:lvl1pPr>
          </a:lstStyle>
          <a:p>
            <a:r>
              <a:rPr lang="en-US"/>
              <a:t>Q4 2020</a:t>
            </a:r>
          </a:p>
        </p:txBody>
      </p:sp>
      <p:grpSp>
        <p:nvGrpSpPr>
          <p:cNvPr id="15" name="Group 14">
            <a:extLst>
              <a:ext uri="{FF2B5EF4-FFF2-40B4-BE49-F238E27FC236}">
                <a16:creationId xmlns:a16="http://schemas.microsoft.com/office/drawing/2014/main" id="{E84454C3-BF29-7744-B6E1-7F316FE4E581}"/>
              </a:ext>
            </a:extLst>
          </p:cNvPr>
          <p:cNvGrpSpPr>
            <a:grpSpLocks noChangeAspect="1"/>
          </p:cNvGrpSpPr>
          <p:nvPr userDrawn="1"/>
        </p:nvGrpSpPr>
        <p:grpSpPr>
          <a:xfrm>
            <a:off x="304798" y="241674"/>
            <a:ext cx="912315" cy="912315"/>
            <a:chOff x="7172412" y="4753265"/>
            <a:chExt cx="901737" cy="901737"/>
          </a:xfrm>
        </p:grpSpPr>
        <p:grpSp>
          <p:nvGrpSpPr>
            <p:cNvPr id="16" name="Group 15">
              <a:extLst>
                <a:ext uri="{FF2B5EF4-FFF2-40B4-BE49-F238E27FC236}">
                  <a16:creationId xmlns:a16="http://schemas.microsoft.com/office/drawing/2014/main" id="{48A5F06E-1D52-E240-860E-B5EE08EA7A09}"/>
                </a:ext>
              </a:extLst>
            </p:cNvPr>
            <p:cNvGrpSpPr/>
            <p:nvPr/>
          </p:nvGrpSpPr>
          <p:grpSpPr>
            <a:xfrm>
              <a:off x="7172412" y="4753265"/>
              <a:ext cx="901737" cy="901737"/>
              <a:chOff x="7170315" y="4501111"/>
              <a:chExt cx="901737" cy="901737"/>
            </a:xfrm>
          </p:grpSpPr>
          <p:sp>
            <p:nvSpPr>
              <p:cNvPr id="18" name="Oval 17">
                <a:extLst>
                  <a:ext uri="{FF2B5EF4-FFF2-40B4-BE49-F238E27FC236}">
                    <a16:creationId xmlns:a16="http://schemas.microsoft.com/office/drawing/2014/main" id="{9484C7E7-4EA1-554C-83F5-640B22C92BBC}"/>
                  </a:ext>
                </a:extLst>
              </p:cNvPr>
              <p:cNvSpPr>
                <a:spLocks noChangeAspect="1"/>
              </p:cNvSpPr>
              <p:nvPr/>
            </p:nvSpPr>
            <p:spPr bwMode="auto">
              <a:xfrm>
                <a:off x="7170315" y="4501111"/>
                <a:ext cx="901737" cy="901737"/>
              </a:xfrm>
              <a:prstGeom prst="ellipse">
                <a:avLst/>
              </a:prstGeom>
              <a:solidFill>
                <a:schemeClr val="bg2"/>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685778"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222222"/>
                  </a:solidFill>
                  <a:effectLst/>
                  <a:uLnTx/>
                  <a:uFillTx/>
                  <a:latin typeface="Arial" pitchFamily="124" charset="0"/>
                  <a:ea typeface="+mn-ea"/>
                  <a:cs typeface="+mn-cs"/>
                </a:endParaRPr>
              </a:p>
            </p:txBody>
          </p:sp>
          <p:sp>
            <p:nvSpPr>
              <p:cNvPr id="19" name="Oval 18">
                <a:extLst>
                  <a:ext uri="{FF2B5EF4-FFF2-40B4-BE49-F238E27FC236}">
                    <a16:creationId xmlns:a16="http://schemas.microsoft.com/office/drawing/2014/main" id="{645FD66B-0057-454D-8B86-8A3B7E0E943F}"/>
                  </a:ext>
                </a:extLst>
              </p:cNvPr>
              <p:cNvSpPr>
                <a:spLocks noChangeAspect="1"/>
              </p:cNvSpPr>
              <p:nvPr/>
            </p:nvSpPr>
            <p:spPr bwMode="auto">
              <a:xfrm>
                <a:off x="7239679" y="4570475"/>
                <a:ext cx="763008" cy="763008"/>
              </a:xfrm>
              <a:prstGeom prst="ellipse">
                <a:avLst/>
              </a:prstGeom>
              <a:solidFill>
                <a:schemeClr val="bg1"/>
              </a:solidFill>
              <a:ln w="31750" cap="flat" cmpd="sng" algn="ctr">
                <a:solidFill>
                  <a:schemeClr val="accent3"/>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685778"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222222"/>
                  </a:solidFill>
                  <a:effectLst/>
                  <a:uLnTx/>
                  <a:uFillTx/>
                  <a:latin typeface="Arial" pitchFamily="124" charset="0"/>
                  <a:ea typeface="+mn-ea"/>
                  <a:cs typeface="+mn-cs"/>
                </a:endParaRPr>
              </a:p>
            </p:txBody>
          </p:sp>
        </p:grpSp>
        <p:pic>
          <p:nvPicPr>
            <p:cNvPr id="17" name="Graphic 16" descr="Hierarchy with solid fill">
              <a:extLst>
                <a:ext uri="{FF2B5EF4-FFF2-40B4-BE49-F238E27FC236}">
                  <a16:creationId xmlns:a16="http://schemas.microsoft.com/office/drawing/2014/main" id="{001FDF98-89CC-BB41-AF81-D5B2DA17C28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335573" y="4916426"/>
              <a:ext cx="575414" cy="575414"/>
            </a:xfrm>
            <a:prstGeom prst="rect">
              <a:avLst/>
            </a:prstGeom>
          </p:spPr>
        </p:pic>
      </p:grpSp>
    </p:spTree>
    <p:extLst>
      <p:ext uri="{BB962C8B-B14F-4D97-AF65-F5344CB8AC3E}">
        <p14:creationId xmlns:p14="http://schemas.microsoft.com/office/powerpoint/2010/main" val="3182807049"/>
      </p:ext>
    </p:extLst>
  </p:cSld>
  <p:clrMapOvr>
    <a:masterClrMapping/>
  </p:clrMapOvr>
  <mc:AlternateContent xmlns:mc="http://schemas.openxmlformats.org/markup-compatibility/2006" xmlns:p14="http://schemas.microsoft.com/office/powerpoint/2010/main">
    <mc:Choice Requires="p14">
      <p:transition p14:dur="0">
        <p:fade/>
      </p:transition>
    </mc:Choice>
    <mc:Fallback xmlns="">
      <p:transition>
        <p:fade/>
      </p:transition>
    </mc:Fallback>
  </mc:AlternateContent>
  <p:hf hdr="0" dt="0"/>
  <p:extLst>
    <p:ext uri="{DCECCB84-F9BA-43D5-87BE-67443E8EF086}">
      <p15:sldGuideLst xmlns:p15="http://schemas.microsoft.com/office/powerpoint/2012/main">
        <p15:guide id="2" pos="3744">
          <p15:clr>
            <a:srgbClr val="FBAE40"/>
          </p15:clr>
        </p15:guide>
        <p15:guide id="3" pos="3936">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Module Header">
    <p:bg>
      <p:bgPr>
        <a:gradFill>
          <a:gsLst>
            <a:gs pos="0">
              <a:schemeClr val="bg1"/>
            </a:gs>
            <a:gs pos="45000">
              <a:schemeClr val="bg1"/>
            </a:gs>
            <a:gs pos="66000">
              <a:schemeClr val="bg2"/>
            </a:gs>
          </a:gsLst>
          <a:lin ang="1080000" scaled="0"/>
        </a:gra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2DF2EB01-DB3A-564C-8485-CADA3C9CF3AF}"/>
              </a:ext>
            </a:extLst>
          </p:cNvPr>
          <p:cNvSpPr>
            <a:spLocks noGrp="1"/>
          </p:cNvSpPr>
          <p:nvPr>
            <p:ph type="pic" sz="quarter" idx="11" hasCustomPrompt="1"/>
          </p:nvPr>
        </p:nvSpPr>
        <p:spPr>
          <a:xfrm>
            <a:off x="5560460" y="3"/>
            <a:ext cx="6631541" cy="6857999"/>
          </a:xfrm>
          <a:custGeom>
            <a:avLst/>
            <a:gdLst>
              <a:gd name="connsiteX0" fmla="*/ 2183862 w 6631541"/>
              <a:gd name="connsiteY0" fmla="*/ 0 h 6857999"/>
              <a:gd name="connsiteX1" fmla="*/ 6631541 w 6631541"/>
              <a:gd name="connsiteY1" fmla="*/ 0 h 6857999"/>
              <a:gd name="connsiteX2" fmla="*/ 6631541 w 6631541"/>
              <a:gd name="connsiteY2" fmla="*/ 6857999 h 6857999"/>
              <a:gd name="connsiteX3" fmla="*/ 0 w 66315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6631541" h="6857999">
                <a:moveTo>
                  <a:pt x="2183862" y="0"/>
                </a:moveTo>
                <a:lnTo>
                  <a:pt x="6631541" y="0"/>
                </a:lnTo>
                <a:lnTo>
                  <a:pt x="6631541" y="6857999"/>
                </a:lnTo>
                <a:lnTo>
                  <a:pt x="0" y="6857999"/>
                </a:lnTo>
                <a:close/>
              </a:path>
            </a:pathLst>
          </a:custGeom>
          <a:pattFill prst="pct5">
            <a:fgClr>
              <a:schemeClr val="bg1"/>
            </a:fgClr>
            <a:bgClr>
              <a:schemeClr val="bg2"/>
            </a:bgClr>
          </a:pattFill>
        </p:spPr>
        <p:txBody>
          <a:bodyPr vert="horz" wrap="square" lIns="0" tIns="0" rIns="0" bIns="0" rtlCol="0" anchor="ctr">
            <a:noAutofit/>
          </a:bodyPr>
          <a:lstStyle>
            <a:lvl1pPr marL="0" indent="0" algn="ctr">
              <a:buFontTx/>
              <a:buNone/>
              <a:defRPr lang="en-US" sz="1050" dirty="0"/>
            </a:lvl1pPr>
          </a:lstStyle>
          <a:p>
            <a:pPr marR="0" lvl="0" algn="ctr" fontAlgn="auto">
              <a:spcAft>
                <a:spcPts val="0"/>
              </a:spcAft>
              <a:buClrTx/>
              <a:buSzTx/>
              <a:buNone/>
              <a:tabLst/>
            </a:pPr>
            <a:r>
              <a:rPr lang="en-US"/>
              <a:t>Add photo</a:t>
            </a:r>
          </a:p>
        </p:txBody>
      </p:sp>
      <p:grpSp>
        <p:nvGrpSpPr>
          <p:cNvPr id="7" name="Group 6">
            <a:extLst>
              <a:ext uri="{FF2B5EF4-FFF2-40B4-BE49-F238E27FC236}">
                <a16:creationId xmlns:a16="http://schemas.microsoft.com/office/drawing/2014/main" id="{B1F511C6-A535-A245-B123-CC04435D2DAF}"/>
              </a:ext>
            </a:extLst>
          </p:cNvPr>
          <p:cNvGrpSpPr/>
          <p:nvPr userDrawn="1"/>
        </p:nvGrpSpPr>
        <p:grpSpPr>
          <a:xfrm>
            <a:off x="304801" y="0"/>
            <a:ext cx="2427682" cy="1044934"/>
            <a:chOff x="0" y="0"/>
            <a:chExt cx="2447693" cy="1053548"/>
          </a:xfrm>
        </p:grpSpPr>
        <p:sp>
          <p:nvSpPr>
            <p:cNvPr id="8" name="Parallelogram 7">
              <a:extLst>
                <a:ext uri="{FF2B5EF4-FFF2-40B4-BE49-F238E27FC236}">
                  <a16:creationId xmlns:a16="http://schemas.microsoft.com/office/drawing/2014/main" id="{6399281C-FD14-2942-9A9B-13B5E50B7517}"/>
                </a:ext>
              </a:extLst>
            </p:cNvPr>
            <p:cNvSpPr/>
            <p:nvPr userDrawn="1"/>
          </p:nvSpPr>
          <p:spPr bwMode="auto">
            <a:xfrm>
              <a:off x="0" y="0"/>
              <a:ext cx="2447693" cy="1053548"/>
            </a:xfrm>
            <a:prstGeom prst="parallelogram">
              <a:avLst>
                <a:gd name="adj" fmla="val 0"/>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685778" rtl="0" eaLnBrk="0" fontAlgn="base" latinLnBrk="0" hangingPunct="0">
                <a:lnSpc>
                  <a:spcPct val="100000"/>
                </a:lnSpc>
                <a:spcBef>
                  <a:spcPct val="0"/>
                </a:spcBef>
                <a:spcAft>
                  <a:spcPct val="0"/>
                </a:spcAft>
                <a:buClrTx/>
                <a:buSzTx/>
                <a:buFontTx/>
                <a:buNone/>
                <a:tabLst/>
              </a:pPr>
              <a:r>
                <a:rPr lang="en-US" sz="1350">
                  <a:latin typeface="Arial" pitchFamily="124" charset="0"/>
                </a:rPr>
                <a:t>               </a:t>
              </a:r>
            </a:p>
          </p:txBody>
        </p:sp>
        <p:pic>
          <p:nvPicPr>
            <p:cNvPr id="9" name="Picture 8">
              <a:extLst>
                <a:ext uri="{FF2B5EF4-FFF2-40B4-BE49-F238E27FC236}">
                  <a16:creationId xmlns:a16="http://schemas.microsoft.com/office/drawing/2014/main" id="{7D60AD95-BD80-6049-9976-D024EC4ECDE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5820" y="154984"/>
              <a:ext cx="2178058" cy="756021"/>
            </a:xfrm>
            <a:prstGeom prst="rect">
              <a:avLst/>
            </a:prstGeom>
          </p:spPr>
        </p:pic>
      </p:grpSp>
      <p:grpSp>
        <p:nvGrpSpPr>
          <p:cNvPr id="11" name="Group 10">
            <a:extLst>
              <a:ext uri="{FF2B5EF4-FFF2-40B4-BE49-F238E27FC236}">
                <a16:creationId xmlns:a16="http://schemas.microsoft.com/office/drawing/2014/main" id="{BD8A84AE-AF33-DF45-94CF-C3F25C5B3C5F}"/>
              </a:ext>
            </a:extLst>
          </p:cNvPr>
          <p:cNvGrpSpPr/>
          <p:nvPr userDrawn="1"/>
        </p:nvGrpSpPr>
        <p:grpSpPr>
          <a:xfrm>
            <a:off x="283193" y="5970592"/>
            <a:ext cx="5053203" cy="441233"/>
            <a:chOff x="5155556" y="6168462"/>
            <a:chExt cx="5053203" cy="441233"/>
          </a:xfrm>
        </p:grpSpPr>
        <p:sp>
          <p:nvSpPr>
            <p:cNvPr id="12" name="TextBox 11">
              <a:extLst>
                <a:ext uri="{FF2B5EF4-FFF2-40B4-BE49-F238E27FC236}">
                  <a16:creationId xmlns:a16="http://schemas.microsoft.com/office/drawing/2014/main" id="{5DF5D896-302C-C647-8B84-3EA145C1337B}"/>
                </a:ext>
              </a:extLst>
            </p:cNvPr>
            <p:cNvSpPr txBox="1"/>
            <p:nvPr userDrawn="1"/>
          </p:nvSpPr>
          <p:spPr>
            <a:xfrm>
              <a:off x="5656050" y="6168462"/>
              <a:ext cx="4552709" cy="441233"/>
            </a:xfrm>
            <a:prstGeom prst="rect">
              <a:avLst/>
            </a:prstGeom>
            <a:noFill/>
          </p:spPr>
          <p:txBody>
            <a:bodyPr vert="horz" wrap="square" lIns="0" tIns="0" rIns="0" bIns="0" rtlCol="0" anchor="ctr" anchorCtr="0">
              <a:noAutofit/>
            </a:bodyPr>
            <a:lstStyle/>
            <a:p>
              <a:pPr algn="l"/>
              <a:r>
                <a:rPr lang="en-US" sz="1500">
                  <a:solidFill>
                    <a:schemeClr val="tx1"/>
                  </a:solidFill>
                  <a:latin typeface="Arial"/>
                </a:rPr>
                <a:t>The world leader in serving science</a:t>
              </a:r>
            </a:p>
          </p:txBody>
        </p:sp>
        <p:sp>
          <p:nvSpPr>
            <p:cNvPr id="13" name="Parallelogram 12">
              <a:extLst>
                <a:ext uri="{FF2B5EF4-FFF2-40B4-BE49-F238E27FC236}">
                  <a16:creationId xmlns:a16="http://schemas.microsoft.com/office/drawing/2014/main" id="{9BC00B89-C038-314A-AC65-15CF9FEFA67A}"/>
                </a:ext>
              </a:extLst>
            </p:cNvPr>
            <p:cNvSpPr/>
            <p:nvPr userDrawn="1"/>
          </p:nvSpPr>
          <p:spPr bwMode="auto">
            <a:xfrm>
              <a:off x="5155556" y="6302295"/>
              <a:ext cx="310510" cy="188737"/>
            </a:xfrm>
            <a:prstGeom prst="parallelogram">
              <a:avLst>
                <a:gd name="adj" fmla="val 31844"/>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685778" rtl="0" eaLnBrk="0" fontAlgn="base" latinLnBrk="0" hangingPunct="0">
                <a:lnSpc>
                  <a:spcPct val="100000"/>
                </a:lnSpc>
                <a:spcBef>
                  <a:spcPct val="0"/>
                </a:spcBef>
                <a:spcAft>
                  <a:spcPct val="0"/>
                </a:spcAft>
                <a:buClrTx/>
                <a:buSzTx/>
                <a:buFontTx/>
                <a:buNone/>
                <a:tabLst/>
              </a:pPr>
              <a:r>
                <a:rPr lang="en-US" sz="1350">
                  <a:latin typeface="Arial" pitchFamily="124" charset="0"/>
                </a:rPr>
                <a:t>               </a:t>
              </a:r>
            </a:p>
          </p:txBody>
        </p:sp>
      </p:grpSp>
      <p:sp>
        <p:nvSpPr>
          <p:cNvPr id="21" name="Footer Placeholder 1">
            <a:extLst>
              <a:ext uri="{FF2B5EF4-FFF2-40B4-BE49-F238E27FC236}">
                <a16:creationId xmlns:a16="http://schemas.microsoft.com/office/drawing/2014/main" id="{0417725A-1D63-8B41-B75E-4A7C276235C4}"/>
              </a:ext>
            </a:extLst>
          </p:cNvPr>
          <p:cNvSpPr>
            <a:spLocks noGrp="1"/>
          </p:cNvSpPr>
          <p:nvPr>
            <p:ph type="ftr" sz="quarter" idx="15"/>
          </p:nvPr>
        </p:nvSpPr>
        <p:spPr>
          <a:xfrm>
            <a:off x="304800" y="6553202"/>
            <a:ext cx="3657600" cy="304799"/>
          </a:xfrm>
        </p:spPr>
        <p:txBody>
          <a:bodyPr/>
          <a:lstStyle/>
          <a:p>
            <a:endParaRPr lang="en-US"/>
          </a:p>
        </p:txBody>
      </p:sp>
      <p:sp>
        <p:nvSpPr>
          <p:cNvPr id="22" name="Slide Number Placeholder 2">
            <a:extLst>
              <a:ext uri="{FF2B5EF4-FFF2-40B4-BE49-F238E27FC236}">
                <a16:creationId xmlns:a16="http://schemas.microsoft.com/office/drawing/2014/main" id="{2EFD93CC-9AAB-B446-8966-4FFCA1CA2633}"/>
              </a:ext>
            </a:extLst>
          </p:cNvPr>
          <p:cNvSpPr>
            <a:spLocks noGrp="1"/>
          </p:cNvSpPr>
          <p:nvPr>
            <p:ph type="sldNum" sz="quarter" idx="12"/>
          </p:nvPr>
        </p:nvSpPr>
        <p:spPr>
          <a:xfrm>
            <a:off x="2" y="6553202"/>
            <a:ext cx="304799" cy="304799"/>
          </a:xfrm>
        </p:spPr>
        <p:txBody>
          <a:bodyPr/>
          <a:lstStyle/>
          <a:p>
            <a:fld id="{89006F1E-66CD-4A4B-9370-B4A3080F0E6C}" type="slidenum">
              <a:rPr lang="en-US" smtClean="0"/>
              <a:pPr/>
              <a:t>‹#›</a:t>
            </a:fld>
            <a:endParaRPr lang="en-US"/>
          </a:p>
        </p:txBody>
      </p:sp>
      <p:sp>
        <p:nvSpPr>
          <p:cNvPr id="23" name="Text Placeholder 15">
            <a:extLst>
              <a:ext uri="{FF2B5EF4-FFF2-40B4-BE49-F238E27FC236}">
                <a16:creationId xmlns:a16="http://schemas.microsoft.com/office/drawing/2014/main" id="{99467BBC-17A6-8041-A1C1-FD69EC6CD242}"/>
              </a:ext>
            </a:extLst>
          </p:cNvPr>
          <p:cNvSpPr>
            <a:spLocks noGrp="1"/>
          </p:cNvSpPr>
          <p:nvPr>
            <p:ph type="body" sz="quarter" idx="10" hasCustomPrompt="1"/>
          </p:nvPr>
        </p:nvSpPr>
        <p:spPr>
          <a:xfrm>
            <a:off x="304802" y="2475596"/>
            <a:ext cx="5791199" cy="308120"/>
          </a:xfrm>
          <a:prstGeom prst="rect">
            <a:avLst/>
          </a:prstGeom>
        </p:spPr>
        <p:txBody>
          <a:bodyPr lIns="0" tIns="0" rIns="0" bIns="0" anchor="ctr"/>
          <a:lstStyle>
            <a:lvl1pPr>
              <a:spcBef>
                <a:spcPts val="0"/>
              </a:spcBef>
              <a:spcAft>
                <a:spcPts val="0"/>
              </a:spcAft>
              <a:buFontTx/>
              <a:buNone/>
              <a:defRPr sz="1200" b="1" baseline="0">
                <a:solidFill>
                  <a:schemeClr val="tx2"/>
                </a:solidFill>
              </a:defRPr>
            </a:lvl1pPr>
            <a:lvl2pPr marL="85722" indent="3572">
              <a:spcAft>
                <a:spcPts val="0"/>
              </a:spcAft>
              <a:buFontTx/>
              <a:buNone/>
              <a:defRPr sz="1050" i="1" baseline="0">
                <a:solidFill>
                  <a:schemeClr val="tx1"/>
                </a:solidFill>
              </a:defRPr>
            </a:lvl2pPr>
          </a:lstStyle>
          <a:p>
            <a:pPr lvl="0"/>
            <a:r>
              <a:rPr lang="en-US"/>
              <a:t>MODULE #</a:t>
            </a:r>
          </a:p>
        </p:txBody>
      </p:sp>
      <p:sp>
        <p:nvSpPr>
          <p:cNvPr id="24" name="Title 16">
            <a:extLst>
              <a:ext uri="{FF2B5EF4-FFF2-40B4-BE49-F238E27FC236}">
                <a16:creationId xmlns:a16="http://schemas.microsoft.com/office/drawing/2014/main" id="{6806B91E-3B5D-0E41-A30A-D6D42F25EA93}"/>
              </a:ext>
            </a:extLst>
          </p:cNvPr>
          <p:cNvSpPr>
            <a:spLocks noGrp="1"/>
          </p:cNvSpPr>
          <p:nvPr>
            <p:ph type="title" hasCustomPrompt="1"/>
          </p:nvPr>
        </p:nvSpPr>
        <p:spPr>
          <a:xfrm>
            <a:off x="304802" y="3043756"/>
            <a:ext cx="5791199" cy="754212"/>
          </a:xfrm>
          <a:prstGeom prst="rect">
            <a:avLst/>
          </a:prstGeom>
          <a:noFill/>
        </p:spPr>
        <p:txBody>
          <a:bodyPr wrap="square" lIns="0" tIns="0" rIns="0" bIns="0" anchor="t">
            <a:noAutofit/>
          </a:bodyPr>
          <a:lstStyle>
            <a:lvl1pPr>
              <a:lnSpc>
                <a:spcPct val="90000"/>
              </a:lnSpc>
              <a:defRPr sz="2100" b="1">
                <a:solidFill>
                  <a:schemeClr val="tx1"/>
                </a:solidFill>
              </a:defRPr>
            </a:lvl1pPr>
          </a:lstStyle>
          <a:p>
            <a:r>
              <a:rPr lang="en-US"/>
              <a:t>Title [28pt Arial Bold] </a:t>
            </a:r>
          </a:p>
        </p:txBody>
      </p:sp>
      <p:sp>
        <p:nvSpPr>
          <p:cNvPr id="25" name="Text Placeholder 15">
            <a:extLst>
              <a:ext uri="{FF2B5EF4-FFF2-40B4-BE49-F238E27FC236}">
                <a16:creationId xmlns:a16="http://schemas.microsoft.com/office/drawing/2014/main" id="{6EE786C2-B5ED-A14E-81B6-1B21DF5EEEC9}"/>
              </a:ext>
            </a:extLst>
          </p:cNvPr>
          <p:cNvSpPr>
            <a:spLocks noGrp="1"/>
          </p:cNvSpPr>
          <p:nvPr>
            <p:ph type="body" sz="quarter" idx="14" hasCustomPrompt="1"/>
          </p:nvPr>
        </p:nvSpPr>
        <p:spPr>
          <a:xfrm>
            <a:off x="304801" y="1683027"/>
            <a:ext cx="5791200" cy="528744"/>
          </a:xfrm>
          <a:prstGeom prst="rect">
            <a:avLst/>
          </a:prstGeom>
        </p:spPr>
        <p:txBody>
          <a:bodyPr lIns="0" tIns="0" rIns="0" bIns="0" anchor="b">
            <a:normAutofit/>
          </a:bodyPr>
          <a:lstStyle>
            <a:lvl1pPr marL="0" marR="0" indent="0" algn="l" defTabSz="685778" rtl="0" eaLnBrk="1" fontAlgn="auto" latinLnBrk="0" hangingPunct="1">
              <a:lnSpc>
                <a:spcPct val="120000"/>
              </a:lnSpc>
              <a:spcBef>
                <a:spcPts val="0"/>
              </a:spcBef>
              <a:spcAft>
                <a:spcPts val="0"/>
              </a:spcAft>
              <a:buClr>
                <a:schemeClr val="accent4"/>
              </a:buClr>
              <a:buSzPct val="100000"/>
              <a:buFontTx/>
              <a:buNone/>
              <a:tabLst/>
              <a:defRPr sz="1200" b="0" baseline="0">
                <a:solidFill>
                  <a:schemeClr val="tx1"/>
                </a:solidFill>
              </a:defRPr>
            </a:lvl1pPr>
            <a:lvl2pPr marL="85722" indent="3572">
              <a:spcAft>
                <a:spcPts val="0"/>
              </a:spcAft>
              <a:buFontTx/>
              <a:buNone/>
              <a:defRPr sz="1050" i="1" baseline="0">
                <a:solidFill>
                  <a:schemeClr val="tx1"/>
                </a:solidFill>
              </a:defRPr>
            </a:lvl2pPr>
          </a:lstStyle>
          <a:p>
            <a:pPr marL="308600" marR="0" lvl="0" indent="-308600" algn="l" defTabSz="685778" rtl="0" eaLnBrk="1" fontAlgn="auto" latinLnBrk="0" hangingPunct="1">
              <a:lnSpc>
                <a:spcPct val="120000"/>
              </a:lnSpc>
              <a:spcBef>
                <a:spcPts val="0"/>
              </a:spcBef>
              <a:spcAft>
                <a:spcPts val="0"/>
              </a:spcAft>
              <a:buClr>
                <a:schemeClr val="accent4"/>
              </a:buClr>
              <a:buSzPct val="100000"/>
              <a:buFontTx/>
              <a:buNone/>
              <a:tabLst/>
              <a:defRPr/>
            </a:pPr>
            <a:r>
              <a:rPr lang="en-US"/>
              <a:t>Product</a:t>
            </a:r>
          </a:p>
        </p:txBody>
      </p:sp>
    </p:spTree>
    <p:extLst>
      <p:ext uri="{BB962C8B-B14F-4D97-AF65-F5344CB8AC3E}">
        <p14:creationId xmlns:p14="http://schemas.microsoft.com/office/powerpoint/2010/main" val="9515465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No Content)">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FCD351-FB49-4649-BD51-7F2228F8A180}"/>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6" name="Text Placeholder 7">
            <a:extLst>
              <a:ext uri="{FF2B5EF4-FFF2-40B4-BE49-F238E27FC236}">
                <a16:creationId xmlns:a16="http://schemas.microsoft.com/office/drawing/2014/main" id="{AC6D37E8-5E1B-4025-9CB6-9AADD0B2F568}"/>
              </a:ext>
            </a:extLst>
          </p:cNvPr>
          <p:cNvSpPr>
            <a:spLocks noGrp="1"/>
          </p:cNvSpPr>
          <p:nvPr>
            <p:ph type="body" sz="quarter" idx="11" hasCustomPrompt="1"/>
          </p:nvPr>
        </p:nvSpPr>
        <p:spPr>
          <a:xfrm>
            <a:off x="300227" y="893065"/>
            <a:ext cx="11591546" cy="381001"/>
          </a:xfrm>
          <a:prstGeom prst="rect">
            <a:avLst/>
          </a:prstGeom>
        </p:spPr>
        <p:txBody>
          <a:bodyPr lIns="0" tIns="0" rIns="0" bIns="0" anchor="t">
            <a:noAutofit/>
          </a:bodyPr>
          <a:lstStyle>
            <a:lvl1pPr marL="0" indent="0">
              <a:buNone/>
              <a:defRPr sz="1500">
                <a:solidFill>
                  <a:schemeClr val="tx1"/>
                </a:solidFill>
              </a:defRPr>
            </a:lvl1pPr>
          </a:lstStyle>
          <a:p>
            <a:pPr lvl="0"/>
            <a:r>
              <a:rPr lang="en-US"/>
              <a:t>Click to add </a:t>
            </a:r>
            <a:r>
              <a:rPr lang="en-US" err="1"/>
              <a:t>subheader</a:t>
            </a:r>
            <a:endParaRPr lang="en-US"/>
          </a:p>
        </p:txBody>
      </p:sp>
      <p:sp>
        <p:nvSpPr>
          <p:cNvPr id="7" name="Text Placeholder 7">
            <a:extLst>
              <a:ext uri="{FF2B5EF4-FFF2-40B4-BE49-F238E27FC236}">
                <a16:creationId xmlns:a16="http://schemas.microsoft.com/office/drawing/2014/main" id="{C1053C4D-3245-41E9-BC79-2133D6EFE62D}"/>
              </a:ext>
            </a:extLst>
          </p:cNvPr>
          <p:cNvSpPr>
            <a:spLocks noGrp="1"/>
          </p:cNvSpPr>
          <p:nvPr>
            <p:ph type="body" sz="quarter" idx="12" hasCustomPrompt="1"/>
          </p:nvPr>
        </p:nvSpPr>
        <p:spPr>
          <a:xfrm>
            <a:off x="304798" y="6055756"/>
            <a:ext cx="11582401" cy="489204"/>
          </a:xfrm>
          <a:prstGeom prst="rect">
            <a:avLst/>
          </a:prstGeom>
        </p:spPr>
        <p:txBody>
          <a:bodyPr anchor="b">
            <a:normAutofit/>
          </a:bodyPr>
          <a:lstStyle>
            <a:lvl1pPr marL="0" indent="0">
              <a:spcBef>
                <a:spcPts val="75"/>
              </a:spcBef>
              <a:buNone/>
              <a:defRPr sz="750">
                <a:solidFill>
                  <a:schemeClr val="accent5"/>
                </a:solidFill>
              </a:defRPr>
            </a:lvl1pPr>
          </a:lstStyle>
          <a:p>
            <a:pPr lvl="0"/>
            <a:r>
              <a:rPr lang="en-US"/>
              <a:t>Source notes</a:t>
            </a:r>
          </a:p>
        </p:txBody>
      </p:sp>
      <p:sp>
        <p:nvSpPr>
          <p:cNvPr id="8" name="Slide Number Placeholder 11">
            <a:extLst>
              <a:ext uri="{FF2B5EF4-FFF2-40B4-BE49-F238E27FC236}">
                <a16:creationId xmlns:a16="http://schemas.microsoft.com/office/drawing/2014/main" id="{43FDEDB6-CE04-F84B-AAD3-991730DCA9C0}"/>
              </a:ext>
            </a:extLst>
          </p:cNvPr>
          <p:cNvSpPr>
            <a:spLocks noGrp="1"/>
          </p:cNvSpPr>
          <p:nvPr>
            <p:ph type="sldNum" sz="quarter" idx="10"/>
          </p:nvPr>
        </p:nvSpPr>
        <p:spPr>
          <a:xfrm>
            <a:off x="2" y="6553202"/>
            <a:ext cx="304799" cy="304799"/>
          </a:xfrm>
        </p:spPr>
        <p:txBody>
          <a:bodyPr lIns="0" tIns="0" rIns="0" bIns="0"/>
          <a:lstStyle/>
          <a:p>
            <a:fld id="{89006F1E-66CD-4A4B-9370-B4A3080F0E6C}" type="slidenum">
              <a:rPr lang="en-US" smtClean="0"/>
              <a:pPr/>
              <a:t>‹#›</a:t>
            </a:fld>
            <a:endParaRPr lang="en-US"/>
          </a:p>
        </p:txBody>
      </p:sp>
      <p:sp>
        <p:nvSpPr>
          <p:cNvPr id="9" name="Footer Placeholder 1">
            <a:extLst>
              <a:ext uri="{FF2B5EF4-FFF2-40B4-BE49-F238E27FC236}">
                <a16:creationId xmlns:a16="http://schemas.microsoft.com/office/drawing/2014/main" id="{D91B50C1-7025-B243-9430-602CDE810AAB}"/>
              </a:ext>
            </a:extLst>
          </p:cNvPr>
          <p:cNvSpPr>
            <a:spLocks noGrp="1"/>
          </p:cNvSpPr>
          <p:nvPr>
            <p:ph type="ftr" sz="quarter" idx="13"/>
          </p:nvPr>
        </p:nvSpPr>
        <p:spPr>
          <a:xfrm>
            <a:off x="304802" y="6553201"/>
            <a:ext cx="11582399" cy="304800"/>
          </a:xfrm>
          <a:prstGeom prst="rect">
            <a:avLst/>
          </a:prstGeom>
        </p:spPr>
        <p:txBody>
          <a:bodyPr/>
          <a:lstStyle>
            <a:lvl1pPr>
              <a:defRPr>
                <a:solidFill>
                  <a:schemeClr val="accent5"/>
                </a:solidFill>
              </a:defRPr>
            </a:lvl1pPr>
          </a:lstStyle>
          <a:p>
            <a:r>
              <a:rPr lang="en-US">
                <a:ea typeface="MS PGothic" panose="020B0600070205080204" pitchFamily="34" charset="-128"/>
              </a:rPr>
              <a:t>Proprietary &amp; Confidential |  authoremail@thermofisher.com | 5-August-2020</a:t>
            </a:r>
          </a:p>
        </p:txBody>
      </p:sp>
    </p:spTree>
    <p:extLst>
      <p:ext uri="{BB962C8B-B14F-4D97-AF65-F5344CB8AC3E}">
        <p14:creationId xmlns:p14="http://schemas.microsoft.com/office/powerpoint/2010/main" val="3832616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744">
          <p15:clr>
            <a:srgbClr val="FBAE40"/>
          </p15:clr>
        </p15:guide>
        <p15:guide id="3" pos="3936">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1_Title (No Content)">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FCD351-FB49-4649-BD51-7F2228F8A180}"/>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7" name="Takeaway Placeholder">
            <a:extLst>
              <a:ext uri="{FF2B5EF4-FFF2-40B4-BE49-F238E27FC236}">
                <a16:creationId xmlns:a16="http://schemas.microsoft.com/office/drawing/2014/main" id="{C1053C4D-3245-41E9-BC79-2133D6EFE62D}"/>
              </a:ext>
            </a:extLst>
          </p:cNvPr>
          <p:cNvSpPr>
            <a:spLocks noGrp="1"/>
          </p:cNvSpPr>
          <p:nvPr>
            <p:ph type="body" sz="quarter" idx="12" hasCustomPrompt="1"/>
          </p:nvPr>
        </p:nvSpPr>
        <p:spPr>
          <a:xfrm>
            <a:off x="304796" y="6055756"/>
            <a:ext cx="11586977" cy="489204"/>
          </a:xfrm>
          <a:prstGeom prst="parallelogram">
            <a:avLst/>
          </a:prstGeom>
          <a:solidFill>
            <a:schemeClr val="tx2"/>
          </a:solidFill>
        </p:spPr>
        <p:txBody>
          <a:bodyPr wrap="none" lIns="91440" rIns="91440" anchor="ctr" anchorCtr="1">
            <a:noAutofit/>
          </a:bodyPr>
          <a:lstStyle>
            <a:lvl1pPr marL="0" indent="0">
              <a:lnSpc>
                <a:spcPct val="100000"/>
              </a:lnSpc>
              <a:spcBef>
                <a:spcPts val="0"/>
              </a:spcBef>
              <a:buNone/>
              <a:defRPr sz="1500" b="1">
                <a:solidFill>
                  <a:schemeClr val="bg1"/>
                </a:solidFill>
              </a:defRPr>
            </a:lvl1pPr>
          </a:lstStyle>
          <a:p>
            <a:pPr lvl="0"/>
            <a:r>
              <a:rPr lang="en-US"/>
              <a:t>takeaway option</a:t>
            </a:r>
          </a:p>
        </p:txBody>
      </p:sp>
      <p:sp>
        <p:nvSpPr>
          <p:cNvPr id="6" name="Text Placeholder 7">
            <a:extLst>
              <a:ext uri="{FF2B5EF4-FFF2-40B4-BE49-F238E27FC236}">
                <a16:creationId xmlns:a16="http://schemas.microsoft.com/office/drawing/2014/main" id="{AC6D37E8-5E1B-4025-9CB6-9AADD0B2F568}"/>
              </a:ext>
            </a:extLst>
          </p:cNvPr>
          <p:cNvSpPr>
            <a:spLocks noGrp="1"/>
          </p:cNvSpPr>
          <p:nvPr>
            <p:ph type="body" sz="quarter" idx="11" hasCustomPrompt="1"/>
          </p:nvPr>
        </p:nvSpPr>
        <p:spPr>
          <a:xfrm>
            <a:off x="300227" y="893065"/>
            <a:ext cx="11591546" cy="381001"/>
          </a:xfrm>
          <a:prstGeom prst="rect">
            <a:avLst/>
          </a:prstGeom>
        </p:spPr>
        <p:txBody>
          <a:bodyPr lIns="0" tIns="0" rIns="0" bIns="0" anchor="t">
            <a:noAutofit/>
          </a:bodyPr>
          <a:lstStyle>
            <a:lvl1pPr marL="0" indent="0">
              <a:buNone/>
              <a:defRPr sz="1500">
                <a:solidFill>
                  <a:schemeClr val="tx1"/>
                </a:solidFill>
              </a:defRPr>
            </a:lvl1pPr>
          </a:lstStyle>
          <a:p>
            <a:pPr lvl="0"/>
            <a:r>
              <a:rPr lang="en-US"/>
              <a:t>Click to add </a:t>
            </a:r>
            <a:r>
              <a:rPr lang="en-US" err="1"/>
              <a:t>subheader</a:t>
            </a:r>
            <a:endParaRPr lang="en-US"/>
          </a:p>
        </p:txBody>
      </p:sp>
      <p:sp>
        <p:nvSpPr>
          <p:cNvPr id="8" name="Slide Number Placeholder 11">
            <a:extLst>
              <a:ext uri="{FF2B5EF4-FFF2-40B4-BE49-F238E27FC236}">
                <a16:creationId xmlns:a16="http://schemas.microsoft.com/office/drawing/2014/main" id="{43FDEDB6-CE04-F84B-AAD3-991730DCA9C0}"/>
              </a:ext>
            </a:extLst>
          </p:cNvPr>
          <p:cNvSpPr>
            <a:spLocks noGrp="1"/>
          </p:cNvSpPr>
          <p:nvPr>
            <p:ph type="sldNum" sz="quarter" idx="10"/>
          </p:nvPr>
        </p:nvSpPr>
        <p:spPr>
          <a:xfrm>
            <a:off x="2" y="6553202"/>
            <a:ext cx="304799" cy="304799"/>
          </a:xfrm>
        </p:spPr>
        <p:txBody>
          <a:bodyPr lIns="0" tIns="0" rIns="0" bIns="0"/>
          <a:lstStyle/>
          <a:p>
            <a:fld id="{89006F1E-66CD-4A4B-9370-B4A3080F0E6C}" type="slidenum">
              <a:rPr lang="en-US" smtClean="0"/>
              <a:pPr/>
              <a:t>‹#›</a:t>
            </a:fld>
            <a:endParaRPr lang="en-US"/>
          </a:p>
        </p:txBody>
      </p:sp>
      <p:sp>
        <p:nvSpPr>
          <p:cNvPr id="9" name="Footer Placeholder 1">
            <a:extLst>
              <a:ext uri="{FF2B5EF4-FFF2-40B4-BE49-F238E27FC236}">
                <a16:creationId xmlns:a16="http://schemas.microsoft.com/office/drawing/2014/main" id="{D91B50C1-7025-B243-9430-602CDE810AAB}"/>
              </a:ext>
            </a:extLst>
          </p:cNvPr>
          <p:cNvSpPr>
            <a:spLocks noGrp="1"/>
          </p:cNvSpPr>
          <p:nvPr>
            <p:ph type="ftr" sz="quarter" idx="13"/>
          </p:nvPr>
        </p:nvSpPr>
        <p:spPr>
          <a:xfrm>
            <a:off x="304801" y="6553201"/>
            <a:ext cx="5791201" cy="304800"/>
          </a:xfrm>
          <a:prstGeom prst="rect">
            <a:avLst/>
          </a:prstGeom>
        </p:spPr>
        <p:txBody>
          <a:bodyPr/>
          <a:lstStyle>
            <a:lvl1pPr>
              <a:defRPr>
                <a:solidFill>
                  <a:schemeClr val="accent5"/>
                </a:solidFill>
              </a:defRPr>
            </a:lvl1pPr>
          </a:lstStyle>
          <a:p>
            <a:r>
              <a:rPr lang="en-US">
                <a:ea typeface="MS PGothic" panose="020B0600070205080204" pitchFamily="34" charset="-128"/>
              </a:rPr>
              <a:t>Proprietary &amp; Confidential |  28-Sept-2020</a:t>
            </a:r>
          </a:p>
        </p:txBody>
      </p:sp>
    </p:spTree>
    <p:extLst>
      <p:ext uri="{BB962C8B-B14F-4D97-AF65-F5344CB8AC3E}">
        <p14:creationId xmlns:p14="http://schemas.microsoft.com/office/powerpoint/2010/main" val="1333448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744">
          <p15:clr>
            <a:srgbClr val="FBAE40"/>
          </p15:clr>
        </p15:guide>
        <p15:guide id="3" pos="3936">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42"/>
          <p:cNvGrpSpPr>
            <a:grpSpLocks/>
          </p:cNvGrpSpPr>
          <p:nvPr/>
        </p:nvGrpSpPr>
        <p:grpSpPr bwMode="auto">
          <a:xfrm>
            <a:off x="-510413" y="0"/>
            <a:ext cx="13243597" cy="6858000"/>
            <a:chOff x="-382404" y="0"/>
            <a:chExt cx="9932332" cy="6858000"/>
          </a:xfrm>
        </p:grpSpPr>
        <p:grpSp>
          <p:nvGrpSpPr>
            <p:cNvPr id="5" name="Group 44"/>
            <p:cNvGrpSpPr>
              <a:grpSpLocks/>
            </p:cNvGrpSpPr>
            <p:nvPr/>
          </p:nvGrpSpPr>
          <p:grpSpPr bwMode="auto">
            <a:xfrm>
              <a:off x="392" y="-12958"/>
              <a:ext cx="9135519" cy="6870958"/>
              <a:chOff x="392" y="-12958"/>
              <a:chExt cx="9135519" cy="6870958"/>
            </a:xfrm>
          </p:grpSpPr>
          <p:grpSp>
            <p:nvGrpSpPr>
              <p:cNvPr id="28" name="Group 4"/>
              <p:cNvGrpSpPr>
                <a:grpSpLocks/>
              </p:cNvGrpSpPr>
              <p:nvPr/>
            </p:nvGrpSpPr>
            <p:grpSpPr bwMode="auto">
              <a:xfrm>
                <a:off x="392" y="0"/>
                <a:ext cx="2513964" cy="6858000"/>
                <a:chOff x="392" y="0"/>
                <a:chExt cx="2513964" cy="6858000"/>
              </a:xfrm>
            </p:grpSpPr>
            <p:sp>
              <p:nvSpPr>
                <p:cNvPr id="40" name="Rectangle 114"/>
                <p:cNvSpPr/>
                <p:nvPr/>
              </p:nvSpPr>
              <p:spPr>
                <a:xfrm>
                  <a:off x="913944" y="0"/>
                  <a:ext cx="1600412"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41" name="Rectangle 2"/>
                <p:cNvSpPr/>
                <p:nvPr/>
              </p:nvSpPr>
              <p:spPr>
                <a:xfrm>
                  <a:off x="392" y="0"/>
                  <a:ext cx="457455"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42" name="Rectangle 3"/>
                <p:cNvSpPr/>
                <p:nvPr/>
              </p:nvSpPr>
              <p:spPr>
                <a:xfrm>
                  <a:off x="228441" y="0"/>
                  <a:ext cx="762877"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grpSp>
          <p:grpSp>
            <p:nvGrpSpPr>
              <p:cNvPr id="29" name="Group 5"/>
              <p:cNvGrpSpPr>
                <a:grpSpLocks/>
              </p:cNvGrpSpPr>
              <p:nvPr/>
            </p:nvGrpSpPr>
            <p:grpSpPr bwMode="auto">
              <a:xfrm>
                <a:off x="423911" y="0"/>
                <a:ext cx="2513964" cy="6858000"/>
                <a:chOff x="1001" y="0"/>
                <a:chExt cx="2513964" cy="6858000"/>
              </a:xfrm>
            </p:grpSpPr>
            <p:sp>
              <p:nvSpPr>
                <p:cNvPr id="37" name="Rectangle 84"/>
                <p:cNvSpPr/>
                <p:nvPr/>
              </p:nvSpPr>
              <p:spPr>
                <a:xfrm>
                  <a:off x="914553" y="0"/>
                  <a:ext cx="1600412"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38" name="Rectangle 85"/>
                <p:cNvSpPr/>
                <p:nvPr/>
              </p:nvSpPr>
              <p:spPr>
                <a:xfrm>
                  <a:off x="1001" y="0"/>
                  <a:ext cx="457455"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39" name="Rectangle 113"/>
                <p:cNvSpPr/>
                <p:nvPr/>
              </p:nvSpPr>
              <p:spPr>
                <a:xfrm>
                  <a:off x="229050" y="0"/>
                  <a:ext cx="762877"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grpSp>
          <p:grpSp>
            <p:nvGrpSpPr>
              <p:cNvPr id="30" name="Group 9"/>
              <p:cNvGrpSpPr>
                <a:grpSpLocks/>
              </p:cNvGrpSpPr>
              <p:nvPr/>
            </p:nvGrpSpPr>
            <p:grpSpPr bwMode="auto">
              <a:xfrm rot="10800000">
                <a:off x="6621947" y="-12958"/>
                <a:ext cx="2513964" cy="6866638"/>
                <a:chOff x="8089" y="4320"/>
                <a:chExt cx="2513964" cy="6866638"/>
              </a:xfrm>
            </p:grpSpPr>
            <p:sp>
              <p:nvSpPr>
                <p:cNvPr id="34" name="Rectangle 77"/>
                <p:cNvSpPr/>
                <p:nvPr/>
              </p:nvSpPr>
              <p:spPr>
                <a:xfrm>
                  <a:off x="921640" y="4320"/>
                  <a:ext cx="1600413" cy="6857999"/>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35" name="Rectangle 78"/>
                <p:cNvSpPr/>
                <p:nvPr/>
              </p:nvSpPr>
              <p:spPr>
                <a:xfrm>
                  <a:off x="8089" y="12959"/>
                  <a:ext cx="457454" cy="6857999"/>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36" name="Rectangle 80"/>
                <p:cNvSpPr/>
                <p:nvPr/>
              </p:nvSpPr>
              <p:spPr>
                <a:xfrm>
                  <a:off x="227993" y="12959"/>
                  <a:ext cx="762877" cy="6857999"/>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grpSp>
          <p:sp>
            <p:nvSpPr>
              <p:cNvPr id="31" name="Rectangle 74"/>
              <p:cNvSpPr/>
              <p:nvPr/>
            </p:nvSpPr>
            <p:spPr>
              <a:xfrm>
                <a:off x="3810705" y="0"/>
                <a:ext cx="2819386"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32" name="Rectangle 75"/>
              <p:cNvSpPr/>
              <p:nvPr/>
            </p:nvSpPr>
            <p:spPr>
              <a:xfrm>
                <a:off x="2895795" y="0"/>
                <a:ext cx="457454"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33" name="Rectangle 76"/>
              <p:cNvSpPr/>
              <p:nvPr/>
            </p:nvSpPr>
            <p:spPr>
              <a:xfrm>
                <a:off x="3123844" y="0"/>
                <a:ext cx="762877"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grpSp>
        <p:sp>
          <p:nvSpPr>
            <p:cNvPr id="6" name="Freeform 44"/>
            <p:cNvSpPr/>
            <p:nvPr/>
          </p:nvSpPr>
          <p:spPr>
            <a:xfrm>
              <a:off x="-11825" y="5035151"/>
              <a:ext cx="9143664" cy="1176356"/>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33"/>
            </a:p>
          </p:txBody>
        </p:sp>
        <p:sp>
          <p:nvSpPr>
            <p:cNvPr id="7" name="Freeform 47"/>
            <p:cNvSpPr/>
            <p:nvPr/>
          </p:nvSpPr>
          <p:spPr>
            <a:xfrm>
              <a:off x="-11825" y="3467156"/>
              <a:ext cx="9143664" cy="891267"/>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33"/>
            </a:p>
          </p:txBody>
        </p:sp>
        <p:sp>
          <p:nvSpPr>
            <p:cNvPr id="8" name="Freeform 48"/>
            <p:cNvSpPr/>
            <p:nvPr/>
          </p:nvSpPr>
          <p:spPr>
            <a:xfrm>
              <a:off x="-24042" y="5641327"/>
              <a:ext cx="3005355" cy="121091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33"/>
            </a:p>
          </p:txBody>
        </p:sp>
        <p:sp>
          <p:nvSpPr>
            <p:cNvPr id="9" name="Freeform 50"/>
            <p:cNvSpPr/>
            <p:nvPr/>
          </p:nvSpPr>
          <p:spPr>
            <a:xfrm>
              <a:off x="-11825" y="5284245"/>
              <a:ext cx="9143664" cy="1478725"/>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33"/>
            </a:p>
          </p:txBody>
        </p:sp>
        <p:sp>
          <p:nvSpPr>
            <p:cNvPr id="10" name="Freeform 51"/>
            <p:cNvSpPr/>
            <p:nvPr/>
          </p:nvSpPr>
          <p:spPr>
            <a:xfrm>
              <a:off x="2136990" y="5131621"/>
              <a:ext cx="6982631" cy="1720620"/>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33"/>
            </a:p>
          </p:txBody>
        </p:sp>
        <p:sp>
          <p:nvSpPr>
            <p:cNvPr id="11" name="Hexagon 52"/>
            <p:cNvSpPr/>
            <p:nvPr/>
          </p:nvSpPr>
          <p:spPr>
            <a:xfrm rot="1800000">
              <a:off x="2996245" y="2859540"/>
              <a:ext cx="1601770" cy="1388014"/>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12" name="Hexagon 53"/>
            <p:cNvSpPr/>
            <p:nvPr/>
          </p:nvSpPr>
          <p:spPr>
            <a:xfrm rot="1800000">
              <a:off x="3719756" y="4126606"/>
              <a:ext cx="1601770" cy="1388014"/>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13" name="Hexagon 54"/>
            <p:cNvSpPr/>
            <p:nvPr/>
          </p:nvSpPr>
          <p:spPr>
            <a:xfrm rot="1800000">
              <a:off x="3729259" y="1592473"/>
              <a:ext cx="1601770" cy="1388014"/>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14" name="Hexagon 55"/>
            <p:cNvSpPr/>
            <p:nvPr/>
          </p:nvSpPr>
          <p:spPr>
            <a:xfrm rot="1800000">
              <a:off x="2977241" y="325406"/>
              <a:ext cx="1601770" cy="1388014"/>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15" name="Hexagon 56"/>
            <p:cNvSpPr/>
            <p:nvPr/>
          </p:nvSpPr>
          <p:spPr>
            <a:xfrm rot="1800000">
              <a:off x="4463629" y="5383595"/>
              <a:ext cx="1600413" cy="1388014"/>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16" name="Freeform 57"/>
            <p:cNvSpPr/>
            <p:nvPr/>
          </p:nvSpPr>
          <p:spPr>
            <a:xfrm rot="1800000">
              <a:off x="-382404" y="4201479"/>
              <a:ext cx="1261055" cy="1388014"/>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17" name="Hexagon 58"/>
            <p:cNvSpPr/>
            <p:nvPr/>
          </p:nvSpPr>
          <p:spPr>
            <a:xfrm rot="1800000">
              <a:off x="24826" y="5402312"/>
              <a:ext cx="1600413" cy="1388014"/>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18" name="Hexagon 59"/>
            <p:cNvSpPr/>
            <p:nvPr/>
          </p:nvSpPr>
          <p:spPr>
            <a:xfrm rot="1800000">
              <a:off x="53332" y="2849461"/>
              <a:ext cx="1600412" cy="1388014"/>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19" name="Hexagon 60"/>
            <p:cNvSpPr/>
            <p:nvPr/>
          </p:nvSpPr>
          <p:spPr>
            <a:xfrm rot="1800000">
              <a:off x="776843" y="4126606"/>
              <a:ext cx="1601770" cy="1388014"/>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20" name="Hexagon 61"/>
            <p:cNvSpPr/>
            <p:nvPr/>
          </p:nvSpPr>
          <p:spPr>
            <a:xfrm rot="1800000">
              <a:off x="1509857" y="5412392"/>
              <a:ext cx="1601770" cy="1388014"/>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21" name="Hexagon 62"/>
            <p:cNvSpPr/>
            <p:nvPr/>
          </p:nvSpPr>
          <p:spPr>
            <a:xfrm rot="1800000">
              <a:off x="1528861" y="2859540"/>
              <a:ext cx="1601770" cy="1388014"/>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22" name="Hexagon 63"/>
            <p:cNvSpPr/>
            <p:nvPr/>
          </p:nvSpPr>
          <p:spPr>
            <a:xfrm rot="1800000">
              <a:off x="795847" y="1563676"/>
              <a:ext cx="1601770" cy="1388014"/>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23" name="Hexagon 64"/>
            <p:cNvSpPr/>
            <p:nvPr/>
          </p:nvSpPr>
          <p:spPr>
            <a:xfrm rot="1800000">
              <a:off x="6806557" y="4145325"/>
              <a:ext cx="1600413" cy="1388014"/>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24" name="Hexagon 65"/>
            <p:cNvSpPr/>
            <p:nvPr/>
          </p:nvSpPr>
          <p:spPr>
            <a:xfrm rot="1800000">
              <a:off x="7549073" y="5421031"/>
              <a:ext cx="1601770" cy="1388014"/>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25" name="Hexagon 66"/>
            <p:cNvSpPr/>
            <p:nvPr/>
          </p:nvSpPr>
          <p:spPr>
            <a:xfrm rot="1800000">
              <a:off x="7549073" y="2868179"/>
              <a:ext cx="1601770" cy="1389454"/>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26" name="Freeform 67"/>
            <p:cNvSpPr/>
            <p:nvPr/>
          </p:nvSpPr>
          <p:spPr>
            <a:xfrm rot="1800000">
              <a:off x="8306520" y="4056054"/>
              <a:ext cx="1243408" cy="1388014"/>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27" name="Freeform 68"/>
            <p:cNvSpPr/>
            <p:nvPr/>
          </p:nvSpPr>
          <p:spPr>
            <a:xfrm rot="1800000">
              <a:off x="8306520" y="1511841"/>
              <a:ext cx="1242050" cy="1388014"/>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grpSp>
      <p:sp>
        <p:nvSpPr>
          <p:cNvPr id="43" name="Rectangle 45"/>
          <p:cNvSpPr/>
          <p:nvPr/>
        </p:nvSpPr>
        <p:spPr>
          <a:xfrm>
            <a:off x="6081521" y="-21598"/>
            <a:ext cx="4905036" cy="6271982"/>
          </a:xfrm>
          <a:prstGeom prst="rect">
            <a:avLst/>
          </a:prstGeom>
          <a:solidFill>
            <a:srgbClr val="F5F5F5"/>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4605" tIns="47302" rIns="94605" bIns="47302" anchor="ctr"/>
          <a:lstStyle/>
          <a:p>
            <a:pPr algn="ctr">
              <a:defRPr/>
            </a:pPr>
            <a:endParaRPr lang="en-US" sz="1633"/>
          </a:p>
        </p:txBody>
      </p:sp>
      <p:sp>
        <p:nvSpPr>
          <p:cNvPr id="44" name="Rectangle 46"/>
          <p:cNvSpPr/>
          <p:nvPr/>
        </p:nvSpPr>
        <p:spPr>
          <a:xfrm>
            <a:off x="6199170" y="-21598"/>
            <a:ext cx="4673359" cy="231239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4605" tIns="47302" rIns="94605" bIns="47302" anchor="ctr"/>
          <a:lstStyle/>
          <a:p>
            <a:pPr algn="ctr">
              <a:defRPr/>
            </a:pPr>
            <a:endParaRPr lang="en-US" sz="1633"/>
          </a:p>
        </p:txBody>
      </p:sp>
      <p:sp>
        <p:nvSpPr>
          <p:cNvPr id="45" name="Rectangle 49"/>
          <p:cNvSpPr/>
          <p:nvPr/>
        </p:nvSpPr>
        <p:spPr>
          <a:xfrm>
            <a:off x="6200979" y="6087680"/>
            <a:ext cx="4673359" cy="820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4605" tIns="47302" rIns="94605" bIns="47302" anchor="ctr"/>
          <a:lstStyle/>
          <a:p>
            <a:pPr algn="ctr">
              <a:defRPr/>
            </a:pPr>
            <a:endParaRPr lang="en-US" sz="1633"/>
          </a:p>
        </p:txBody>
      </p:sp>
      <p:sp>
        <p:nvSpPr>
          <p:cNvPr id="46" name="Rectangle 88"/>
          <p:cNvSpPr/>
          <p:nvPr/>
        </p:nvSpPr>
        <p:spPr>
          <a:xfrm>
            <a:off x="6200979" y="6087680"/>
            <a:ext cx="4673359" cy="820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4605" tIns="47302" rIns="94605" bIns="47302" anchor="ctr"/>
          <a:lstStyle/>
          <a:p>
            <a:pPr algn="ctr">
              <a:defRPr/>
            </a:pPr>
            <a:endParaRPr lang="en-US" sz="1633"/>
          </a:p>
        </p:txBody>
      </p:sp>
      <p:sp>
        <p:nvSpPr>
          <p:cNvPr id="2" name="Title 1"/>
          <p:cNvSpPr>
            <a:spLocks noGrp="1"/>
          </p:cNvSpPr>
          <p:nvPr>
            <p:ph type="ctrTitle"/>
          </p:nvPr>
        </p:nvSpPr>
        <p:spPr>
          <a:xfrm>
            <a:off x="6311155" y="2708476"/>
            <a:ext cx="4417807" cy="1702160"/>
          </a:xfrm>
        </p:spPr>
        <p:txBody>
          <a:bodyPr>
            <a:normAutofit/>
          </a:bodyPr>
          <a:lstStyle>
            <a:lvl1pPr>
              <a:defRPr sz="3719"/>
            </a:lvl1pPr>
          </a:lstStyle>
          <a:p>
            <a:r>
              <a:rPr lang="en-US"/>
              <a:t>Click to edit Master title style</a:t>
            </a:r>
            <a:endParaRPr lang="en-US" dirty="0"/>
          </a:p>
        </p:txBody>
      </p:sp>
      <p:sp>
        <p:nvSpPr>
          <p:cNvPr id="3" name="Subtitle 2"/>
          <p:cNvSpPr>
            <a:spLocks noGrp="1"/>
          </p:cNvSpPr>
          <p:nvPr>
            <p:ph type="subTitle" idx="1"/>
          </p:nvPr>
        </p:nvSpPr>
        <p:spPr>
          <a:xfrm>
            <a:off x="6311155" y="4421080"/>
            <a:ext cx="4413071" cy="1260629"/>
          </a:xfrm>
        </p:spPr>
        <p:txBody>
          <a:bodyPr>
            <a:normAutofit/>
          </a:bodyPr>
          <a:lstStyle>
            <a:lvl1pPr marL="0" indent="0" algn="l">
              <a:buNone/>
              <a:defRPr sz="1905">
                <a:solidFill>
                  <a:srgbClr val="424242"/>
                </a:solidFill>
              </a:defRPr>
            </a:lvl1pPr>
            <a:lvl2pPr marL="473026" indent="0" algn="ctr">
              <a:buNone/>
              <a:defRPr>
                <a:solidFill>
                  <a:schemeClr val="tx1">
                    <a:tint val="75000"/>
                  </a:schemeClr>
                </a:solidFill>
              </a:defRPr>
            </a:lvl2pPr>
            <a:lvl3pPr marL="946052" indent="0" algn="ctr">
              <a:buNone/>
              <a:defRPr>
                <a:solidFill>
                  <a:schemeClr val="tx1">
                    <a:tint val="75000"/>
                  </a:schemeClr>
                </a:solidFill>
              </a:defRPr>
            </a:lvl3pPr>
            <a:lvl4pPr marL="1419078" indent="0" algn="ctr">
              <a:buNone/>
              <a:defRPr>
                <a:solidFill>
                  <a:schemeClr val="tx1">
                    <a:tint val="75000"/>
                  </a:schemeClr>
                </a:solidFill>
              </a:defRPr>
            </a:lvl4pPr>
            <a:lvl5pPr marL="1892104" indent="0" algn="ctr">
              <a:buNone/>
              <a:defRPr>
                <a:solidFill>
                  <a:schemeClr val="tx1">
                    <a:tint val="75000"/>
                  </a:schemeClr>
                </a:solidFill>
              </a:defRPr>
            </a:lvl5pPr>
            <a:lvl6pPr marL="2365129" indent="0" algn="ctr">
              <a:buNone/>
              <a:defRPr>
                <a:solidFill>
                  <a:schemeClr val="tx1">
                    <a:tint val="75000"/>
                  </a:schemeClr>
                </a:solidFill>
              </a:defRPr>
            </a:lvl6pPr>
            <a:lvl7pPr marL="2838155" indent="0" algn="ctr">
              <a:buNone/>
              <a:defRPr>
                <a:solidFill>
                  <a:schemeClr val="tx1">
                    <a:tint val="75000"/>
                  </a:schemeClr>
                </a:solidFill>
              </a:defRPr>
            </a:lvl7pPr>
            <a:lvl8pPr marL="3311181" indent="0" algn="ctr">
              <a:buNone/>
              <a:defRPr>
                <a:solidFill>
                  <a:schemeClr val="tx1">
                    <a:tint val="75000"/>
                  </a:schemeClr>
                </a:solidFill>
              </a:defRPr>
            </a:lvl8pPr>
            <a:lvl9pPr marL="3784207" indent="0" algn="ctr">
              <a:buNone/>
              <a:defRPr>
                <a:solidFill>
                  <a:schemeClr val="tx1">
                    <a:tint val="75000"/>
                  </a:schemeClr>
                </a:solidFill>
              </a:defRPr>
            </a:lvl9pPr>
          </a:lstStyle>
          <a:p>
            <a:r>
              <a:rPr lang="en-US"/>
              <a:t>Click to edit Master subtitle style</a:t>
            </a:r>
            <a:endParaRPr lang="en-US" dirty="0"/>
          </a:p>
        </p:txBody>
      </p:sp>
      <p:sp>
        <p:nvSpPr>
          <p:cNvPr id="47" name="Date Placeholder 3"/>
          <p:cNvSpPr>
            <a:spLocks noGrp="1"/>
          </p:cNvSpPr>
          <p:nvPr>
            <p:ph type="dt" sz="half" idx="10"/>
          </p:nvPr>
        </p:nvSpPr>
        <p:spPr>
          <a:xfrm>
            <a:off x="6318627" y="1516162"/>
            <a:ext cx="2845283" cy="751601"/>
          </a:xfrm>
        </p:spPr>
        <p:txBody>
          <a:bodyPr anchor="b"/>
          <a:lstStyle>
            <a:lvl1pPr algn="l">
              <a:defRPr sz="2449"/>
            </a:lvl1pPr>
          </a:lstStyle>
          <a:p>
            <a:pPr>
              <a:defRPr/>
            </a:pPr>
            <a:fld id="{8AA8BD7B-BBC8-40E3-9F41-52B4F3B595D5}" type="datetimeFigureOut">
              <a:rPr lang="vi-VN"/>
              <a:pPr>
                <a:defRPr/>
              </a:pPr>
              <a:t>17/08/2023</a:t>
            </a:fld>
            <a:endParaRPr lang="vi-VN"/>
          </a:p>
        </p:txBody>
      </p:sp>
      <p:sp>
        <p:nvSpPr>
          <p:cNvPr id="48" name="Footer Placeholder 4"/>
          <p:cNvSpPr>
            <a:spLocks noGrp="1"/>
          </p:cNvSpPr>
          <p:nvPr>
            <p:ph type="ftr" sz="quarter" idx="11"/>
          </p:nvPr>
        </p:nvSpPr>
        <p:spPr>
          <a:xfrm>
            <a:off x="7071579" y="5720520"/>
            <a:ext cx="3775610" cy="364281"/>
          </a:xfrm>
        </p:spPr>
        <p:txBody>
          <a:bodyPr>
            <a:normAutofit/>
          </a:bodyPr>
          <a:lstStyle>
            <a:lvl1pPr>
              <a:defRPr>
                <a:solidFill>
                  <a:schemeClr val="accent1"/>
                </a:solidFill>
              </a:defRPr>
            </a:lvl1pPr>
          </a:lstStyle>
          <a:p>
            <a:pPr>
              <a:defRPr/>
            </a:pPr>
            <a:endParaRPr lang="vi-VN"/>
          </a:p>
        </p:txBody>
      </p:sp>
      <p:sp>
        <p:nvSpPr>
          <p:cNvPr id="49" name="Slide Number Placeholder 5"/>
          <p:cNvSpPr>
            <a:spLocks noGrp="1"/>
          </p:cNvSpPr>
          <p:nvPr>
            <p:ph type="sldNum" sz="quarter" idx="12"/>
          </p:nvPr>
        </p:nvSpPr>
        <p:spPr>
          <a:xfrm>
            <a:off x="6199170" y="5720520"/>
            <a:ext cx="857929" cy="364281"/>
          </a:xfrm>
        </p:spPr>
        <p:txBody>
          <a:bodyPr/>
          <a:lstStyle>
            <a:lvl1pPr>
              <a:defRPr>
                <a:solidFill>
                  <a:schemeClr val="accent1"/>
                </a:solidFill>
              </a:defRPr>
            </a:lvl1pPr>
          </a:lstStyle>
          <a:p>
            <a:pPr>
              <a:defRPr/>
            </a:pPr>
            <a:fld id="{CE08FEB2-823E-4C37-B5BC-A4A4363E9FE6}" type="slidenum">
              <a:rPr lang="vi-VN"/>
              <a:pPr>
                <a:defRPr/>
              </a:pPr>
              <a:t>‹#›</a:t>
            </a:fld>
            <a:endParaRPr lang="vi-VN"/>
          </a:p>
        </p:txBody>
      </p:sp>
    </p:spTree>
    <p:extLst>
      <p:ext uri="{BB962C8B-B14F-4D97-AF65-F5344CB8AC3E}">
        <p14:creationId xmlns:p14="http://schemas.microsoft.com/office/powerpoint/2010/main" val="222626406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lvl1pPr>
          </a:lstStyle>
          <a:p>
            <a:pPr>
              <a:defRPr/>
            </a:pPr>
            <a:fld id="{6C82A6C9-9DDF-4D4A-A995-D393AE44CE81}" type="datetimeFigureOut">
              <a:rPr lang="vi-VN"/>
              <a:pPr>
                <a:defRPr/>
              </a:pPr>
              <a:t>17/08/2023</a:t>
            </a:fld>
            <a:endParaRPr lang="vi-VN"/>
          </a:p>
        </p:txBody>
      </p:sp>
      <p:sp>
        <p:nvSpPr>
          <p:cNvPr id="5" name="Footer Placeholder 4"/>
          <p:cNvSpPr>
            <a:spLocks noGrp="1"/>
          </p:cNvSpPr>
          <p:nvPr>
            <p:ph type="ftr" sz="quarter" idx="11"/>
          </p:nvPr>
        </p:nvSpPr>
        <p:spPr/>
        <p:txBody>
          <a:bodyPr/>
          <a:lstStyle>
            <a:lvl1pPr>
              <a:defRPr/>
            </a:lvl1pPr>
          </a:lstStyle>
          <a:p>
            <a:pPr>
              <a:defRPr/>
            </a:pPr>
            <a:endParaRPr lang="vi-VN"/>
          </a:p>
        </p:txBody>
      </p:sp>
      <p:sp>
        <p:nvSpPr>
          <p:cNvPr id="6" name="Slide Number Placeholder 5"/>
          <p:cNvSpPr>
            <a:spLocks noGrp="1"/>
          </p:cNvSpPr>
          <p:nvPr>
            <p:ph type="sldNum" sz="quarter" idx="12"/>
          </p:nvPr>
        </p:nvSpPr>
        <p:spPr/>
        <p:txBody>
          <a:bodyPr/>
          <a:lstStyle>
            <a:lvl1pPr>
              <a:defRPr/>
            </a:lvl1pPr>
          </a:lstStyle>
          <a:p>
            <a:pPr>
              <a:defRPr/>
            </a:pPr>
            <a:fld id="{726C2379-702F-4244-8288-9297ACB59EDF}" type="slidenum">
              <a:rPr lang="vi-VN"/>
              <a:pPr>
                <a:defRPr/>
              </a:pPr>
              <a:t>‹#›</a:t>
            </a:fld>
            <a:endParaRPr lang="vi-VN"/>
          </a:p>
        </p:txBody>
      </p:sp>
    </p:spTree>
    <p:extLst>
      <p:ext uri="{BB962C8B-B14F-4D97-AF65-F5344CB8AC3E}">
        <p14:creationId xmlns:p14="http://schemas.microsoft.com/office/powerpoint/2010/main" val="94871629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678193" y="2900830"/>
            <a:ext cx="8849957" cy="1362075"/>
          </a:xfrm>
        </p:spPr>
        <p:txBody>
          <a:bodyPr/>
          <a:lstStyle>
            <a:lvl1pPr algn="l">
              <a:defRPr sz="4172" b="0" cap="none" baseline="0"/>
            </a:lvl1pPr>
          </a:lstStyle>
          <a:p>
            <a:r>
              <a:rPr lang="en-US"/>
              <a:t>Click to edit Master title style</a:t>
            </a:r>
            <a:endParaRPr lang="en-US" dirty="0"/>
          </a:p>
        </p:txBody>
      </p:sp>
      <p:sp>
        <p:nvSpPr>
          <p:cNvPr id="3" name="Text Placeholder 2"/>
          <p:cNvSpPr>
            <a:spLocks noGrp="1"/>
          </p:cNvSpPr>
          <p:nvPr>
            <p:ph type="body" idx="1"/>
          </p:nvPr>
        </p:nvSpPr>
        <p:spPr>
          <a:xfrm>
            <a:off x="1678195" y="4267200"/>
            <a:ext cx="8849956" cy="1520413"/>
          </a:xfrm>
        </p:spPr>
        <p:txBody>
          <a:bodyPr/>
          <a:lstStyle>
            <a:lvl1pPr marL="0" indent="0">
              <a:buNone/>
              <a:defRPr sz="2086">
                <a:solidFill>
                  <a:schemeClr val="tx1">
                    <a:tint val="75000"/>
                  </a:schemeClr>
                </a:solidFill>
              </a:defRPr>
            </a:lvl1pPr>
            <a:lvl2pPr marL="473026" indent="0">
              <a:buNone/>
              <a:defRPr sz="1905">
                <a:solidFill>
                  <a:schemeClr val="tx1">
                    <a:tint val="75000"/>
                  </a:schemeClr>
                </a:solidFill>
              </a:defRPr>
            </a:lvl2pPr>
            <a:lvl3pPr marL="946052" indent="0">
              <a:buNone/>
              <a:defRPr sz="1633">
                <a:solidFill>
                  <a:schemeClr val="tx1">
                    <a:tint val="75000"/>
                  </a:schemeClr>
                </a:solidFill>
              </a:defRPr>
            </a:lvl3pPr>
            <a:lvl4pPr marL="1419078" indent="0">
              <a:buNone/>
              <a:defRPr sz="1451">
                <a:solidFill>
                  <a:schemeClr val="tx1">
                    <a:tint val="75000"/>
                  </a:schemeClr>
                </a:solidFill>
              </a:defRPr>
            </a:lvl4pPr>
            <a:lvl5pPr marL="1892104" indent="0">
              <a:buNone/>
              <a:defRPr sz="1451">
                <a:solidFill>
                  <a:schemeClr val="tx1">
                    <a:tint val="75000"/>
                  </a:schemeClr>
                </a:solidFill>
              </a:defRPr>
            </a:lvl5pPr>
            <a:lvl6pPr marL="2365129" indent="0">
              <a:buNone/>
              <a:defRPr sz="1451">
                <a:solidFill>
                  <a:schemeClr val="tx1">
                    <a:tint val="75000"/>
                  </a:schemeClr>
                </a:solidFill>
              </a:defRPr>
            </a:lvl6pPr>
            <a:lvl7pPr marL="2838155" indent="0">
              <a:buNone/>
              <a:defRPr sz="1451">
                <a:solidFill>
                  <a:schemeClr val="tx1">
                    <a:tint val="75000"/>
                  </a:schemeClr>
                </a:solidFill>
              </a:defRPr>
            </a:lvl7pPr>
            <a:lvl8pPr marL="3311181" indent="0">
              <a:buNone/>
              <a:defRPr sz="1451">
                <a:solidFill>
                  <a:schemeClr val="tx1">
                    <a:tint val="75000"/>
                  </a:schemeClr>
                </a:solidFill>
              </a:defRPr>
            </a:lvl8pPr>
            <a:lvl9pPr marL="3784207" indent="0">
              <a:buNone/>
              <a:defRPr sz="1451">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F27D6586-74B9-4C76-864E-CE4E23D89055}" type="datetimeFigureOut">
              <a:rPr lang="vi-VN"/>
              <a:pPr>
                <a:defRPr/>
              </a:pPr>
              <a:t>17/08/2023</a:t>
            </a:fld>
            <a:endParaRPr lang="vi-VN"/>
          </a:p>
        </p:txBody>
      </p:sp>
      <p:sp>
        <p:nvSpPr>
          <p:cNvPr id="5" name="Footer Placeholder 4"/>
          <p:cNvSpPr>
            <a:spLocks noGrp="1"/>
          </p:cNvSpPr>
          <p:nvPr>
            <p:ph type="ftr" sz="quarter" idx="11"/>
          </p:nvPr>
        </p:nvSpPr>
        <p:spPr/>
        <p:txBody>
          <a:bodyPr/>
          <a:lstStyle>
            <a:lvl1pPr>
              <a:defRPr/>
            </a:lvl1pPr>
          </a:lstStyle>
          <a:p>
            <a:pPr>
              <a:defRPr/>
            </a:pPr>
            <a:endParaRPr lang="vi-VN"/>
          </a:p>
        </p:txBody>
      </p:sp>
      <p:sp>
        <p:nvSpPr>
          <p:cNvPr id="6" name="Slide Number Placeholder 5"/>
          <p:cNvSpPr>
            <a:spLocks noGrp="1"/>
          </p:cNvSpPr>
          <p:nvPr>
            <p:ph type="sldNum" sz="quarter" idx="12"/>
          </p:nvPr>
        </p:nvSpPr>
        <p:spPr/>
        <p:txBody>
          <a:bodyPr/>
          <a:lstStyle>
            <a:lvl1pPr>
              <a:defRPr/>
            </a:lvl1pPr>
          </a:lstStyle>
          <a:p>
            <a:pPr>
              <a:defRPr/>
            </a:pPr>
            <a:fld id="{9045CD40-860F-4AE0-8318-020B1A12124A}" type="slidenum">
              <a:rPr lang="vi-VN"/>
              <a:pPr>
                <a:defRPr/>
              </a:pPr>
              <a:t>‹#›</a:t>
            </a:fld>
            <a:endParaRPr lang="vi-VN"/>
          </a:p>
        </p:txBody>
      </p:sp>
    </p:spTree>
    <p:extLst>
      <p:ext uri="{BB962C8B-B14F-4D97-AF65-F5344CB8AC3E}">
        <p14:creationId xmlns:p14="http://schemas.microsoft.com/office/powerpoint/2010/main" val="112476636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Content Placeholder 8"/>
          <p:cNvSpPr>
            <a:spLocks noGrp="1"/>
          </p:cNvSpPr>
          <p:nvPr>
            <p:ph sz="quarter" idx="13"/>
          </p:nvPr>
        </p:nvSpPr>
        <p:spPr>
          <a:xfrm>
            <a:off x="1389888" y="2313432"/>
            <a:ext cx="4559808" cy="34930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14"/>
          </p:nvPr>
        </p:nvSpPr>
        <p:spPr>
          <a:xfrm>
            <a:off x="6193536" y="2313431"/>
            <a:ext cx="4559808" cy="34930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5"/>
          </p:nvPr>
        </p:nvSpPr>
        <p:spPr/>
        <p:txBody>
          <a:bodyPr/>
          <a:lstStyle>
            <a:lvl1pPr>
              <a:defRPr/>
            </a:lvl1pPr>
          </a:lstStyle>
          <a:p>
            <a:pPr>
              <a:defRPr/>
            </a:pPr>
            <a:fld id="{B8FE57FB-0D4F-4075-A776-992A59F174AC}" type="datetimeFigureOut">
              <a:rPr lang="vi-VN"/>
              <a:pPr>
                <a:defRPr/>
              </a:pPr>
              <a:t>17/08/2023</a:t>
            </a:fld>
            <a:endParaRPr lang="vi-VN"/>
          </a:p>
        </p:txBody>
      </p:sp>
      <p:sp>
        <p:nvSpPr>
          <p:cNvPr id="6" name="Footer Placeholder 4"/>
          <p:cNvSpPr>
            <a:spLocks noGrp="1"/>
          </p:cNvSpPr>
          <p:nvPr>
            <p:ph type="ftr" sz="quarter" idx="16"/>
          </p:nvPr>
        </p:nvSpPr>
        <p:spPr/>
        <p:txBody>
          <a:bodyPr/>
          <a:lstStyle>
            <a:lvl1pPr>
              <a:defRPr/>
            </a:lvl1pPr>
          </a:lstStyle>
          <a:p>
            <a:pPr>
              <a:defRPr/>
            </a:pPr>
            <a:endParaRPr lang="vi-VN"/>
          </a:p>
        </p:txBody>
      </p:sp>
      <p:sp>
        <p:nvSpPr>
          <p:cNvPr id="7" name="Slide Number Placeholder 5"/>
          <p:cNvSpPr>
            <a:spLocks noGrp="1"/>
          </p:cNvSpPr>
          <p:nvPr>
            <p:ph type="sldNum" sz="quarter" idx="17"/>
          </p:nvPr>
        </p:nvSpPr>
        <p:spPr/>
        <p:txBody>
          <a:bodyPr/>
          <a:lstStyle>
            <a:lvl1pPr>
              <a:defRPr/>
            </a:lvl1pPr>
          </a:lstStyle>
          <a:p>
            <a:pPr>
              <a:defRPr/>
            </a:pPr>
            <a:fld id="{949ED86B-E205-481C-B76E-790D0A1B6C07}" type="slidenum">
              <a:rPr lang="vi-VN"/>
              <a:pPr>
                <a:defRPr/>
              </a:pPr>
              <a:t>‹#›</a:t>
            </a:fld>
            <a:endParaRPr lang="vi-VN"/>
          </a:p>
        </p:txBody>
      </p:sp>
    </p:spTree>
    <p:extLst>
      <p:ext uri="{BB962C8B-B14F-4D97-AF65-F5344CB8AC3E}">
        <p14:creationId xmlns:p14="http://schemas.microsoft.com/office/powerpoint/2010/main" val="10642375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efault title slide 2">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7D997E8D-54A7-034E-BB18-43BE9D8B72AF}"/>
              </a:ext>
            </a:extLst>
          </p:cNvPr>
          <p:cNvGrpSpPr/>
          <p:nvPr userDrawn="1"/>
        </p:nvGrpSpPr>
        <p:grpSpPr>
          <a:xfrm>
            <a:off x="10015962" y="24564"/>
            <a:ext cx="2176038" cy="6833436"/>
            <a:chOff x="10024536" y="24564"/>
            <a:chExt cx="2176039" cy="6833436"/>
          </a:xfrm>
        </p:grpSpPr>
        <p:sp>
          <p:nvSpPr>
            <p:cNvPr id="25" name="Freeform 24">
              <a:extLst>
                <a:ext uri="{FF2B5EF4-FFF2-40B4-BE49-F238E27FC236}">
                  <a16:creationId xmlns:a16="http://schemas.microsoft.com/office/drawing/2014/main" id="{72CE4260-6521-4748-93CA-26778BA70D03}"/>
                </a:ext>
              </a:extLst>
            </p:cNvPr>
            <p:cNvSpPr/>
            <p:nvPr userDrawn="1"/>
          </p:nvSpPr>
          <p:spPr bwMode="auto">
            <a:xfrm>
              <a:off x="10024536" y="24564"/>
              <a:ext cx="2176039" cy="6833436"/>
            </a:xfrm>
            <a:custGeom>
              <a:avLst/>
              <a:gdLst>
                <a:gd name="connsiteX0" fmla="*/ 1745961 w 1745961"/>
                <a:gd name="connsiteY0" fmla="*/ 0 h 5482857"/>
                <a:gd name="connsiteX1" fmla="*/ 1745961 w 1745961"/>
                <a:gd name="connsiteY1" fmla="*/ 5482857 h 5482857"/>
                <a:gd name="connsiteX2" fmla="*/ 0 w 1745961"/>
                <a:gd name="connsiteY2" fmla="*/ 5482857 h 5482857"/>
              </a:gdLst>
              <a:ahLst/>
              <a:cxnLst>
                <a:cxn ang="0">
                  <a:pos x="connsiteX0" y="connsiteY0"/>
                </a:cxn>
                <a:cxn ang="0">
                  <a:pos x="connsiteX1" y="connsiteY1"/>
                </a:cxn>
                <a:cxn ang="0">
                  <a:pos x="connsiteX2" y="connsiteY2"/>
                </a:cxn>
              </a:cxnLst>
              <a:rect l="l" t="t" r="r" b="b"/>
              <a:pathLst>
                <a:path w="1745961" h="5482857">
                  <a:moveTo>
                    <a:pt x="1745961" y="0"/>
                  </a:moveTo>
                  <a:lnTo>
                    <a:pt x="1745961" y="5482857"/>
                  </a:lnTo>
                  <a:lnTo>
                    <a:pt x="0" y="5482857"/>
                  </a:lnTo>
                  <a:close/>
                </a:path>
              </a:pathLst>
            </a:custGeom>
            <a:solidFill>
              <a:schemeClr val="tx2">
                <a:lumMod val="75000"/>
                <a:alpha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685778" rtl="0" eaLnBrk="0" fontAlgn="base" latinLnBrk="0" hangingPunct="0">
                <a:lnSpc>
                  <a:spcPct val="100000"/>
                </a:lnSpc>
                <a:spcBef>
                  <a:spcPct val="0"/>
                </a:spcBef>
                <a:spcAft>
                  <a:spcPct val="0"/>
                </a:spcAft>
                <a:buClrTx/>
                <a:buSzTx/>
                <a:buFontTx/>
                <a:buNone/>
                <a:tabLst/>
              </a:pPr>
              <a:r>
                <a:rPr lang="en-US" sz="1350">
                  <a:latin typeface="Arial" pitchFamily="124" charset="0"/>
                </a:rPr>
                <a:t> </a:t>
              </a:r>
            </a:p>
          </p:txBody>
        </p:sp>
        <p:sp>
          <p:nvSpPr>
            <p:cNvPr id="26" name="Freeform 25">
              <a:extLst>
                <a:ext uri="{FF2B5EF4-FFF2-40B4-BE49-F238E27FC236}">
                  <a16:creationId xmlns:a16="http://schemas.microsoft.com/office/drawing/2014/main" id="{312BDDE4-0CBA-1748-A49D-A2A5F2CE8891}"/>
                </a:ext>
              </a:extLst>
            </p:cNvPr>
            <p:cNvSpPr/>
            <p:nvPr userDrawn="1"/>
          </p:nvSpPr>
          <p:spPr bwMode="auto">
            <a:xfrm>
              <a:off x="10805603" y="2477356"/>
              <a:ext cx="1394972" cy="4380644"/>
            </a:xfrm>
            <a:custGeom>
              <a:avLst/>
              <a:gdLst>
                <a:gd name="connsiteX0" fmla="*/ 1745961 w 1745961"/>
                <a:gd name="connsiteY0" fmla="*/ 0 h 5482857"/>
                <a:gd name="connsiteX1" fmla="*/ 1745961 w 1745961"/>
                <a:gd name="connsiteY1" fmla="*/ 5482857 h 5482857"/>
                <a:gd name="connsiteX2" fmla="*/ 0 w 1745961"/>
                <a:gd name="connsiteY2" fmla="*/ 5482857 h 5482857"/>
              </a:gdLst>
              <a:ahLst/>
              <a:cxnLst>
                <a:cxn ang="0">
                  <a:pos x="connsiteX0" y="connsiteY0"/>
                </a:cxn>
                <a:cxn ang="0">
                  <a:pos x="connsiteX1" y="connsiteY1"/>
                </a:cxn>
                <a:cxn ang="0">
                  <a:pos x="connsiteX2" y="connsiteY2"/>
                </a:cxn>
              </a:cxnLst>
              <a:rect l="l" t="t" r="r" b="b"/>
              <a:pathLst>
                <a:path w="1745961" h="5482857">
                  <a:moveTo>
                    <a:pt x="1745961" y="0"/>
                  </a:moveTo>
                  <a:lnTo>
                    <a:pt x="1745961" y="5482857"/>
                  </a:lnTo>
                  <a:lnTo>
                    <a:pt x="0" y="5482857"/>
                  </a:lnTo>
                  <a:close/>
                </a:path>
              </a:pathLst>
            </a:cu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685778" rtl="0" eaLnBrk="0" fontAlgn="base" latinLnBrk="0" hangingPunct="0">
                <a:lnSpc>
                  <a:spcPct val="100000"/>
                </a:lnSpc>
                <a:spcBef>
                  <a:spcPct val="0"/>
                </a:spcBef>
                <a:spcAft>
                  <a:spcPct val="0"/>
                </a:spcAft>
                <a:buClrTx/>
                <a:buSzTx/>
                <a:buFontTx/>
                <a:buNone/>
                <a:tabLst/>
              </a:pPr>
              <a:endParaRPr lang="en-US" sz="1350">
                <a:latin typeface="Arial" pitchFamily="124" charset="0"/>
              </a:endParaRPr>
            </a:p>
          </p:txBody>
        </p:sp>
      </p:grpSp>
      <p:grpSp>
        <p:nvGrpSpPr>
          <p:cNvPr id="27" name="Group 26">
            <a:extLst>
              <a:ext uri="{FF2B5EF4-FFF2-40B4-BE49-F238E27FC236}">
                <a16:creationId xmlns:a16="http://schemas.microsoft.com/office/drawing/2014/main" id="{50A6D8E5-0F1B-4F46-A75F-B4236465A272}"/>
              </a:ext>
            </a:extLst>
          </p:cNvPr>
          <p:cNvGrpSpPr/>
          <p:nvPr userDrawn="1"/>
        </p:nvGrpSpPr>
        <p:grpSpPr>
          <a:xfrm>
            <a:off x="9662262" y="818784"/>
            <a:ext cx="2529740" cy="6039216"/>
            <a:chOff x="9662260" y="818784"/>
            <a:chExt cx="2529740" cy="6039216"/>
          </a:xfrm>
        </p:grpSpPr>
        <p:pic>
          <p:nvPicPr>
            <p:cNvPr id="28" name="Picture 27">
              <a:extLst>
                <a:ext uri="{FF2B5EF4-FFF2-40B4-BE49-F238E27FC236}">
                  <a16:creationId xmlns:a16="http://schemas.microsoft.com/office/drawing/2014/main" id="{F29E788A-C660-B84C-99A5-D234AA41381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662260" y="1471202"/>
              <a:ext cx="2529740" cy="5386798"/>
            </a:xfrm>
            <a:prstGeom prst="rect">
              <a:avLst/>
            </a:prstGeom>
          </p:spPr>
        </p:pic>
        <p:pic>
          <p:nvPicPr>
            <p:cNvPr id="29" name="Picture 28">
              <a:extLst>
                <a:ext uri="{FF2B5EF4-FFF2-40B4-BE49-F238E27FC236}">
                  <a16:creationId xmlns:a16="http://schemas.microsoft.com/office/drawing/2014/main" id="{DFD590AF-386B-9048-ABEA-59B6BE9DA72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0539851" y="4300794"/>
              <a:ext cx="1652148" cy="2095226"/>
            </a:xfrm>
            <a:prstGeom prst="rect">
              <a:avLst/>
            </a:prstGeom>
          </p:spPr>
        </p:pic>
        <p:pic>
          <p:nvPicPr>
            <p:cNvPr id="30" name="Picture 29">
              <a:extLst>
                <a:ext uri="{FF2B5EF4-FFF2-40B4-BE49-F238E27FC236}">
                  <a16:creationId xmlns:a16="http://schemas.microsoft.com/office/drawing/2014/main" id="{E2756107-63E2-5F45-8CC3-D5261B2411F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rot="20585276">
              <a:off x="10888776" y="3404437"/>
              <a:ext cx="841085" cy="888470"/>
            </a:xfrm>
            <a:prstGeom prst="rect">
              <a:avLst/>
            </a:prstGeom>
          </p:spPr>
        </p:pic>
        <p:pic>
          <p:nvPicPr>
            <p:cNvPr id="31" name="Picture 30">
              <a:extLst>
                <a:ext uri="{FF2B5EF4-FFF2-40B4-BE49-F238E27FC236}">
                  <a16:creationId xmlns:a16="http://schemas.microsoft.com/office/drawing/2014/main" id="{0BBAF86D-A33D-1F45-96FF-45390C30D2F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839843" y="4683251"/>
              <a:ext cx="608076" cy="626643"/>
            </a:xfrm>
            <a:prstGeom prst="rect">
              <a:avLst/>
            </a:prstGeom>
          </p:spPr>
        </p:pic>
        <p:pic>
          <p:nvPicPr>
            <p:cNvPr id="32" name="Picture 31">
              <a:extLst>
                <a:ext uri="{FF2B5EF4-FFF2-40B4-BE49-F238E27FC236}">
                  <a16:creationId xmlns:a16="http://schemas.microsoft.com/office/drawing/2014/main" id="{48104F42-09E4-4B40-858C-D0F13E205AD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rot="19848158">
              <a:off x="10621861" y="5789703"/>
              <a:ext cx="593846" cy="634660"/>
            </a:xfrm>
            <a:prstGeom prst="rect">
              <a:avLst/>
            </a:prstGeom>
          </p:spPr>
        </p:pic>
        <p:pic>
          <p:nvPicPr>
            <p:cNvPr id="33" name="Picture 32">
              <a:extLst>
                <a:ext uri="{FF2B5EF4-FFF2-40B4-BE49-F238E27FC236}">
                  <a16:creationId xmlns:a16="http://schemas.microsoft.com/office/drawing/2014/main" id="{02EBF489-D968-EB46-B15F-78B5BB5FD92E}"/>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l="-38854"/>
            <a:stretch/>
          </p:blipFill>
          <p:spPr>
            <a:xfrm>
              <a:off x="10588564" y="818784"/>
              <a:ext cx="1603435" cy="1703758"/>
            </a:xfrm>
            <a:prstGeom prst="rect">
              <a:avLst/>
            </a:prstGeom>
          </p:spPr>
        </p:pic>
      </p:grpSp>
      <p:grpSp>
        <p:nvGrpSpPr>
          <p:cNvPr id="21" name="Group 20">
            <a:extLst>
              <a:ext uri="{FF2B5EF4-FFF2-40B4-BE49-F238E27FC236}">
                <a16:creationId xmlns:a16="http://schemas.microsoft.com/office/drawing/2014/main" id="{529B2BDF-CCF7-1348-A3D5-D71BE6DC81B3}"/>
              </a:ext>
            </a:extLst>
          </p:cNvPr>
          <p:cNvGrpSpPr/>
          <p:nvPr userDrawn="1"/>
        </p:nvGrpSpPr>
        <p:grpSpPr>
          <a:xfrm>
            <a:off x="304801" y="0"/>
            <a:ext cx="2427682" cy="1044934"/>
            <a:chOff x="0" y="0"/>
            <a:chExt cx="2447693" cy="1053548"/>
          </a:xfrm>
        </p:grpSpPr>
        <p:sp>
          <p:nvSpPr>
            <p:cNvPr id="22" name="Parallelogram 21">
              <a:extLst>
                <a:ext uri="{FF2B5EF4-FFF2-40B4-BE49-F238E27FC236}">
                  <a16:creationId xmlns:a16="http://schemas.microsoft.com/office/drawing/2014/main" id="{5AC29362-88F4-1D4E-981B-656DAC0CCDA0}"/>
                </a:ext>
              </a:extLst>
            </p:cNvPr>
            <p:cNvSpPr/>
            <p:nvPr userDrawn="1"/>
          </p:nvSpPr>
          <p:spPr bwMode="auto">
            <a:xfrm>
              <a:off x="0" y="0"/>
              <a:ext cx="2447693" cy="1053548"/>
            </a:xfrm>
            <a:prstGeom prst="parallelogram">
              <a:avLst>
                <a:gd name="adj" fmla="val 0"/>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685778" rtl="0" eaLnBrk="0" fontAlgn="base" latinLnBrk="0" hangingPunct="0">
                <a:lnSpc>
                  <a:spcPct val="100000"/>
                </a:lnSpc>
                <a:spcBef>
                  <a:spcPct val="0"/>
                </a:spcBef>
                <a:spcAft>
                  <a:spcPct val="0"/>
                </a:spcAft>
                <a:buClrTx/>
                <a:buSzTx/>
                <a:buFontTx/>
                <a:buNone/>
                <a:tabLst/>
              </a:pPr>
              <a:r>
                <a:rPr lang="en-US" sz="1350">
                  <a:latin typeface="Arial" pitchFamily="124" charset="0"/>
                </a:rPr>
                <a:t>               </a:t>
              </a:r>
            </a:p>
          </p:txBody>
        </p:sp>
        <p:pic>
          <p:nvPicPr>
            <p:cNvPr id="23" name="Picture 22">
              <a:extLst>
                <a:ext uri="{FF2B5EF4-FFF2-40B4-BE49-F238E27FC236}">
                  <a16:creationId xmlns:a16="http://schemas.microsoft.com/office/drawing/2014/main" id="{3FDEE4BE-E092-CA4F-AF35-8DF125AB2591}"/>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135820" y="154984"/>
              <a:ext cx="2178058" cy="756021"/>
            </a:xfrm>
            <a:prstGeom prst="rect">
              <a:avLst/>
            </a:prstGeom>
          </p:spPr>
        </p:pic>
      </p:grpSp>
      <p:grpSp>
        <p:nvGrpSpPr>
          <p:cNvPr id="34" name="Group 33">
            <a:extLst>
              <a:ext uri="{FF2B5EF4-FFF2-40B4-BE49-F238E27FC236}">
                <a16:creationId xmlns:a16="http://schemas.microsoft.com/office/drawing/2014/main" id="{229B0B5C-E093-DA4B-806C-77D92FB04B00}"/>
              </a:ext>
            </a:extLst>
          </p:cNvPr>
          <p:cNvGrpSpPr/>
          <p:nvPr userDrawn="1"/>
        </p:nvGrpSpPr>
        <p:grpSpPr>
          <a:xfrm>
            <a:off x="283193" y="5970592"/>
            <a:ext cx="5053203" cy="441233"/>
            <a:chOff x="5155556" y="6168462"/>
            <a:chExt cx="5053203" cy="441233"/>
          </a:xfrm>
        </p:grpSpPr>
        <p:sp>
          <p:nvSpPr>
            <p:cNvPr id="35" name="TextBox 34">
              <a:extLst>
                <a:ext uri="{FF2B5EF4-FFF2-40B4-BE49-F238E27FC236}">
                  <a16:creationId xmlns:a16="http://schemas.microsoft.com/office/drawing/2014/main" id="{8E3D34E8-07DE-DB49-893D-0283BBF248E0}"/>
                </a:ext>
              </a:extLst>
            </p:cNvPr>
            <p:cNvSpPr txBox="1"/>
            <p:nvPr userDrawn="1"/>
          </p:nvSpPr>
          <p:spPr>
            <a:xfrm>
              <a:off x="5656050" y="6168462"/>
              <a:ext cx="4552709" cy="441233"/>
            </a:xfrm>
            <a:prstGeom prst="rect">
              <a:avLst/>
            </a:prstGeom>
            <a:noFill/>
          </p:spPr>
          <p:txBody>
            <a:bodyPr vert="horz" wrap="square" lIns="0" tIns="0" rIns="0" bIns="0" rtlCol="0" anchor="ctr" anchorCtr="0">
              <a:noAutofit/>
            </a:bodyPr>
            <a:lstStyle/>
            <a:p>
              <a:pPr algn="l"/>
              <a:r>
                <a:rPr lang="en-US" sz="1500">
                  <a:solidFill>
                    <a:schemeClr val="tx1"/>
                  </a:solidFill>
                  <a:latin typeface="Arial"/>
                </a:rPr>
                <a:t>The world leader in serving science</a:t>
              </a:r>
            </a:p>
          </p:txBody>
        </p:sp>
        <p:sp>
          <p:nvSpPr>
            <p:cNvPr id="36" name="Parallelogram 35">
              <a:extLst>
                <a:ext uri="{FF2B5EF4-FFF2-40B4-BE49-F238E27FC236}">
                  <a16:creationId xmlns:a16="http://schemas.microsoft.com/office/drawing/2014/main" id="{BC757F20-58AC-5B4E-ACFF-20D22B6D507B}"/>
                </a:ext>
              </a:extLst>
            </p:cNvPr>
            <p:cNvSpPr/>
            <p:nvPr userDrawn="1"/>
          </p:nvSpPr>
          <p:spPr bwMode="auto">
            <a:xfrm>
              <a:off x="5155556" y="6302295"/>
              <a:ext cx="310510" cy="188737"/>
            </a:xfrm>
            <a:prstGeom prst="parallelogram">
              <a:avLst>
                <a:gd name="adj" fmla="val 31844"/>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685778" rtl="0" eaLnBrk="0" fontAlgn="base" latinLnBrk="0" hangingPunct="0">
                <a:lnSpc>
                  <a:spcPct val="100000"/>
                </a:lnSpc>
                <a:spcBef>
                  <a:spcPct val="0"/>
                </a:spcBef>
                <a:spcAft>
                  <a:spcPct val="0"/>
                </a:spcAft>
                <a:buClrTx/>
                <a:buSzTx/>
                <a:buFontTx/>
                <a:buNone/>
                <a:tabLst/>
              </a:pPr>
              <a:r>
                <a:rPr lang="en-US" sz="1350">
                  <a:latin typeface="Arial" pitchFamily="124" charset="0"/>
                </a:rPr>
                <a:t>               </a:t>
              </a:r>
            </a:p>
          </p:txBody>
        </p:sp>
      </p:grpSp>
      <p:sp>
        <p:nvSpPr>
          <p:cNvPr id="45" name="Footer Placeholder 1">
            <a:extLst>
              <a:ext uri="{FF2B5EF4-FFF2-40B4-BE49-F238E27FC236}">
                <a16:creationId xmlns:a16="http://schemas.microsoft.com/office/drawing/2014/main" id="{F96EC45B-102C-174F-9F23-FF784CDB7AB8}"/>
              </a:ext>
            </a:extLst>
          </p:cNvPr>
          <p:cNvSpPr>
            <a:spLocks noGrp="1"/>
          </p:cNvSpPr>
          <p:nvPr>
            <p:ph type="ftr" sz="quarter" idx="15"/>
          </p:nvPr>
        </p:nvSpPr>
        <p:spPr>
          <a:xfrm>
            <a:off x="304800" y="6553202"/>
            <a:ext cx="3657600" cy="304799"/>
          </a:xfrm>
        </p:spPr>
        <p:txBody>
          <a:bodyPr/>
          <a:lstStyle/>
          <a:p>
            <a:r>
              <a:rPr lang="en-US"/>
              <a:t>Proprietary &amp; Confidential |  authoremail@thermofisher.com | 5-August-2020</a:t>
            </a:r>
          </a:p>
        </p:txBody>
      </p:sp>
      <p:sp>
        <p:nvSpPr>
          <p:cNvPr id="46" name="Slide Number Placeholder 2">
            <a:extLst>
              <a:ext uri="{FF2B5EF4-FFF2-40B4-BE49-F238E27FC236}">
                <a16:creationId xmlns:a16="http://schemas.microsoft.com/office/drawing/2014/main" id="{8D006509-7DB4-6541-835F-3B6972AE0860}"/>
              </a:ext>
            </a:extLst>
          </p:cNvPr>
          <p:cNvSpPr>
            <a:spLocks noGrp="1"/>
          </p:cNvSpPr>
          <p:nvPr>
            <p:ph type="sldNum" sz="quarter" idx="12"/>
          </p:nvPr>
        </p:nvSpPr>
        <p:spPr>
          <a:xfrm>
            <a:off x="2" y="6553202"/>
            <a:ext cx="304799" cy="304799"/>
          </a:xfrm>
        </p:spPr>
        <p:txBody>
          <a:bodyPr/>
          <a:lstStyle/>
          <a:p>
            <a:fld id="{89006F1E-66CD-4A4B-9370-B4A3080F0E6C}" type="slidenum">
              <a:rPr lang="en-US" smtClean="0"/>
              <a:pPr/>
              <a:t>‹#›</a:t>
            </a:fld>
            <a:endParaRPr lang="en-US"/>
          </a:p>
        </p:txBody>
      </p:sp>
      <p:sp>
        <p:nvSpPr>
          <p:cNvPr id="37" name="Text Placeholder 15">
            <a:extLst>
              <a:ext uri="{FF2B5EF4-FFF2-40B4-BE49-F238E27FC236}">
                <a16:creationId xmlns:a16="http://schemas.microsoft.com/office/drawing/2014/main" id="{108EBC16-514C-7740-843A-F5174EAA96DC}"/>
              </a:ext>
            </a:extLst>
          </p:cNvPr>
          <p:cNvSpPr>
            <a:spLocks noGrp="1"/>
          </p:cNvSpPr>
          <p:nvPr>
            <p:ph type="body" sz="quarter" idx="10" hasCustomPrompt="1"/>
          </p:nvPr>
        </p:nvSpPr>
        <p:spPr>
          <a:xfrm>
            <a:off x="304802" y="3903896"/>
            <a:ext cx="7619999" cy="308120"/>
          </a:xfrm>
          <a:prstGeom prst="rect">
            <a:avLst/>
          </a:prstGeom>
        </p:spPr>
        <p:txBody>
          <a:bodyPr lIns="0" tIns="0" rIns="0" bIns="0" anchor="b"/>
          <a:lstStyle>
            <a:lvl1pPr>
              <a:spcBef>
                <a:spcPts val="0"/>
              </a:spcBef>
              <a:spcAft>
                <a:spcPts val="0"/>
              </a:spcAft>
              <a:buFontTx/>
              <a:buNone/>
              <a:defRPr sz="1200" b="0" baseline="0">
                <a:solidFill>
                  <a:schemeClr val="tx2"/>
                </a:solidFill>
              </a:defRPr>
            </a:lvl1pPr>
            <a:lvl2pPr marL="85722" indent="3572">
              <a:spcAft>
                <a:spcPts val="0"/>
              </a:spcAft>
              <a:buFontTx/>
              <a:buNone/>
              <a:defRPr sz="1050" i="1" baseline="0">
                <a:solidFill>
                  <a:schemeClr val="tx1"/>
                </a:solidFill>
              </a:defRPr>
            </a:lvl2pPr>
          </a:lstStyle>
          <a:p>
            <a:pPr lvl="0"/>
            <a:r>
              <a:rPr lang="en-US"/>
              <a:t>Presenter name [16pt Arial] </a:t>
            </a:r>
          </a:p>
        </p:txBody>
      </p:sp>
      <p:sp>
        <p:nvSpPr>
          <p:cNvPr id="38" name="Title 16">
            <a:extLst>
              <a:ext uri="{FF2B5EF4-FFF2-40B4-BE49-F238E27FC236}">
                <a16:creationId xmlns:a16="http://schemas.microsoft.com/office/drawing/2014/main" id="{124A4A7F-4904-4645-AEF7-28AEBD45D1C3}"/>
              </a:ext>
            </a:extLst>
          </p:cNvPr>
          <p:cNvSpPr>
            <a:spLocks noGrp="1"/>
          </p:cNvSpPr>
          <p:nvPr>
            <p:ph type="title" hasCustomPrompt="1"/>
          </p:nvPr>
        </p:nvSpPr>
        <p:spPr>
          <a:xfrm>
            <a:off x="304802" y="1726100"/>
            <a:ext cx="7619999" cy="2071868"/>
          </a:xfrm>
          <a:prstGeom prst="rect">
            <a:avLst/>
          </a:prstGeom>
          <a:noFill/>
        </p:spPr>
        <p:txBody>
          <a:bodyPr wrap="square" lIns="0" tIns="0" rIns="0" bIns="0" anchor="b">
            <a:noAutofit/>
          </a:bodyPr>
          <a:lstStyle>
            <a:lvl1pPr>
              <a:lnSpc>
                <a:spcPct val="110000"/>
              </a:lnSpc>
              <a:defRPr sz="2100" b="1">
                <a:solidFill>
                  <a:schemeClr val="tx1"/>
                </a:solidFill>
              </a:defRPr>
            </a:lvl1pPr>
          </a:lstStyle>
          <a:p>
            <a:r>
              <a:rPr lang="en-US"/>
              <a:t>Title [28pt Arial Bold] </a:t>
            </a:r>
          </a:p>
        </p:txBody>
      </p:sp>
      <p:sp>
        <p:nvSpPr>
          <p:cNvPr id="39" name="Text Placeholder 15">
            <a:extLst>
              <a:ext uri="{FF2B5EF4-FFF2-40B4-BE49-F238E27FC236}">
                <a16:creationId xmlns:a16="http://schemas.microsoft.com/office/drawing/2014/main" id="{0DF0839E-0C0A-8E4B-9B47-CC686D239594}"/>
              </a:ext>
            </a:extLst>
          </p:cNvPr>
          <p:cNvSpPr>
            <a:spLocks noGrp="1"/>
          </p:cNvSpPr>
          <p:nvPr>
            <p:ph type="body" sz="quarter" idx="14" hasCustomPrompt="1"/>
          </p:nvPr>
        </p:nvSpPr>
        <p:spPr>
          <a:xfrm>
            <a:off x="304802" y="4255835"/>
            <a:ext cx="7619999" cy="1097215"/>
          </a:xfrm>
          <a:prstGeom prst="rect">
            <a:avLst/>
          </a:prstGeom>
        </p:spPr>
        <p:txBody>
          <a:bodyPr lIns="0" tIns="0" rIns="0" bIns="0" anchor="t">
            <a:normAutofit/>
          </a:bodyPr>
          <a:lstStyle>
            <a:lvl1pPr marL="134536" marR="0" indent="-134536" algn="l" defTabSz="685778" rtl="0" eaLnBrk="1" fontAlgn="auto" latinLnBrk="0" hangingPunct="1">
              <a:lnSpc>
                <a:spcPct val="120000"/>
              </a:lnSpc>
              <a:spcBef>
                <a:spcPts val="0"/>
              </a:spcBef>
              <a:spcAft>
                <a:spcPts val="0"/>
              </a:spcAft>
              <a:buClr>
                <a:schemeClr val="accent4"/>
              </a:buClr>
              <a:buSzPct val="100000"/>
              <a:buFontTx/>
              <a:buNone/>
              <a:tabLst/>
              <a:defRPr sz="1050" b="0" baseline="0">
                <a:solidFill>
                  <a:schemeClr val="tx1"/>
                </a:solidFill>
              </a:defRPr>
            </a:lvl1pPr>
            <a:lvl2pPr marL="85722" indent="3572">
              <a:spcAft>
                <a:spcPts val="0"/>
              </a:spcAft>
              <a:buFontTx/>
              <a:buNone/>
              <a:defRPr sz="1050" i="1" baseline="0">
                <a:solidFill>
                  <a:schemeClr val="tx1"/>
                </a:solidFill>
              </a:defRPr>
            </a:lvl2pPr>
          </a:lstStyle>
          <a:p>
            <a:pPr marL="308600" marR="0" lvl="0" indent="-308600" algn="l" defTabSz="685778" rtl="0" eaLnBrk="1" fontAlgn="auto" latinLnBrk="0" hangingPunct="1">
              <a:lnSpc>
                <a:spcPct val="120000"/>
              </a:lnSpc>
              <a:spcBef>
                <a:spcPts val="0"/>
              </a:spcBef>
              <a:spcAft>
                <a:spcPts val="0"/>
              </a:spcAft>
              <a:buClr>
                <a:schemeClr val="accent4"/>
              </a:buClr>
              <a:buSzPct val="100000"/>
              <a:buFontTx/>
              <a:buNone/>
              <a:tabLst/>
              <a:defRPr/>
            </a:pPr>
            <a:r>
              <a:rPr lang="en-US"/>
              <a:t>Presenter Title [14pt Arial]</a:t>
            </a:r>
            <a:br>
              <a:rPr lang="en-US"/>
            </a:br>
            <a:r>
              <a:rPr lang="en-US"/>
              <a:t>Date [14pt Arial] </a:t>
            </a:r>
          </a:p>
        </p:txBody>
      </p:sp>
    </p:spTree>
    <p:extLst>
      <p:ext uri="{BB962C8B-B14F-4D97-AF65-F5344CB8AC3E}">
        <p14:creationId xmlns:p14="http://schemas.microsoft.com/office/powerpoint/2010/main" val="2492493123"/>
      </p:ext>
    </p:extLst>
  </p:cSld>
  <p:clrMapOvr>
    <a:masterClrMapping/>
  </p:clrMapOvr>
  <p:extLst>
    <p:ext uri="{DCECCB84-F9BA-43D5-87BE-67443E8EF086}">
      <p15:sldGuideLst xmlns:p15="http://schemas.microsoft.com/office/powerpoint/2012/main">
        <p15:guide id="1" pos="192">
          <p15:clr>
            <a:srgbClr val="CCCCCC"/>
          </p15:clr>
        </p15:guide>
        <p15:guide id="2" pos="7488">
          <p15:clr>
            <a:srgbClr val="CCCCCC"/>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1882815" y="2316009"/>
            <a:ext cx="4076198" cy="639762"/>
          </a:xfrm>
        </p:spPr>
        <p:txBody>
          <a:bodyPr anchor="b"/>
          <a:lstStyle>
            <a:lvl1pPr marL="0" indent="0">
              <a:buNone/>
              <a:defRPr sz="2449" b="1">
                <a:solidFill>
                  <a:schemeClr val="accent1"/>
                </a:solidFill>
              </a:defRPr>
            </a:lvl1pPr>
            <a:lvl2pPr marL="473026" indent="0">
              <a:buNone/>
              <a:defRPr sz="2086" b="1"/>
            </a:lvl2pPr>
            <a:lvl3pPr marL="946052" indent="0">
              <a:buNone/>
              <a:defRPr sz="1905" b="1"/>
            </a:lvl3pPr>
            <a:lvl4pPr marL="1419078" indent="0">
              <a:buNone/>
              <a:defRPr sz="1633" b="1"/>
            </a:lvl4pPr>
            <a:lvl5pPr marL="1892104" indent="0">
              <a:buNone/>
              <a:defRPr sz="1633" b="1"/>
            </a:lvl5pPr>
            <a:lvl6pPr marL="2365129" indent="0">
              <a:buNone/>
              <a:defRPr sz="1633" b="1"/>
            </a:lvl6pPr>
            <a:lvl7pPr marL="2838155" indent="0">
              <a:buNone/>
              <a:defRPr sz="1633" b="1"/>
            </a:lvl7pPr>
            <a:lvl8pPr marL="3311181" indent="0">
              <a:buNone/>
              <a:defRPr sz="1633" b="1"/>
            </a:lvl8pPr>
            <a:lvl9pPr marL="3784207" indent="0">
              <a:buNone/>
              <a:defRPr sz="1633" b="1"/>
            </a:lvl9pPr>
          </a:lstStyle>
          <a:p>
            <a:pPr lvl="0"/>
            <a:r>
              <a:rPr lang="en-US"/>
              <a:t>Click to edit Master text styles</a:t>
            </a:r>
          </a:p>
        </p:txBody>
      </p:sp>
      <p:sp>
        <p:nvSpPr>
          <p:cNvPr id="4" name="Content Placeholder 3"/>
          <p:cNvSpPr>
            <a:spLocks noGrp="1"/>
          </p:cNvSpPr>
          <p:nvPr>
            <p:ph sz="half" idx="2"/>
          </p:nvPr>
        </p:nvSpPr>
        <p:spPr>
          <a:xfrm>
            <a:off x="1388962" y="2974694"/>
            <a:ext cx="4559808" cy="2835797"/>
          </a:xfrm>
        </p:spPr>
        <p:txBody>
          <a:bodyPr/>
          <a:lstStyle>
            <a:lvl1pPr>
              <a:defRPr sz="2449"/>
            </a:lvl1pPr>
            <a:lvl2pPr>
              <a:defRPr sz="2086"/>
            </a:lvl2pPr>
            <a:lvl3pPr>
              <a:defRPr sz="1905"/>
            </a:lvl3pPr>
            <a:lvl4pPr>
              <a:defRPr sz="1633"/>
            </a:lvl4pPr>
            <a:lvl5pPr>
              <a:defRPr sz="1633"/>
            </a:lvl5pPr>
            <a:lvl6pPr>
              <a:defRPr sz="1633"/>
            </a:lvl6pPr>
            <a:lvl7pPr>
              <a:defRPr sz="1633"/>
            </a:lvl7pPr>
            <a:lvl8pPr>
              <a:defRPr sz="1633"/>
            </a:lvl8pPr>
            <a:lvl9pPr>
              <a:defRPr sz="16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682451" y="2316011"/>
            <a:ext cx="4074289" cy="639762"/>
          </a:xfrm>
        </p:spPr>
        <p:txBody>
          <a:bodyPr anchor="b"/>
          <a:lstStyle>
            <a:lvl1pPr marL="0" indent="0">
              <a:buNone/>
              <a:defRPr sz="2449" b="1">
                <a:solidFill>
                  <a:schemeClr val="accent1"/>
                </a:solidFill>
              </a:defRPr>
            </a:lvl1pPr>
            <a:lvl2pPr marL="473026" indent="0">
              <a:buNone/>
              <a:defRPr sz="2086" b="1"/>
            </a:lvl2pPr>
            <a:lvl3pPr marL="946052" indent="0">
              <a:buNone/>
              <a:defRPr sz="1905" b="1"/>
            </a:lvl3pPr>
            <a:lvl4pPr marL="1419078" indent="0">
              <a:buNone/>
              <a:defRPr sz="1633" b="1"/>
            </a:lvl4pPr>
            <a:lvl5pPr marL="1892104" indent="0">
              <a:buNone/>
              <a:defRPr sz="1633" b="1"/>
            </a:lvl5pPr>
            <a:lvl6pPr marL="2365129" indent="0">
              <a:buNone/>
              <a:defRPr sz="1633" b="1"/>
            </a:lvl6pPr>
            <a:lvl7pPr marL="2838155" indent="0">
              <a:buNone/>
              <a:defRPr sz="1633" b="1"/>
            </a:lvl7pPr>
            <a:lvl8pPr marL="3311181" indent="0">
              <a:buNone/>
              <a:defRPr sz="1633" b="1"/>
            </a:lvl8pPr>
            <a:lvl9pPr marL="3784207" indent="0">
              <a:buNone/>
              <a:defRPr sz="1633" b="1"/>
            </a:lvl9pPr>
          </a:lstStyle>
          <a:p>
            <a:pPr lvl="0"/>
            <a:r>
              <a:rPr lang="en-US"/>
              <a:t>Click to edit Master text styles</a:t>
            </a:r>
          </a:p>
        </p:txBody>
      </p:sp>
      <p:sp>
        <p:nvSpPr>
          <p:cNvPr id="6" name="Content Placeholder 5"/>
          <p:cNvSpPr>
            <a:spLocks noGrp="1"/>
          </p:cNvSpPr>
          <p:nvPr>
            <p:ph sz="quarter" idx="4"/>
          </p:nvPr>
        </p:nvSpPr>
        <p:spPr>
          <a:xfrm>
            <a:off x="6193536" y="2974694"/>
            <a:ext cx="4559808" cy="2835797"/>
          </a:xfrm>
        </p:spPr>
        <p:txBody>
          <a:bodyPr/>
          <a:lstStyle>
            <a:lvl1pPr>
              <a:defRPr sz="2449"/>
            </a:lvl1pPr>
            <a:lvl2pPr>
              <a:defRPr sz="2086"/>
            </a:lvl2pPr>
            <a:lvl3pPr>
              <a:defRPr sz="1905"/>
            </a:lvl3pPr>
            <a:lvl4pPr>
              <a:defRPr sz="1633"/>
            </a:lvl4pPr>
            <a:lvl5pPr>
              <a:defRPr sz="1633"/>
            </a:lvl5pPr>
            <a:lvl6pPr>
              <a:defRPr sz="1633"/>
            </a:lvl6pPr>
            <a:lvl7pPr>
              <a:defRPr sz="1633"/>
            </a:lvl7pPr>
            <a:lvl8pPr>
              <a:defRPr sz="1633"/>
            </a:lvl8pPr>
            <a:lvl9pPr>
              <a:defRPr sz="16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3"/>
          <p:cNvSpPr>
            <a:spLocks noGrp="1"/>
          </p:cNvSpPr>
          <p:nvPr>
            <p:ph type="dt" sz="half" idx="10"/>
          </p:nvPr>
        </p:nvSpPr>
        <p:spPr/>
        <p:txBody>
          <a:bodyPr/>
          <a:lstStyle>
            <a:lvl1pPr>
              <a:defRPr/>
            </a:lvl1pPr>
          </a:lstStyle>
          <a:p>
            <a:pPr>
              <a:defRPr/>
            </a:pPr>
            <a:fld id="{4819C950-DBC5-4A02-9372-834F90C1890C}" type="datetimeFigureOut">
              <a:rPr lang="vi-VN"/>
              <a:pPr>
                <a:defRPr/>
              </a:pPr>
              <a:t>17/08/2023</a:t>
            </a:fld>
            <a:endParaRPr lang="vi-VN"/>
          </a:p>
        </p:txBody>
      </p:sp>
      <p:sp>
        <p:nvSpPr>
          <p:cNvPr id="8" name="Footer Placeholder 4"/>
          <p:cNvSpPr>
            <a:spLocks noGrp="1"/>
          </p:cNvSpPr>
          <p:nvPr>
            <p:ph type="ftr" sz="quarter" idx="11"/>
          </p:nvPr>
        </p:nvSpPr>
        <p:spPr/>
        <p:txBody>
          <a:bodyPr/>
          <a:lstStyle>
            <a:lvl1pPr>
              <a:defRPr/>
            </a:lvl1pPr>
          </a:lstStyle>
          <a:p>
            <a:pPr>
              <a:defRPr/>
            </a:pPr>
            <a:endParaRPr lang="vi-VN"/>
          </a:p>
        </p:txBody>
      </p:sp>
      <p:sp>
        <p:nvSpPr>
          <p:cNvPr id="9" name="Slide Number Placeholder 5"/>
          <p:cNvSpPr>
            <a:spLocks noGrp="1"/>
          </p:cNvSpPr>
          <p:nvPr>
            <p:ph type="sldNum" sz="quarter" idx="12"/>
          </p:nvPr>
        </p:nvSpPr>
        <p:spPr/>
        <p:txBody>
          <a:bodyPr/>
          <a:lstStyle>
            <a:lvl1pPr>
              <a:defRPr/>
            </a:lvl1pPr>
          </a:lstStyle>
          <a:p>
            <a:pPr>
              <a:defRPr/>
            </a:pPr>
            <a:fld id="{5AA8E879-D646-4576-B6F2-C12EFE623B85}" type="slidenum">
              <a:rPr lang="vi-VN"/>
              <a:pPr>
                <a:defRPr/>
              </a:pPr>
              <a:t>‹#›</a:t>
            </a:fld>
            <a:endParaRPr lang="vi-VN"/>
          </a:p>
        </p:txBody>
      </p:sp>
    </p:spTree>
    <p:extLst>
      <p:ext uri="{BB962C8B-B14F-4D97-AF65-F5344CB8AC3E}">
        <p14:creationId xmlns:p14="http://schemas.microsoft.com/office/powerpoint/2010/main" val="30685955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fld id="{93897F1F-E92A-4667-8BC4-8B3ABC157F83}" type="datetimeFigureOut">
              <a:rPr lang="vi-VN"/>
              <a:pPr>
                <a:defRPr/>
              </a:pPr>
              <a:t>17/08/2023</a:t>
            </a:fld>
            <a:endParaRPr lang="vi-VN"/>
          </a:p>
        </p:txBody>
      </p:sp>
      <p:sp>
        <p:nvSpPr>
          <p:cNvPr id="4" name="Footer Placeholder 4"/>
          <p:cNvSpPr>
            <a:spLocks noGrp="1"/>
          </p:cNvSpPr>
          <p:nvPr>
            <p:ph type="ftr" sz="quarter" idx="11"/>
          </p:nvPr>
        </p:nvSpPr>
        <p:spPr/>
        <p:txBody>
          <a:bodyPr/>
          <a:lstStyle>
            <a:lvl1pPr>
              <a:defRPr/>
            </a:lvl1pPr>
          </a:lstStyle>
          <a:p>
            <a:pPr>
              <a:defRPr/>
            </a:pPr>
            <a:endParaRPr lang="vi-VN"/>
          </a:p>
        </p:txBody>
      </p:sp>
      <p:sp>
        <p:nvSpPr>
          <p:cNvPr id="5" name="Slide Number Placeholder 5"/>
          <p:cNvSpPr>
            <a:spLocks noGrp="1"/>
          </p:cNvSpPr>
          <p:nvPr>
            <p:ph type="sldNum" sz="quarter" idx="12"/>
          </p:nvPr>
        </p:nvSpPr>
        <p:spPr/>
        <p:txBody>
          <a:bodyPr/>
          <a:lstStyle>
            <a:lvl1pPr>
              <a:defRPr/>
            </a:lvl1pPr>
          </a:lstStyle>
          <a:p>
            <a:pPr>
              <a:defRPr/>
            </a:pPr>
            <a:fld id="{31C09736-E632-4D0A-8392-D1E06EE53E11}" type="slidenum">
              <a:rPr lang="vi-VN"/>
              <a:pPr>
                <a:defRPr/>
              </a:pPr>
              <a:t>‹#›</a:t>
            </a:fld>
            <a:endParaRPr lang="vi-VN"/>
          </a:p>
        </p:txBody>
      </p:sp>
    </p:spTree>
    <p:extLst>
      <p:ext uri="{BB962C8B-B14F-4D97-AF65-F5344CB8AC3E}">
        <p14:creationId xmlns:p14="http://schemas.microsoft.com/office/powerpoint/2010/main" val="76844740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92EE4594-39A7-47BA-B99C-DC9764EED164}" type="datetimeFigureOut">
              <a:rPr lang="vi-VN"/>
              <a:pPr>
                <a:defRPr/>
              </a:pPr>
              <a:t>17/08/2023</a:t>
            </a:fld>
            <a:endParaRPr lang="vi-VN"/>
          </a:p>
        </p:txBody>
      </p:sp>
      <p:sp>
        <p:nvSpPr>
          <p:cNvPr id="3" name="Footer Placeholder 4"/>
          <p:cNvSpPr>
            <a:spLocks noGrp="1"/>
          </p:cNvSpPr>
          <p:nvPr>
            <p:ph type="ftr" sz="quarter" idx="11"/>
          </p:nvPr>
        </p:nvSpPr>
        <p:spPr/>
        <p:txBody>
          <a:bodyPr/>
          <a:lstStyle>
            <a:lvl1pPr>
              <a:defRPr/>
            </a:lvl1pPr>
          </a:lstStyle>
          <a:p>
            <a:pPr>
              <a:defRPr/>
            </a:pPr>
            <a:endParaRPr lang="vi-VN"/>
          </a:p>
        </p:txBody>
      </p:sp>
      <p:sp>
        <p:nvSpPr>
          <p:cNvPr id="4" name="Slide Number Placeholder 5"/>
          <p:cNvSpPr>
            <a:spLocks noGrp="1"/>
          </p:cNvSpPr>
          <p:nvPr>
            <p:ph type="sldNum" sz="quarter" idx="12"/>
          </p:nvPr>
        </p:nvSpPr>
        <p:spPr/>
        <p:txBody>
          <a:bodyPr/>
          <a:lstStyle>
            <a:lvl1pPr>
              <a:defRPr/>
            </a:lvl1pPr>
          </a:lstStyle>
          <a:p>
            <a:pPr>
              <a:defRPr/>
            </a:pPr>
            <a:fld id="{029B2883-1697-4DC4-AE1B-2197BBD741C2}" type="slidenum">
              <a:rPr lang="vi-VN"/>
              <a:pPr>
                <a:defRPr/>
              </a:pPr>
              <a:t>‹#›</a:t>
            </a:fld>
            <a:endParaRPr lang="vi-VN"/>
          </a:p>
        </p:txBody>
      </p:sp>
    </p:spTree>
    <p:extLst>
      <p:ext uri="{BB962C8B-B14F-4D97-AF65-F5344CB8AC3E}">
        <p14:creationId xmlns:p14="http://schemas.microsoft.com/office/powerpoint/2010/main" val="137806761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pSp>
        <p:nvGrpSpPr>
          <p:cNvPr id="5" name="Group 43"/>
          <p:cNvGrpSpPr>
            <a:grpSpLocks/>
          </p:cNvGrpSpPr>
          <p:nvPr/>
        </p:nvGrpSpPr>
        <p:grpSpPr bwMode="auto">
          <a:xfrm>
            <a:off x="-510413" y="0"/>
            <a:ext cx="13243597" cy="6858000"/>
            <a:chOff x="-382404" y="0"/>
            <a:chExt cx="9932332" cy="6858000"/>
          </a:xfrm>
        </p:grpSpPr>
        <p:grpSp>
          <p:nvGrpSpPr>
            <p:cNvPr id="6" name="Group 44"/>
            <p:cNvGrpSpPr>
              <a:grpSpLocks/>
            </p:cNvGrpSpPr>
            <p:nvPr/>
          </p:nvGrpSpPr>
          <p:grpSpPr bwMode="auto">
            <a:xfrm>
              <a:off x="392" y="-12958"/>
              <a:ext cx="9135519" cy="6870958"/>
              <a:chOff x="392" y="-12958"/>
              <a:chExt cx="9135519" cy="6870958"/>
            </a:xfrm>
          </p:grpSpPr>
          <p:grpSp>
            <p:nvGrpSpPr>
              <p:cNvPr id="29" name="Group 4"/>
              <p:cNvGrpSpPr>
                <a:grpSpLocks/>
              </p:cNvGrpSpPr>
              <p:nvPr/>
            </p:nvGrpSpPr>
            <p:grpSpPr bwMode="auto">
              <a:xfrm>
                <a:off x="392" y="0"/>
                <a:ext cx="2513964" cy="6858000"/>
                <a:chOff x="392" y="0"/>
                <a:chExt cx="2513964" cy="6858000"/>
              </a:xfrm>
            </p:grpSpPr>
            <p:sp>
              <p:nvSpPr>
                <p:cNvPr id="41" name="Rectangle 83"/>
                <p:cNvSpPr/>
                <p:nvPr/>
              </p:nvSpPr>
              <p:spPr>
                <a:xfrm>
                  <a:off x="913944" y="0"/>
                  <a:ext cx="1600412"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42" name="Rectangle 2"/>
                <p:cNvSpPr/>
                <p:nvPr/>
              </p:nvSpPr>
              <p:spPr>
                <a:xfrm>
                  <a:off x="392" y="0"/>
                  <a:ext cx="457455"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43" name="Rectangle 3"/>
                <p:cNvSpPr/>
                <p:nvPr/>
              </p:nvSpPr>
              <p:spPr>
                <a:xfrm>
                  <a:off x="228441" y="0"/>
                  <a:ext cx="762877"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grpSp>
          <p:grpSp>
            <p:nvGrpSpPr>
              <p:cNvPr id="30" name="Group 5"/>
              <p:cNvGrpSpPr>
                <a:grpSpLocks/>
              </p:cNvGrpSpPr>
              <p:nvPr/>
            </p:nvGrpSpPr>
            <p:grpSpPr bwMode="auto">
              <a:xfrm>
                <a:off x="423911" y="0"/>
                <a:ext cx="2513964" cy="6858000"/>
                <a:chOff x="1001" y="0"/>
                <a:chExt cx="2513964" cy="6858000"/>
              </a:xfrm>
            </p:grpSpPr>
            <p:sp>
              <p:nvSpPr>
                <p:cNvPr id="38" name="Rectangle 80"/>
                <p:cNvSpPr/>
                <p:nvPr/>
              </p:nvSpPr>
              <p:spPr>
                <a:xfrm>
                  <a:off x="914553" y="0"/>
                  <a:ext cx="1600412"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39" name="Rectangle 81"/>
                <p:cNvSpPr/>
                <p:nvPr/>
              </p:nvSpPr>
              <p:spPr>
                <a:xfrm>
                  <a:off x="1001" y="0"/>
                  <a:ext cx="457455"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40" name="Rectangle 82"/>
                <p:cNvSpPr/>
                <p:nvPr/>
              </p:nvSpPr>
              <p:spPr>
                <a:xfrm>
                  <a:off x="229050" y="0"/>
                  <a:ext cx="762877"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grpSp>
          <p:grpSp>
            <p:nvGrpSpPr>
              <p:cNvPr id="31" name="Group 9"/>
              <p:cNvGrpSpPr>
                <a:grpSpLocks/>
              </p:cNvGrpSpPr>
              <p:nvPr/>
            </p:nvGrpSpPr>
            <p:grpSpPr bwMode="auto">
              <a:xfrm rot="10800000">
                <a:off x="6621947" y="-12958"/>
                <a:ext cx="2513964" cy="6866638"/>
                <a:chOff x="8089" y="4320"/>
                <a:chExt cx="2513964" cy="6866638"/>
              </a:xfrm>
            </p:grpSpPr>
            <p:sp>
              <p:nvSpPr>
                <p:cNvPr id="35" name="Rectangle 77"/>
                <p:cNvSpPr/>
                <p:nvPr/>
              </p:nvSpPr>
              <p:spPr>
                <a:xfrm>
                  <a:off x="921640" y="4320"/>
                  <a:ext cx="1600413" cy="6857999"/>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36" name="Rectangle 78"/>
                <p:cNvSpPr/>
                <p:nvPr/>
              </p:nvSpPr>
              <p:spPr>
                <a:xfrm>
                  <a:off x="8089" y="12959"/>
                  <a:ext cx="457454" cy="6857999"/>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37" name="Rectangle 79"/>
                <p:cNvSpPr/>
                <p:nvPr/>
              </p:nvSpPr>
              <p:spPr>
                <a:xfrm>
                  <a:off x="227993" y="12959"/>
                  <a:ext cx="762877" cy="6857999"/>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grpSp>
          <p:sp>
            <p:nvSpPr>
              <p:cNvPr id="32" name="Rectangle 74"/>
              <p:cNvSpPr/>
              <p:nvPr/>
            </p:nvSpPr>
            <p:spPr>
              <a:xfrm>
                <a:off x="3810705" y="0"/>
                <a:ext cx="2819386"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33" name="Rectangle 75"/>
              <p:cNvSpPr/>
              <p:nvPr/>
            </p:nvSpPr>
            <p:spPr>
              <a:xfrm>
                <a:off x="2895795" y="0"/>
                <a:ext cx="457454"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34" name="Rectangle 76"/>
              <p:cNvSpPr/>
              <p:nvPr/>
            </p:nvSpPr>
            <p:spPr>
              <a:xfrm>
                <a:off x="3123844" y="0"/>
                <a:ext cx="762877"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grpSp>
        <p:sp>
          <p:nvSpPr>
            <p:cNvPr id="7" name="Freeform 46"/>
            <p:cNvSpPr/>
            <p:nvPr/>
          </p:nvSpPr>
          <p:spPr>
            <a:xfrm>
              <a:off x="-11825" y="5035151"/>
              <a:ext cx="9143664" cy="1176356"/>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33"/>
            </a:p>
          </p:txBody>
        </p:sp>
        <p:sp>
          <p:nvSpPr>
            <p:cNvPr id="8" name="Freeform 47"/>
            <p:cNvSpPr/>
            <p:nvPr/>
          </p:nvSpPr>
          <p:spPr>
            <a:xfrm>
              <a:off x="-11825" y="3467156"/>
              <a:ext cx="9143664" cy="891267"/>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33"/>
            </a:p>
          </p:txBody>
        </p:sp>
        <p:sp>
          <p:nvSpPr>
            <p:cNvPr id="9" name="Freeform 48"/>
            <p:cNvSpPr/>
            <p:nvPr/>
          </p:nvSpPr>
          <p:spPr>
            <a:xfrm>
              <a:off x="-24042" y="5641327"/>
              <a:ext cx="3005355" cy="121091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33"/>
            </a:p>
          </p:txBody>
        </p:sp>
        <p:sp>
          <p:nvSpPr>
            <p:cNvPr id="10" name="Freeform 49"/>
            <p:cNvSpPr/>
            <p:nvPr/>
          </p:nvSpPr>
          <p:spPr>
            <a:xfrm>
              <a:off x="-11825" y="5284245"/>
              <a:ext cx="9143664" cy="1478725"/>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33"/>
            </a:p>
          </p:txBody>
        </p:sp>
        <p:sp>
          <p:nvSpPr>
            <p:cNvPr id="11" name="Freeform 50"/>
            <p:cNvSpPr/>
            <p:nvPr/>
          </p:nvSpPr>
          <p:spPr>
            <a:xfrm>
              <a:off x="2136990" y="5131621"/>
              <a:ext cx="6982631" cy="1720620"/>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33"/>
            </a:p>
          </p:txBody>
        </p:sp>
        <p:sp>
          <p:nvSpPr>
            <p:cNvPr id="12" name="Hexagon 51"/>
            <p:cNvSpPr/>
            <p:nvPr/>
          </p:nvSpPr>
          <p:spPr>
            <a:xfrm rot="1800000">
              <a:off x="2996245" y="2859540"/>
              <a:ext cx="1601770" cy="1388014"/>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13" name="Hexagon 52"/>
            <p:cNvSpPr/>
            <p:nvPr/>
          </p:nvSpPr>
          <p:spPr>
            <a:xfrm rot="1800000">
              <a:off x="3719756" y="4126606"/>
              <a:ext cx="1601770" cy="1388014"/>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14" name="Hexagon 53"/>
            <p:cNvSpPr/>
            <p:nvPr/>
          </p:nvSpPr>
          <p:spPr>
            <a:xfrm rot="1800000">
              <a:off x="3729259" y="1592473"/>
              <a:ext cx="1601770" cy="1388014"/>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15" name="Hexagon 54"/>
            <p:cNvSpPr/>
            <p:nvPr/>
          </p:nvSpPr>
          <p:spPr>
            <a:xfrm rot="1800000">
              <a:off x="2977241" y="325406"/>
              <a:ext cx="1601770" cy="1388014"/>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16" name="Hexagon 55"/>
            <p:cNvSpPr/>
            <p:nvPr/>
          </p:nvSpPr>
          <p:spPr>
            <a:xfrm rot="1800000">
              <a:off x="4463629" y="5383595"/>
              <a:ext cx="1600413" cy="1388014"/>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17" name="Freeform 58"/>
            <p:cNvSpPr/>
            <p:nvPr/>
          </p:nvSpPr>
          <p:spPr>
            <a:xfrm rot="1800000">
              <a:off x="-382404" y="4201479"/>
              <a:ext cx="1261055" cy="1388014"/>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18" name="Hexagon 59"/>
            <p:cNvSpPr/>
            <p:nvPr/>
          </p:nvSpPr>
          <p:spPr>
            <a:xfrm rot="1800000">
              <a:off x="24826" y="5402312"/>
              <a:ext cx="1600413" cy="1388014"/>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19" name="Hexagon 61"/>
            <p:cNvSpPr/>
            <p:nvPr/>
          </p:nvSpPr>
          <p:spPr>
            <a:xfrm rot="1800000">
              <a:off x="53332" y="2849461"/>
              <a:ext cx="1600412" cy="1388014"/>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20" name="Hexagon 62"/>
            <p:cNvSpPr/>
            <p:nvPr/>
          </p:nvSpPr>
          <p:spPr>
            <a:xfrm rot="1800000">
              <a:off x="776843" y="4126606"/>
              <a:ext cx="1601770" cy="1388014"/>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21" name="Hexagon 63"/>
            <p:cNvSpPr/>
            <p:nvPr/>
          </p:nvSpPr>
          <p:spPr>
            <a:xfrm rot="1800000">
              <a:off x="1509857" y="5412392"/>
              <a:ext cx="1601770" cy="1388014"/>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22" name="Hexagon 64"/>
            <p:cNvSpPr/>
            <p:nvPr/>
          </p:nvSpPr>
          <p:spPr>
            <a:xfrm rot="1800000">
              <a:off x="1528861" y="2859540"/>
              <a:ext cx="1601770" cy="1388014"/>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23" name="Hexagon 65"/>
            <p:cNvSpPr/>
            <p:nvPr/>
          </p:nvSpPr>
          <p:spPr>
            <a:xfrm rot="1800000">
              <a:off x="795847" y="1563676"/>
              <a:ext cx="1601770" cy="1388014"/>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24" name="Hexagon 66"/>
            <p:cNvSpPr/>
            <p:nvPr/>
          </p:nvSpPr>
          <p:spPr>
            <a:xfrm rot="1800000">
              <a:off x="6806557" y="4145325"/>
              <a:ext cx="1600413" cy="1388014"/>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25" name="Hexagon 67"/>
            <p:cNvSpPr/>
            <p:nvPr/>
          </p:nvSpPr>
          <p:spPr>
            <a:xfrm rot="1800000">
              <a:off x="7549073" y="5421031"/>
              <a:ext cx="1601770" cy="1388014"/>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26" name="Hexagon 68"/>
            <p:cNvSpPr/>
            <p:nvPr/>
          </p:nvSpPr>
          <p:spPr>
            <a:xfrm rot="1800000">
              <a:off x="7549073" y="2868179"/>
              <a:ext cx="1601770" cy="1389454"/>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27" name="Freeform 69"/>
            <p:cNvSpPr/>
            <p:nvPr/>
          </p:nvSpPr>
          <p:spPr>
            <a:xfrm rot="1800000">
              <a:off x="8306520" y="4056054"/>
              <a:ext cx="1243408" cy="1388014"/>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28" name="Freeform 70"/>
            <p:cNvSpPr/>
            <p:nvPr/>
          </p:nvSpPr>
          <p:spPr>
            <a:xfrm rot="1800000">
              <a:off x="8306520" y="1511841"/>
              <a:ext cx="1242050" cy="1388014"/>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grpSp>
      <p:sp>
        <p:nvSpPr>
          <p:cNvPr id="44" name="Rectangle 45"/>
          <p:cNvSpPr/>
          <p:nvPr/>
        </p:nvSpPr>
        <p:spPr>
          <a:xfrm>
            <a:off x="6081521" y="-21598"/>
            <a:ext cx="4905036" cy="6271982"/>
          </a:xfrm>
          <a:prstGeom prst="rect">
            <a:avLst/>
          </a:prstGeom>
          <a:solidFill>
            <a:srgbClr val="F5F5F5"/>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4605" tIns="47302" rIns="94605" bIns="47302" anchor="ctr"/>
          <a:lstStyle/>
          <a:p>
            <a:pPr algn="ctr">
              <a:defRPr/>
            </a:pPr>
            <a:endParaRPr lang="en-US" sz="1633"/>
          </a:p>
        </p:txBody>
      </p:sp>
      <p:sp>
        <p:nvSpPr>
          <p:cNvPr id="45" name="Rectangle 56"/>
          <p:cNvSpPr/>
          <p:nvPr/>
        </p:nvSpPr>
        <p:spPr>
          <a:xfrm>
            <a:off x="6199170" y="-21598"/>
            <a:ext cx="4673359" cy="6234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4605" tIns="47302" rIns="94605" bIns="47302" anchor="ctr"/>
          <a:lstStyle/>
          <a:p>
            <a:pPr algn="ctr">
              <a:defRPr/>
            </a:pPr>
            <a:endParaRPr lang="en-US" sz="1633"/>
          </a:p>
        </p:txBody>
      </p:sp>
      <p:sp>
        <p:nvSpPr>
          <p:cNvPr id="46" name="Rectangle 57"/>
          <p:cNvSpPr/>
          <p:nvPr/>
        </p:nvSpPr>
        <p:spPr>
          <a:xfrm>
            <a:off x="1207255" y="601857"/>
            <a:ext cx="4749378" cy="5648527"/>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4605" tIns="47302" rIns="94605" bIns="47302" anchor="ctr"/>
          <a:lstStyle/>
          <a:p>
            <a:pPr algn="ctr">
              <a:defRPr/>
            </a:pPr>
            <a:endParaRPr lang="en-US" sz="1633"/>
          </a:p>
        </p:txBody>
      </p:sp>
      <p:sp>
        <p:nvSpPr>
          <p:cNvPr id="47" name="Rectangle 60"/>
          <p:cNvSpPr/>
          <p:nvPr/>
        </p:nvSpPr>
        <p:spPr>
          <a:xfrm>
            <a:off x="6200979" y="6087680"/>
            <a:ext cx="4673359" cy="820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4605" tIns="47302" rIns="94605" bIns="47302" anchor="ctr"/>
          <a:lstStyle/>
          <a:p>
            <a:pPr algn="ctr">
              <a:defRPr/>
            </a:pPr>
            <a:endParaRPr lang="en-US" sz="1633"/>
          </a:p>
        </p:txBody>
      </p:sp>
      <p:sp>
        <p:nvSpPr>
          <p:cNvPr id="3" name="Content Placeholder 2"/>
          <p:cNvSpPr>
            <a:spLocks noGrp="1"/>
          </p:cNvSpPr>
          <p:nvPr>
            <p:ph idx="1"/>
          </p:nvPr>
        </p:nvSpPr>
        <p:spPr>
          <a:xfrm>
            <a:off x="1527858" y="856528"/>
            <a:ext cx="4120587" cy="5150734"/>
          </a:xfrm>
        </p:spPr>
        <p:txBody>
          <a:bodyPr/>
          <a:lstStyle>
            <a:lvl1pPr>
              <a:defRPr sz="2449"/>
            </a:lvl1pPr>
            <a:lvl2pPr>
              <a:defRPr sz="2268"/>
            </a:lvl2pPr>
            <a:lvl3pPr>
              <a:defRPr sz="2086"/>
            </a:lvl3pPr>
            <a:lvl4pPr>
              <a:defRPr sz="1905"/>
            </a:lvl4pPr>
            <a:lvl5pPr>
              <a:defRPr sz="1633"/>
            </a:lvl5pPr>
            <a:lvl6pPr>
              <a:defRPr sz="2086"/>
            </a:lvl6pPr>
            <a:lvl7pPr>
              <a:defRPr sz="2086"/>
            </a:lvl7pPr>
            <a:lvl8pPr>
              <a:defRPr sz="2086"/>
            </a:lvl8pPr>
            <a:lvl9pPr>
              <a:defRPr sz="208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6319778" y="2657435"/>
            <a:ext cx="4406096" cy="1463153"/>
          </a:xfrm>
        </p:spPr>
        <p:txBody>
          <a:bodyPr>
            <a:normAutofit/>
          </a:bodyPr>
          <a:lstStyle>
            <a:lvl1pPr algn="l">
              <a:defRPr sz="2902" b="0"/>
            </a:lvl1pPr>
          </a:lstStyle>
          <a:p>
            <a:r>
              <a:rPr lang="en-US"/>
              <a:t>Click to edit Master title style</a:t>
            </a:r>
          </a:p>
        </p:txBody>
      </p:sp>
      <p:sp>
        <p:nvSpPr>
          <p:cNvPr id="4" name="Text Placeholder 3"/>
          <p:cNvSpPr>
            <a:spLocks noGrp="1"/>
          </p:cNvSpPr>
          <p:nvPr>
            <p:ph type="body" sz="half" idx="2"/>
          </p:nvPr>
        </p:nvSpPr>
        <p:spPr>
          <a:xfrm>
            <a:off x="6315456" y="4136994"/>
            <a:ext cx="4398379" cy="1517904"/>
          </a:xfrm>
        </p:spPr>
        <p:txBody>
          <a:bodyPr>
            <a:normAutofit/>
          </a:bodyPr>
          <a:lstStyle>
            <a:lvl1pPr marL="0" indent="0">
              <a:buNone/>
              <a:defRPr sz="1633">
                <a:solidFill>
                  <a:srgbClr val="424242"/>
                </a:solidFill>
              </a:defRPr>
            </a:lvl1pPr>
            <a:lvl2pPr marL="473026" indent="0">
              <a:buNone/>
              <a:defRPr sz="1270"/>
            </a:lvl2pPr>
            <a:lvl3pPr marL="946052" indent="0">
              <a:buNone/>
              <a:defRPr sz="998"/>
            </a:lvl3pPr>
            <a:lvl4pPr marL="1419078" indent="0">
              <a:buNone/>
              <a:defRPr sz="907"/>
            </a:lvl4pPr>
            <a:lvl5pPr marL="1892104" indent="0">
              <a:buNone/>
              <a:defRPr sz="907"/>
            </a:lvl5pPr>
            <a:lvl6pPr marL="2365129" indent="0">
              <a:buNone/>
              <a:defRPr sz="907"/>
            </a:lvl6pPr>
            <a:lvl7pPr marL="2838155" indent="0">
              <a:buNone/>
              <a:defRPr sz="907"/>
            </a:lvl7pPr>
            <a:lvl8pPr marL="3311181" indent="0">
              <a:buNone/>
              <a:defRPr sz="907"/>
            </a:lvl8pPr>
            <a:lvl9pPr marL="3784207" indent="0">
              <a:buNone/>
              <a:defRPr sz="907"/>
            </a:lvl9pPr>
          </a:lstStyle>
          <a:p>
            <a:pPr lvl="0"/>
            <a:r>
              <a:rPr lang="en-US"/>
              <a:t>Click to edit Master text styles</a:t>
            </a:r>
          </a:p>
        </p:txBody>
      </p:sp>
      <p:sp>
        <p:nvSpPr>
          <p:cNvPr id="48" name="Date Placeholder 4"/>
          <p:cNvSpPr>
            <a:spLocks noGrp="1"/>
          </p:cNvSpPr>
          <p:nvPr>
            <p:ph type="dt" sz="half" idx="10"/>
          </p:nvPr>
        </p:nvSpPr>
        <p:spPr/>
        <p:txBody>
          <a:bodyPr/>
          <a:lstStyle>
            <a:lvl1pPr>
              <a:defRPr/>
            </a:lvl1pPr>
          </a:lstStyle>
          <a:p>
            <a:pPr>
              <a:defRPr/>
            </a:pPr>
            <a:fld id="{990CB40E-3244-4923-B3E1-1C1C308BEC6F}" type="datetimeFigureOut">
              <a:rPr lang="vi-VN"/>
              <a:pPr>
                <a:defRPr/>
              </a:pPr>
              <a:t>17/08/2023</a:t>
            </a:fld>
            <a:endParaRPr lang="vi-VN"/>
          </a:p>
        </p:txBody>
      </p:sp>
      <p:sp>
        <p:nvSpPr>
          <p:cNvPr id="49" name="Slide Number Placeholder 6"/>
          <p:cNvSpPr>
            <a:spLocks noGrp="1"/>
          </p:cNvSpPr>
          <p:nvPr>
            <p:ph type="sldNum" sz="quarter" idx="11"/>
          </p:nvPr>
        </p:nvSpPr>
        <p:spPr/>
        <p:txBody>
          <a:bodyPr/>
          <a:lstStyle>
            <a:lvl1pPr>
              <a:defRPr/>
            </a:lvl1pPr>
          </a:lstStyle>
          <a:p>
            <a:pPr>
              <a:defRPr/>
            </a:pPr>
            <a:fld id="{C99B8C52-6A1D-4243-8361-2CACD8F489E3}" type="slidenum">
              <a:rPr lang="vi-VN"/>
              <a:pPr>
                <a:defRPr/>
              </a:pPr>
              <a:t>‹#›</a:t>
            </a:fld>
            <a:endParaRPr lang="vi-VN"/>
          </a:p>
        </p:txBody>
      </p:sp>
      <p:sp>
        <p:nvSpPr>
          <p:cNvPr id="50" name="Footer Placeholder 5"/>
          <p:cNvSpPr>
            <a:spLocks noGrp="1"/>
          </p:cNvSpPr>
          <p:nvPr>
            <p:ph type="ftr" sz="quarter" idx="12"/>
          </p:nvPr>
        </p:nvSpPr>
        <p:spPr>
          <a:xfrm>
            <a:off x="6188310" y="5724839"/>
            <a:ext cx="4658879" cy="365722"/>
          </a:xfrm>
        </p:spPr>
        <p:txBody>
          <a:bodyPr>
            <a:normAutofit/>
          </a:bodyPr>
          <a:lstStyle>
            <a:lvl1pPr>
              <a:defRPr/>
            </a:lvl1pPr>
          </a:lstStyle>
          <a:p>
            <a:pPr>
              <a:defRPr/>
            </a:pPr>
            <a:endParaRPr lang="vi-VN"/>
          </a:p>
        </p:txBody>
      </p:sp>
    </p:spTree>
    <p:extLst>
      <p:ext uri="{BB962C8B-B14F-4D97-AF65-F5344CB8AC3E}">
        <p14:creationId xmlns:p14="http://schemas.microsoft.com/office/powerpoint/2010/main" val="286618158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pSp>
        <p:nvGrpSpPr>
          <p:cNvPr id="5" name="Group 43"/>
          <p:cNvGrpSpPr>
            <a:grpSpLocks/>
          </p:cNvGrpSpPr>
          <p:nvPr/>
        </p:nvGrpSpPr>
        <p:grpSpPr bwMode="auto">
          <a:xfrm>
            <a:off x="-510413" y="0"/>
            <a:ext cx="13243597" cy="6858000"/>
            <a:chOff x="-382404" y="0"/>
            <a:chExt cx="9932332" cy="6858000"/>
          </a:xfrm>
        </p:grpSpPr>
        <p:grpSp>
          <p:nvGrpSpPr>
            <p:cNvPr id="6" name="Group 44"/>
            <p:cNvGrpSpPr>
              <a:grpSpLocks/>
            </p:cNvGrpSpPr>
            <p:nvPr/>
          </p:nvGrpSpPr>
          <p:grpSpPr bwMode="auto">
            <a:xfrm>
              <a:off x="392" y="-12958"/>
              <a:ext cx="9135519" cy="6870958"/>
              <a:chOff x="392" y="-12958"/>
              <a:chExt cx="9135519" cy="6870958"/>
            </a:xfrm>
          </p:grpSpPr>
          <p:grpSp>
            <p:nvGrpSpPr>
              <p:cNvPr id="29" name="Group 4"/>
              <p:cNvGrpSpPr>
                <a:grpSpLocks/>
              </p:cNvGrpSpPr>
              <p:nvPr/>
            </p:nvGrpSpPr>
            <p:grpSpPr bwMode="auto">
              <a:xfrm>
                <a:off x="392" y="0"/>
                <a:ext cx="2513964" cy="6858000"/>
                <a:chOff x="392" y="0"/>
                <a:chExt cx="2513964" cy="6858000"/>
              </a:xfrm>
            </p:grpSpPr>
            <p:sp>
              <p:nvSpPr>
                <p:cNvPr id="41" name="Rectangle 86"/>
                <p:cNvSpPr/>
                <p:nvPr/>
              </p:nvSpPr>
              <p:spPr>
                <a:xfrm>
                  <a:off x="913944" y="0"/>
                  <a:ext cx="1600412"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42" name="Rectangle 2"/>
                <p:cNvSpPr/>
                <p:nvPr/>
              </p:nvSpPr>
              <p:spPr>
                <a:xfrm>
                  <a:off x="392" y="0"/>
                  <a:ext cx="457455"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43" name="Rectangle 3"/>
                <p:cNvSpPr/>
                <p:nvPr/>
              </p:nvSpPr>
              <p:spPr>
                <a:xfrm>
                  <a:off x="228441" y="0"/>
                  <a:ext cx="762877"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grpSp>
          <p:grpSp>
            <p:nvGrpSpPr>
              <p:cNvPr id="30" name="Group 5"/>
              <p:cNvGrpSpPr>
                <a:grpSpLocks/>
              </p:cNvGrpSpPr>
              <p:nvPr/>
            </p:nvGrpSpPr>
            <p:grpSpPr bwMode="auto">
              <a:xfrm>
                <a:off x="423911" y="0"/>
                <a:ext cx="2513964" cy="6858000"/>
                <a:chOff x="1001" y="0"/>
                <a:chExt cx="2513964" cy="6858000"/>
              </a:xfrm>
            </p:grpSpPr>
            <p:sp>
              <p:nvSpPr>
                <p:cNvPr id="38" name="Rectangle 83"/>
                <p:cNvSpPr/>
                <p:nvPr/>
              </p:nvSpPr>
              <p:spPr>
                <a:xfrm>
                  <a:off x="914553" y="0"/>
                  <a:ext cx="1600412"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39" name="Rectangle 84"/>
                <p:cNvSpPr/>
                <p:nvPr/>
              </p:nvSpPr>
              <p:spPr>
                <a:xfrm>
                  <a:off x="1001" y="0"/>
                  <a:ext cx="457455"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40" name="Rectangle 85"/>
                <p:cNvSpPr/>
                <p:nvPr/>
              </p:nvSpPr>
              <p:spPr>
                <a:xfrm>
                  <a:off x="229050" y="0"/>
                  <a:ext cx="762877"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grpSp>
          <p:grpSp>
            <p:nvGrpSpPr>
              <p:cNvPr id="31" name="Group 9"/>
              <p:cNvGrpSpPr>
                <a:grpSpLocks/>
              </p:cNvGrpSpPr>
              <p:nvPr/>
            </p:nvGrpSpPr>
            <p:grpSpPr bwMode="auto">
              <a:xfrm rot="10800000">
                <a:off x="6621947" y="-12958"/>
                <a:ext cx="2513964" cy="6866638"/>
                <a:chOff x="8089" y="4320"/>
                <a:chExt cx="2513964" cy="6866638"/>
              </a:xfrm>
            </p:grpSpPr>
            <p:sp>
              <p:nvSpPr>
                <p:cNvPr id="35" name="Rectangle 80"/>
                <p:cNvSpPr/>
                <p:nvPr/>
              </p:nvSpPr>
              <p:spPr>
                <a:xfrm>
                  <a:off x="921640" y="4320"/>
                  <a:ext cx="1600413" cy="6857999"/>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36" name="Rectangle 81"/>
                <p:cNvSpPr/>
                <p:nvPr/>
              </p:nvSpPr>
              <p:spPr>
                <a:xfrm>
                  <a:off x="8089" y="12959"/>
                  <a:ext cx="457454" cy="6857999"/>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37" name="Rectangle 82"/>
                <p:cNvSpPr/>
                <p:nvPr/>
              </p:nvSpPr>
              <p:spPr>
                <a:xfrm>
                  <a:off x="227993" y="12959"/>
                  <a:ext cx="762877" cy="6857999"/>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grpSp>
          <p:sp>
            <p:nvSpPr>
              <p:cNvPr id="32" name="Rectangle 77"/>
              <p:cNvSpPr/>
              <p:nvPr/>
            </p:nvSpPr>
            <p:spPr>
              <a:xfrm>
                <a:off x="3810705" y="0"/>
                <a:ext cx="2819386"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33" name="Rectangle 78"/>
              <p:cNvSpPr/>
              <p:nvPr/>
            </p:nvSpPr>
            <p:spPr>
              <a:xfrm>
                <a:off x="2895795" y="0"/>
                <a:ext cx="457454"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34" name="Rectangle 79"/>
              <p:cNvSpPr/>
              <p:nvPr/>
            </p:nvSpPr>
            <p:spPr>
              <a:xfrm>
                <a:off x="3123844" y="0"/>
                <a:ext cx="762877"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grpSp>
        <p:sp>
          <p:nvSpPr>
            <p:cNvPr id="7" name="Freeform 45"/>
            <p:cNvSpPr/>
            <p:nvPr/>
          </p:nvSpPr>
          <p:spPr>
            <a:xfrm>
              <a:off x="-11825" y="5035151"/>
              <a:ext cx="9143664" cy="1176356"/>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33"/>
            </a:p>
          </p:txBody>
        </p:sp>
        <p:sp>
          <p:nvSpPr>
            <p:cNvPr id="8" name="Freeform 46"/>
            <p:cNvSpPr/>
            <p:nvPr/>
          </p:nvSpPr>
          <p:spPr>
            <a:xfrm>
              <a:off x="-11825" y="3467156"/>
              <a:ext cx="9143664" cy="891267"/>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33"/>
            </a:p>
          </p:txBody>
        </p:sp>
        <p:sp>
          <p:nvSpPr>
            <p:cNvPr id="9" name="Freeform 47"/>
            <p:cNvSpPr/>
            <p:nvPr/>
          </p:nvSpPr>
          <p:spPr>
            <a:xfrm>
              <a:off x="-24042" y="5641327"/>
              <a:ext cx="3005355" cy="121091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33"/>
            </a:p>
          </p:txBody>
        </p:sp>
        <p:sp>
          <p:nvSpPr>
            <p:cNvPr id="10" name="Freeform 48"/>
            <p:cNvSpPr/>
            <p:nvPr/>
          </p:nvSpPr>
          <p:spPr>
            <a:xfrm>
              <a:off x="-11825" y="5284245"/>
              <a:ext cx="9143664" cy="1478725"/>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33"/>
            </a:p>
          </p:txBody>
        </p:sp>
        <p:sp>
          <p:nvSpPr>
            <p:cNvPr id="11" name="Freeform 49"/>
            <p:cNvSpPr/>
            <p:nvPr/>
          </p:nvSpPr>
          <p:spPr>
            <a:xfrm>
              <a:off x="2136990" y="5131621"/>
              <a:ext cx="6982631" cy="1720620"/>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33"/>
            </a:p>
          </p:txBody>
        </p:sp>
        <p:sp>
          <p:nvSpPr>
            <p:cNvPr id="12" name="Hexagon 50"/>
            <p:cNvSpPr/>
            <p:nvPr/>
          </p:nvSpPr>
          <p:spPr>
            <a:xfrm rot="1800000">
              <a:off x="2996245" y="2859540"/>
              <a:ext cx="1601770" cy="1388014"/>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13" name="Hexagon 51"/>
            <p:cNvSpPr/>
            <p:nvPr/>
          </p:nvSpPr>
          <p:spPr>
            <a:xfrm rot="1800000">
              <a:off x="3719756" y="4126606"/>
              <a:ext cx="1601770" cy="1388014"/>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14" name="Hexagon 59"/>
            <p:cNvSpPr/>
            <p:nvPr/>
          </p:nvSpPr>
          <p:spPr>
            <a:xfrm rot="1800000">
              <a:off x="3729259" y="1592473"/>
              <a:ext cx="1601770" cy="1388014"/>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15" name="Hexagon 60"/>
            <p:cNvSpPr/>
            <p:nvPr/>
          </p:nvSpPr>
          <p:spPr>
            <a:xfrm rot="1800000">
              <a:off x="2977241" y="325406"/>
              <a:ext cx="1601770" cy="1388014"/>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16" name="Hexagon 61"/>
            <p:cNvSpPr/>
            <p:nvPr/>
          </p:nvSpPr>
          <p:spPr>
            <a:xfrm rot="1800000">
              <a:off x="4463629" y="5383595"/>
              <a:ext cx="1600413" cy="1388014"/>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17" name="Freeform 62"/>
            <p:cNvSpPr/>
            <p:nvPr/>
          </p:nvSpPr>
          <p:spPr>
            <a:xfrm rot="1800000">
              <a:off x="-382404" y="4201479"/>
              <a:ext cx="1261055" cy="1388014"/>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18" name="Hexagon 63"/>
            <p:cNvSpPr/>
            <p:nvPr/>
          </p:nvSpPr>
          <p:spPr>
            <a:xfrm rot="1800000">
              <a:off x="24826" y="5402312"/>
              <a:ext cx="1600413" cy="1388014"/>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19" name="Hexagon 64"/>
            <p:cNvSpPr/>
            <p:nvPr/>
          </p:nvSpPr>
          <p:spPr>
            <a:xfrm rot="1800000">
              <a:off x="53332" y="2849461"/>
              <a:ext cx="1600412" cy="1388014"/>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20" name="Hexagon 65"/>
            <p:cNvSpPr/>
            <p:nvPr/>
          </p:nvSpPr>
          <p:spPr>
            <a:xfrm rot="1800000">
              <a:off x="776843" y="4126606"/>
              <a:ext cx="1601770" cy="1388014"/>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21" name="Hexagon 66"/>
            <p:cNvSpPr/>
            <p:nvPr/>
          </p:nvSpPr>
          <p:spPr>
            <a:xfrm rot="1800000">
              <a:off x="1509857" y="5412392"/>
              <a:ext cx="1601770" cy="1388014"/>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22" name="Hexagon 67"/>
            <p:cNvSpPr/>
            <p:nvPr/>
          </p:nvSpPr>
          <p:spPr>
            <a:xfrm rot="1800000">
              <a:off x="1528861" y="2859540"/>
              <a:ext cx="1601770" cy="1388014"/>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23" name="Hexagon 68"/>
            <p:cNvSpPr/>
            <p:nvPr/>
          </p:nvSpPr>
          <p:spPr>
            <a:xfrm rot="1800000">
              <a:off x="795847" y="1563676"/>
              <a:ext cx="1601770" cy="1388014"/>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24" name="Hexagon 69"/>
            <p:cNvSpPr/>
            <p:nvPr/>
          </p:nvSpPr>
          <p:spPr>
            <a:xfrm rot="1800000">
              <a:off x="6806557" y="4145325"/>
              <a:ext cx="1600413" cy="1388014"/>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25" name="Hexagon 70"/>
            <p:cNvSpPr/>
            <p:nvPr/>
          </p:nvSpPr>
          <p:spPr>
            <a:xfrm rot="1800000">
              <a:off x="7549073" y="5421031"/>
              <a:ext cx="1601770" cy="1388014"/>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26" name="Hexagon 71"/>
            <p:cNvSpPr/>
            <p:nvPr/>
          </p:nvSpPr>
          <p:spPr>
            <a:xfrm rot="1800000">
              <a:off x="7549073" y="2868179"/>
              <a:ext cx="1601770" cy="1389454"/>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27" name="Freeform 72"/>
            <p:cNvSpPr/>
            <p:nvPr/>
          </p:nvSpPr>
          <p:spPr>
            <a:xfrm rot="1800000">
              <a:off x="8306520" y="4056054"/>
              <a:ext cx="1243408" cy="1388014"/>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28" name="Freeform 73"/>
            <p:cNvSpPr/>
            <p:nvPr/>
          </p:nvSpPr>
          <p:spPr>
            <a:xfrm rot="1800000">
              <a:off x="8306520" y="1511841"/>
              <a:ext cx="1242050" cy="1388014"/>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grpSp>
      <p:sp>
        <p:nvSpPr>
          <p:cNvPr id="44" name="Rectangle 93"/>
          <p:cNvSpPr/>
          <p:nvPr/>
        </p:nvSpPr>
        <p:spPr>
          <a:xfrm>
            <a:off x="6081521" y="-21598"/>
            <a:ext cx="4905036" cy="6271982"/>
          </a:xfrm>
          <a:prstGeom prst="rect">
            <a:avLst/>
          </a:prstGeom>
          <a:solidFill>
            <a:srgbClr val="F5F5F5"/>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4605" tIns="47302" rIns="94605" bIns="47302" anchor="ctr"/>
          <a:lstStyle/>
          <a:p>
            <a:pPr algn="ctr">
              <a:defRPr/>
            </a:pPr>
            <a:endParaRPr lang="en-US" sz="1633"/>
          </a:p>
        </p:txBody>
      </p:sp>
      <p:sp>
        <p:nvSpPr>
          <p:cNvPr id="45" name="Rectangle 100"/>
          <p:cNvSpPr/>
          <p:nvPr/>
        </p:nvSpPr>
        <p:spPr>
          <a:xfrm>
            <a:off x="6199170" y="-21598"/>
            <a:ext cx="4673359" cy="6234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4605" tIns="47302" rIns="94605" bIns="47302" anchor="ctr"/>
          <a:lstStyle/>
          <a:p>
            <a:pPr algn="ctr">
              <a:defRPr/>
            </a:pPr>
            <a:endParaRPr lang="en-US" sz="1633"/>
          </a:p>
        </p:txBody>
      </p:sp>
      <p:sp>
        <p:nvSpPr>
          <p:cNvPr id="46" name="Rectangle 101"/>
          <p:cNvSpPr/>
          <p:nvPr/>
        </p:nvSpPr>
        <p:spPr>
          <a:xfrm>
            <a:off x="1207255" y="601857"/>
            <a:ext cx="4749378" cy="5648527"/>
          </a:xfrm>
          <a:prstGeom prst="rect">
            <a:avLst/>
          </a:prstGeom>
          <a:solidFill>
            <a:srgbClr val="FFFFFF"/>
          </a:solidFill>
          <a:ln w="317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4605" tIns="47302" rIns="94605" bIns="47302" anchor="ctr"/>
          <a:lstStyle/>
          <a:p>
            <a:pPr algn="ctr">
              <a:defRPr/>
            </a:pPr>
            <a:endParaRPr lang="en-US" sz="1633"/>
          </a:p>
        </p:txBody>
      </p:sp>
      <p:sp>
        <p:nvSpPr>
          <p:cNvPr id="47" name="Rectangle 104"/>
          <p:cNvSpPr/>
          <p:nvPr/>
        </p:nvSpPr>
        <p:spPr>
          <a:xfrm>
            <a:off x="6200979" y="6087680"/>
            <a:ext cx="4673359" cy="820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4605" tIns="47302" rIns="94605" bIns="47302" anchor="ctr"/>
          <a:lstStyle/>
          <a:p>
            <a:pPr algn="ctr">
              <a:defRPr/>
            </a:pPr>
            <a:endParaRPr lang="en-US" sz="1633"/>
          </a:p>
        </p:txBody>
      </p:sp>
      <p:sp>
        <p:nvSpPr>
          <p:cNvPr id="2" name="Title 1"/>
          <p:cNvSpPr>
            <a:spLocks noGrp="1"/>
          </p:cNvSpPr>
          <p:nvPr>
            <p:ph type="title"/>
          </p:nvPr>
        </p:nvSpPr>
        <p:spPr>
          <a:xfrm>
            <a:off x="6312566" y="2660904"/>
            <a:ext cx="4401312" cy="1463040"/>
          </a:xfrm>
        </p:spPr>
        <p:txBody>
          <a:bodyPr>
            <a:normAutofit/>
          </a:bodyPr>
          <a:lstStyle>
            <a:lvl1pPr algn="l">
              <a:defRPr sz="2902" b="0"/>
            </a:lvl1pPr>
          </a:lstStyle>
          <a:p>
            <a:r>
              <a:rPr lang="en-US"/>
              <a:t>Click to edit Master title style</a:t>
            </a:r>
          </a:p>
        </p:txBody>
      </p:sp>
      <p:sp>
        <p:nvSpPr>
          <p:cNvPr id="3" name="Picture Placeholder 2"/>
          <p:cNvSpPr>
            <a:spLocks noGrp="1"/>
          </p:cNvSpPr>
          <p:nvPr>
            <p:ph type="pic" idx="1"/>
          </p:nvPr>
        </p:nvSpPr>
        <p:spPr>
          <a:xfrm>
            <a:off x="1340278" y="693795"/>
            <a:ext cx="4479497" cy="5468112"/>
          </a:xfrm>
        </p:spPr>
        <p:txBody>
          <a:bodyPr rtlCol="0">
            <a:normAutofit/>
          </a:bodyPr>
          <a:lstStyle>
            <a:lvl1pPr marL="0" indent="0">
              <a:buNone/>
              <a:defRPr sz="3356">
                <a:solidFill>
                  <a:schemeClr val="accent1"/>
                </a:solidFill>
              </a:defRPr>
            </a:lvl1pPr>
            <a:lvl2pPr marL="473026" indent="0">
              <a:buNone/>
              <a:defRPr sz="2902"/>
            </a:lvl2pPr>
            <a:lvl3pPr marL="946052" indent="0">
              <a:buNone/>
              <a:defRPr sz="2449"/>
            </a:lvl3pPr>
            <a:lvl4pPr marL="1419078" indent="0">
              <a:buNone/>
              <a:defRPr sz="2086"/>
            </a:lvl4pPr>
            <a:lvl5pPr marL="1892104" indent="0">
              <a:buNone/>
              <a:defRPr sz="2086"/>
            </a:lvl5pPr>
            <a:lvl6pPr marL="2365129" indent="0">
              <a:buNone/>
              <a:defRPr sz="2086"/>
            </a:lvl6pPr>
            <a:lvl7pPr marL="2838155" indent="0">
              <a:buNone/>
              <a:defRPr sz="2086"/>
            </a:lvl7pPr>
            <a:lvl8pPr marL="3311181" indent="0">
              <a:buNone/>
              <a:defRPr sz="2086"/>
            </a:lvl8pPr>
            <a:lvl9pPr marL="3784207" indent="0">
              <a:buNone/>
              <a:defRPr sz="2086"/>
            </a:lvl9pPr>
          </a:lstStyle>
          <a:p>
            <a:pPr lvl="0"/>
            <a:r>
              <a:rPr lang="en-US" noProof="0"/>
              <a:t>Click icon to add picture</a:t>
            </a:r>
            <a:endParaRPr lang="en-US" noProof="0" dirty="0"/>
          </a:p>
        </p:txBody>
      </p:sp>
      <p:sp>
        <p:nvSpPr>
          <p:cNvPr id="4" name="Text Placeholder 3"/>
          <p:cNvSpPr>
            <a:spLocks noGrp="1"/>
          </p:cNvSpPr>
          <p:nvPr>
            <p:ph type="body" sz="half" idx="2"/>
          </p:nvPr>
        </p:nvSpPr>
        <p:spPr>
          <a:xfrm>
            <a:off x="6312841" y="4133089"/>
            <a:ext cx="4400764" cy="1519561"/>
          </a:xfrm>
        </p:spPr>
        <p:txBody>
          <a:bodyPr>
            <a:normAutofit/>
          </a:bodyPr>
          <a:lstStyle>
            <a:lvl1pPr marL="0" indent="0">
              <a:buNone/>
              <a:defRPr sz="1633">
                <a:solidFill>
                  <a:srgbClr val="424242"/>
                </a:solidFill>
              </a:defRPr>
            </a:lvl1pPr>
            <a:lvl2pPr marL="473026" indent="0">
              <a:buNone/>
              <a:defRPr sz="1270"/>
            </a:lvl2pPr>
            <a:lvl3pPr marL="946052" indent="0">
              <a:buNone/>
              <a:defRPr sz="998"/>
            </a:lvl3pPr>
            <a:lvl4pPr marL="1419078" indent="0">
              <a:buNone/>
              <a:defRPr sz="907"/>
            </a:lvl4pPr>
            <a:lvl5pPr marL="1892104" indent="0">
              <a:buNone/>
              <a:defRPr sz="907"/>
            </a:lvl5pPr>
            <a:lvl6pPr marL="2365129" indent="0">
              <a:buNone/>
              <a:defRPr sz="907"/>
            </a:lvl6pPr>
            <a:lvl7pPr marL="2838155" indent="0">
              <a:buNone/>
              <a:defRPr sz="907"/>
            </a:lvl7pPr>
            <a:lvl8pPr marL="3311181" indent="0">
              <a:buNone/>
              <a:defRPr sz="907"/>
            </a:lvl8pPr>
            <a:lvl9pPr marL="3784207" indent="0">
              <a:buNone/>
              <a:defRPr sz="907"/>
            </a:lvl9pPr>
          </a:lstStyle>
          <a:p>
            <a:pPr lvl="0"/>
            <a:r>
              <a:rPr lang="en-US"/>
              <a:t>Click to edit Master text styles</a:t>
            </a:r>
          </a:p>
        </p:txBody>
      </p:sp>
      <p:sp>
        <p:nvSpPr>
          <p:cNvPr id="48" name="Date Placeholder 4"/>
          <p:cNvSpPr>
            <a:spLocks noGrp="1"/>
          </p:cNvSpPr>
          <p:nvPr>
            <p:ph type="dt" sz="half" idx="10"/>
          </p:nvPr>
        </p:nvSpPr>
        <p:spPr/>
        <p:txBody>
          <a:bodyPr/>
          <a:lstStyle>
            <a:lvl1pPr>
              <a:defRPr/>
            </a:lvl1pPr>
          </a:lstStyle>
          <a:p>
            <a:pPr>
              <a:defRPr/>
            </a:pPr>
            <a:fld id="{28BCD1D8-B7BC-415E-93FF-508E0A4F3D43}" type="datetimeFigureOut">
              <a:rPr lang="vi-VN"/>
              <a:pPr>
                <a:defRPr/>
              </a:pPr>
              <a:t>17/08/2023</a:t>
            </a:fld>
            <a:endParaRPr lang="vi-VN"/>
          </a:p>
        </p:txBody>
      </p:sp>
      <p:sp>
        <p:nvSpPr>
          <p:cNvPr id="49" name="Footer Placeholder 5"/>
          <p:cNvSpPr>
            <a:spLocks noGrp="1"/>
          </p:cNvSpPr>
          <p:nvPr>
            <p:ph type="ftr" sz="quarter" idx="11"/>
          </p:nvPr>
        </p:nvSpPr>
        <p:spPr>
          <a:xfrm>
            <a:off x="6188310" y="5724839"/>
            <a:ext cx="4658879" cy="365722"/>
          </a:xfrm>
        </p:spPr>
        <p:txBody>
          <a:bodyPr>
            <a:normAutofit/>
          </a:bodyPr>
          <a:lstStyle>
            <a:lvl1pPr>
              <a:defRPr/>
            </a:lvl1pPr>
          </a:lstStyle>
          <a:p>
            <a:pPr>
              <a:defRPr/>
            </a:pPr>
            <a:endParaRPr lang="vi-VN"/>
          </a:p>
        </p:txBody>
      </p:sp>
      <p:sp>
        <p:nvSpPr>
          <p:cNvPr id="50" name="Slide Number Placeholder 6"/>
          <p:cNvSpPr>
            <a:spLocks noGrp="1"/>
          </p:cNvSpPr>
          <p:nvPr>
            <p:ph type="sldNum" sz="quarter" idx="12"/>
          </p:nvPr>
        </p:nvSpPr>
        <p:spPr/>
        <p:txBody>
          <a:bodyPr/>
          <a:lstStyle>
            <a:lvl1pPr>
              <a:defRPr/>
            </a:lvl1pPr>
          </a:lstStyle>
          <a:p>
            <a:pPr>
              <a:defRPr/>
            </a:pPr>
            <a:fld id="{F8D933AB-FE36-41C1-A7C7-61AAF5781560}" type="slidenum">
              <a:rPr lang="vi-VN"/>
              <a:pPr>
                <a:defRPr/>
              </a:pPr>
              <a:t>‹#›</a:t>
            </a:fld>
            <a:endParaRPr lang="vi-VN"/>
          </a:p>
        </p:txBody>
      </p:sp>
    </p:spTree>
    <p:extLst>
      <p:ext uri="{BB962C8B-B14F-4D97-AF65-F5344CB8AC3E}">
        <p14:creationId xmlns:p14="http://schemas.microsoft.com/office/powerpoint/2010/main" val="133368848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986A0581-5FBF-48BB-836A-044DAEF809C8}" type="datetimeFigureOut">
              <a:rPr lang="vi-VN"/>
              <a:pPr>
                <a:defRPr/>
              </a:pPr>
              <a:t>17/08/2023</a:t>
            </a:fld>
            <a:endParaRPr lang="vi-VN"/>
          </a:p>
        </p:txBody>
      </p:sp>
      <p:sp>
        <p:nvSpPr>
          <p:cNvPr id="5" name="Footer Placeholder 4"/>
          <p:cNvSpPr>
            <a:spLocks noGrp="1"/>
          </p:cNvSpPr>
          <p:nvPr>
            <p:ph type="ftr" sz="quarter" idx="11"/>
          </p:nvPr>
        </p:nvSpPr>
        <p:spPr/>
        <p:txBody>
          <a:bodyPr/>
          <a:lstStyle>
            <a:lvl1pPr>
              <a:defRPr/>
            </a:lvl1pPr>
          </a:lstStyle>
          <a:p>
            <a:pPr>
              <a:defRPr/>
            </a:pPr>
            <a:endParaRPr lang="vi-VN"/>
          </a:p>
        </p:txBody>
      </p:sp>
      <p:sp>
        <p:nvSpPr>
          <p:cNvPr id="6" name="Slide Number Placeholder 5"/>
          <p:cNvSpPr>
            <a:spLocks noGrp="1"/>
          </p:cNvSpPr>
          <p:nvPr>
            <p:ph type="sldNum" sz="quarter" idx="12"/>
          </p:nvPr>
        </p:nvSpPr>
        <p:spPr/>
        <p:txBody>
          <a:bodyPr/>
          <a:lstStyle>
            <a:lvl1pPr>
              <a:defRPr/>
            </a:lvl1pPr>
          </a:lstStyle>
          <a:p>
            <a:pPr>
              <a:defRPr/>
            </a:pPr>
            <a:fld id="{FE4C7181-82F3-4549-BC79-986838E2DC40}" type="slidenum">
              <a:rPr lang="vi-VN"/>
              <a:pPr>
                <a:defRPr/>
              </a:pPr>
              <a:t>‹#›</a:t>
            </a:fld>
            <a:endParaRPr lang="vi-VN"/>
          </a:p>
        </p:txBody>
      </p:sp>
    </p:spTree>
    <p:extLst>
      <p:ext uri="{BB962C8B-B14F-4D97-AF65-F5344CB8AC3E}">
        <p14:creationId xmlns:p14="http://schemas.microsoft.com/office/powerpoint/2010/main" val="93183400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2" y="1030148"/>
            <a:ext cx="1979270" cy="4780344"/>
          </a:xfrm>
        </p:spPr>
        <p:txBody>
          <a:bodyPr vert="eaVert" anchor="ctr"/>
          <a:lstStyle/>
          <a:p>
            <a:r>
              <a:rPr lang="en-US"/>
              <a:t>Click to edit Master title style</a:t>
            </a:r>
          </a:p>
        </p:txBody>
      </p:sp>
      <p:sp>
        <p:nvSpPr>
          <p:cNvPr id="3" name="Vertical Text Placeholder 2"/>
          <p:cNvSpPr>
            <a:spLocks noGrp="1"/>
          </p:cNvSpPr>
          <p:nvPr>
            <p:ph type="body" orient="vert" idx="1"/>
          </p:nvPr>
        </p:nvSpPr>
        <p:spPr>
          <a:xfrm>
            <a:off x="1404395" y="1030148"/>
            <a:ext cx="7231606" cy="478034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893474E1-814B-4A79-A998-D9B177829322}" type="datetimeFigureOut">
              <a:rPr lang="vi-VN"/>
              <a:pPr>
                <a:defRPr/>
              </a:pPr>
              <a:t>17/08/2023</a:t>
            </a:fld>
            <a:endParaRPr lang="vi-VN"/>
          </a:p>
        </p:txBody>
      </p:sp>
      <p:sp>
        <p:nvSpPr>
          <p:cNvPr id="5" name="Footer Placeholder 4"/>
          <p:cNvSpPr>
            <a:spLocks noGrp="1"/>
          </p:cNvSpPr>
          <p:nvPr>
            <p:ph type="ftr" sz="quarter" idx="11"/>
          </p:nvPr>
        </p:nvSpPr>
        <p:spPr/>
        <p:txBody>
          <a:bodyPr/>
          <a:lstStyle>
            <a:lvl1pPr>
              <a:defRPr/>
            </a:lvl1pPr>
          </a:lstStyle>
          <a:p>
            <a:pPr>
              <a:defRPr/>
            </a:pPr>
            <a:endParaRPr lang="vi-VN"/>
          </a:p>
        </p:txBody>
      </p:sp>
      <p:sp>
        <p:nvSpPr>
          <p:cNvPr id="6" name="Slide Number Placeholder 5"/>
          <p:cNvSpPr>
            <a:spLocks noGrp="1"/>
          </p:cNvSpPr>
          <p:nvPr>
            <p:ph type="sldNum" sz="quarter" idx="12"/>
          </p:nvPr>
        </p:nvSpPr>
        <p:spPr/>
        <p:txBody>
          <a:bodyPr/>
          <a:lstStyle>
            <a:lvl1pPr>
              <a:defRPr/>
            </a:lvl1pPr>
          </a:lstStyle>
          <a:p>
            <a:pPr>
              <a:defRPr/>
            </a:pPr>
            <a:fld id="{3633136F-4A3A-4735-ADE0-77D6B286A661}" type="slidenum">
              <a:rPr lang="vi-VN"/>
              <a:pPr>
                <a:defRPr/>
              </a:pPr>
              <a:t>‹#›</a:t>
            </a:fld>
            <a:endParaRPr lang="vi-VN"/>
          </a:p>
        </p:txBody>
      </p:sp>
    </p:spTree>
    <p:extLst>
      <p:ext uri="{BB962C8B-B14F-4D97-AF65-F5344CB8AC3E}">
        <p14:creationId xmlns:p14="http://schemas.microsoft.com/office/powerpoint/2010/main" val="160714013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Title and Content-red header">
    <p:spTree>
      <p:nvGrpSpPr>
        <p:cNvPr id="1" name=""/>
        <p:cNvGrpSpPr/>
        <p:nvPr/>
      </p:nvGrpSpPr>
      <p:grpSpPr>
        <a:xfrm>
          <a:off x="0" y="0"/>
          <a:ext cx="0" cy="0"/>
          <a:chOff x="0" y="0"/>
          <a:chExt cx="0" cy="0"/>
        </a:xfrm>
      </p:grpSpPr>
      <p:sp>
        <p:nvSpPr>
          <p:cNvPr id="4" name="Title 3"/>
          <p:cNvSpPr>
            <a:spLocks noGrp="1"/>
          </p:cNvSpPr>
          <p:nvPr>
            <p:ph type="title" hasCustomPrompt="1"/>
          </p:nvPr>
        </p:nvSpPr>
        <p:spPr>
          <a:solidFill>
            <a:schemeClr val="accent4"/>
          </a:solidFill>
        </p:spPr>
        <p:txBody>
          <a:bodyPr/>
          <a:lstStyle>
            <a:lvl1pPr>
              <a:defRPr baseline="0"/>
            </a:lvl1pPr>
          </a:lstStyle>
          <a:p>
            <a:r>
              <a:rPr lang="en-US" dirty="0"/>
              <a:t>Red Title Bar Reserved for Corporate Company Use</a:t>
            </a:r>
          </a:p>
        </p:txBody>
      </p:sp>
    </p:spTree>
    <p:extLst>
      <p:ext uri="{BB962C8B-B14F-4D97-AF65-F5344CB8AC3E}">
        <p14:creationId xmlns:p14="http://schemas.microsoft.com/office/powerpoint/2010/main" val="1745574509"/>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Presentation Bumper (Red)">
    <p:bg>
      <p:bgPr>
        <a:gradFill flip="none" rotWithShape="1">
          <a:gsLst>
            <a:gs pos="0">
              <a:schemeClr val="tx2"/>
            </a:gs>
            <a:gs pos="45000">
              <a:schemeClr val="tx2"/>
            </a:gs>
            <a:gs pos="100000">
              <a:schemeClr val="tx2">
                <a:lumMod val="50000"/>
              </a:schemeClr>
            </a:gs>
          </a:gsLst>
          <a:lin ang="1080000" scaled="0"/>
          <a:tileRect/>
        </a:gra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1B3035E9-1E30-4A65-87BF-D87723B7387D}"/>
              </a:ext>
            </a:extLst>
          </p:cNvPr>
          <p:cNvGrpSpPr/>
          <p:nvPr userDrawn="1"/>
        </p:nvGrpSpPr>
        <p:grpSpPr>
          <a:xfrm>
            <a:off x="9662260" y="818784"/>
            <a:ext cx="2529740" cy="6039216"/>
            <a:chOff x="9662260" y="818784"/>
            <a:chExt cx="2529740" cy="6039216"/>
          </a:xfrm>
        </p:grpSpPr>
        <p:pic>
          <p:nvPicPr>
            <p:cNvPr id="10" name="Picture 9">
              <a:extLst>
                <a:ext uri="{FF2B5EF4-FFF2-40B4-BE49-F238E27FC236}">
                  <a16:creationId xmlns:a16="http://schemas.microsoft.com/office/drawing/2014/main" id="{9DFE8F35-3478-4D36-AE61-9902FA9E571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662260" y="1471202"/>
              <a:ext cx="2529740" cy="5386798"/>
            </a:xfrm>
            <a:prstGeom prst="rect">
              <a:avLst/>
            </a:prstGeom>
          </p:spPr>
        </p:pic>
        <p:pic>
          <p:nvPicPr>
            <p:cNvPr id="12" name="Picture 11">
              <a:extLst>
                <a:ext uri="{FF2B5EF4-FFF2-40B4-BE49-F238E27FC236}">
                  <a16:creationId xmlns:a16="http://schemas.microsoft.com/office/drawing/2014/main" id="{A63CB1BA-AEDB-454F-BBF3-A9613807210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0539851" y="4300794"/>
              <a:ext cx="1652148" cy="2095226"/>
            </a:xfrm>
            <a:prstGeom prst="rect">
              <a:avLst/>
            </a:prstGeom>
          </p:spPr>
        </p:pic>
        <p:pic>
          <p:nvPicPr>
            <p:cNvPr id="13" name="Picture 12">
              <a:extLst>
                <a:ext uri="{FF2B5EF4-FFF2-40B4-BE49-F238E27FC236}">
                  <a16:creationId xmlns:a16="http://schemas.microsoft.com/office/drawing/2014/main" id="{28BB9361-2245-45C7-85B1-98F75F74B97B}"/>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rot="20585276">
              <a:off x="10888776" y="3404437"/>
              <a:ext cx="841085" cy="888470"/>
            </a:xfrm>
            <a:prstGeom prst="rect">
              <a:avLst/>
            </a:prstGeom>
          </p:spPr>
        </p:pic>
        <p:pic>
          <p:nvPicPr>
            <p:cNvPr id="14" name="Picture 13">
              <a:extLst>
                <a:ext uri="{FF2B5EF4-FFF2-40B4-BE49-F238E27FC236}">
                  <a16:creationId xmlns:a16="http://schemas.microsoft.com/office/drawing/2014/main" id="{266621D9-C1BE-4A88-B2E8-40BCC4E56DF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839843" y="4683251"/>
              <a:ext cx="608076" cy="626643"/>
            </a:xfrm>
            <a:prstGeom prst="rect">
              <a:avLst/>
            </a:prstGeom>
          </p:spPr>
        </p:pic>
        <p:pic>
          <p:nvPicPr>
            <p:cNvPr id="15" name="Picture 14">
              <a:extLst>
                <a:ext uri="{FF2B5EF4-FFF2-40B4-BE49-F238E27FC236}">
                  <a16:creationId xmlns:a16="http://schemas.microsoft.com/office/drawing/2014/main" id="{98F6AB9F-8570-461E-BBA2-E013A3DA14E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rot="19848158">
              <a:off x="10621861" y="5789703"/>
              <a:ext cx="593846" cy="634660"/>
            </a:xfrm>
            <a:prstGeom prst="rect">
              <a:avLst/>
            </a:prstGeom>
          </p:spPr>
        </p:pic>
        <p:pic>
          <p:nvPicPr>
            <p:cNvPr id="16" name="Picture 15">
              <a:extLst>
                <a:ext uri="{FF2B5EF4-FFF2-40B4-BE49-F238E27FC236}">
                  <a16:creationId xmlns:a16="http://schemas.microsoft.com/office/drawing/2014/main" id="{1EE6F465-A690-4861-87C0-E7A6A65E3377}"/>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11037236" y="818784"/>
              <a:ext cx="1154763" cy="1703758"/>
            </a:xfrm>
            <a:prstGeom prst="rect">
              <a:avLst/>
            </a:prstGeom>
          </p:spPr>
        </p:pic>
      </p:grpSp>
      <p:sp>
        <p:nvSpPr>
          <p:cNvPr id="17" name="Slide Number Placeholder 2">
            <a:extLst>
              <a:ext uri="{FF2B5EF4-FFF2-40B4-BE49-F238E27FC236}">
                <a16:creationId xmlns:a16="http://schemas.microsoft.com/office/drawing/2014/main" id="{8EE24E27-68F9-E941-9584-DF35AA5AA788}"/>
              </a:ext>
            </a:extLst>
          </p:cNvPr>
          <p:cNvSpPr>
            <a:spLocks noGrp="1"/>
          </p:cNvSpPr>
          <p:nvPr>
            <p:ph type="sldNum" sz="quarter" idx="10"/>
          </p:nvPr>
        </p:nvSpPr>
        <p:spPr>
          <a:xfrm>
            <a:off x="1" y="6553200"/>
            <a:ext cx="304799" cy="304799"/>
          </a:xfrm>
        </p:spPr>
        <p:txBody>
          <a:bodyPr/>
          <a:lstStyle>
            <a:lvl1pPr>
              <a:defRPr>
                <a:solidFill>
                  <a:schemeClr val="bg1"/>
                </a:solidFill>
              </a:defRPr>
            </a:lvl1pPr>
          </a:lstStyle>
          <a:p>
            <a:fld id="{89006F1E-66CD-4A4B-9370-B4A3080F0E6C}" type="slidenum">
              <a:rPr lang="en-US" smtClean="0"/>
              <a:pPr/>
              <a:t>‹#›</a:t>
            </a:fld>
            <a:endParaRPr lang="en-US" dirty="0"/>
          </a:p>
        </p:txBody>
      </p:sp>
      <p:sp>
        <p:nvSpPr>
          <p:cNvPr id="18" name="Footer Placeholder 1">
            <a:extLst>
              <a:ext uri="{FF2B5EF4-FFF2-40B4-BE49-F238E27FC236}">
                <a16:creationId xmlns:a16="http://schemas.microsoft.com/office/drawing/2014/main" id="{6380E455-E213-C44A-A7FC-3A9E06997A4C}"/>
              </a:ext>
            </a:extLst>
          </p:cNvPr>
          <p:cNvSpPr>
            <a:spLocks noGrp="1"/>
          </p:cNvSpPr>
          <p:nvPr>
            <p:ph type="ftr" sz="quarter" idx="14"/>
          </p:nvPr>
        </p:nvSpPr>
        <p:spPr>
          <a:xfrm>
            <a:off x="304799" y="6553201"/>
            <a:ext cx="7620001" cy="304800"/>
          </a:xfrm>
          <a:prstGeom prst="rect">
            <a:avLst/>
          </a:prstGeom>
        </p:spPr>
        <p:txBody>
          <a:bodyPr/>
          <a:lstStyle>
            <a:lvl1pPr>
              <a:defRPr>
                <a:solidFill>
                  <a:schemeClr val="bg1"/>
                </a:solidFill>
              </a:defRPr>
            </a:lvl1pPr>
          </a:lstStyle>
          <a:p>
            <a:endParaRPr lang="en-US" dirty="0">
              <a:ea typeface="MS PGothic" panose="020B0600070205080204" pitchFamily="34" charset="-128"/>
            </a:endParaRPr>
          </a:p>
        </p:txBody>
      </p:sp>
      <p:sp>
        <p:nvSpPr>
          <p:cNvPr id="20" name="Content Placeholder 4">
            <a:extLst>
              <a:ext uri="{FF2B5EF4-FFF2-40B4-BE49-F238E27FC236}">
                <a16:creationId xmlns:a16="http://schemas.microsoft.com/office/drawing/2014/main" id="{20350945-012E-8845-8F5F-AD0E66DE7739}"/>
              </a:ext>
            </a:extLst>
          </p:cNvPr>
          <p:cNvSpPr>
            <a:spLocks noGrp="1"/>
          </p:cNvSpPr>
          <p:nvPr>
            <p:ph sz="quarter" idx="16" hasCustomPrompt="1"/>
          </p:nvPr>
        </p:nvSpPr>
        <p:spPr>
          <a:xfrm>
            <a:off x="318656" y="5268999"/>
            <a:ext cx="7691658" cy="489250"/>
          </a:xfrm>
        </p:spPr>
        <p:txBody>
          <a:bodyPr/>
          <a:lstStyle>
            <a:lvl1pPr marL="0" marR="0" indent="0" algn="l" defTabSz="914400" rtl="0" eaLnBrk="1" fontAlgn="auto" latinLnBrk="0" hangingPunct="1">
              <a:lnSpc>
                <a:spcPct val="120000"/>
              </a:lnSpc>
              <a:spcBef>
                <a:spcPts val="200"/>
              </a:spcBef>
              <a:spcAft>
                <a:spcPts val="0"/>
              </a:spcAft>
              <a:buClr>
                <a:schemeClr val="tx2"/>
              </a:buClr>
              <a:buSzPct val="100000"/>
              <a:buFont typeface="Arial" panose="020B0604020202020204" pitchFamily="34" charset="0"/>
              <a:buNone/>
              <a:tabLst/>
              <a:defRPr>
                <a:solidFill>
                  <a:schemeClr val="bg1"/>
                </a:solidFill>
              </a:defRPr>
            </a:lvl1pPr>
          </a:lstStyle>
          <a:p>
            <a:pPr marL="0" marR="0" lvl="0" indent="0" algn="l" defTabSz="914400" rtl="0" eaLnBrk="1" fontAlgn="auto" latinLnBrk="0" hangingPunct="1">
              <a:lnSpc>
                <a:spcPct val="120000"/>
              </a:lnSpc>
              <a:spcBef>
                <a:spcPts val="200"/>
              </a:spcBef>
              <a:spcAft>
                <a:spcPts val="0"/>
              </a:spcAft>
              <a:buClr>
                <a:schemeClr val="tx2"/>
              </a:buClr>
              <a:buSzPct val="100000"/>
              <a:buFont typeface="Arial" panose="020B0604020202020204" pitchFamily="34" charset="0"/>
              <a:buNone/>
              <a:tabLst/>
              <a:defRPr/>
            </a:pPr>
            <a:r>
              <a:rPr lang="en-US" sz="2000" b="0" dirty="0">
                <a:solidFill>
                  <a:schemeClr val="bg1"/>
                </a:solidFill>
              </a:rPr>
              <a:t>Custom message…</a:t>
            </a:r>
            <a:endParaRPr lang="en-US" sz="2000" dirty="0">
              <a:solidFill>
                <a:schemeClr val="bg1"/>
              </a:solidFill>
            </a:endParaRPr>
          </a:p>
        </p:txBody>
      </p:sp>
      <p:sp>
        <p:nvSpPr>
          <p:cNvPr id="21" name="Text Placeholder 2">
            <a:extLst>
              <a:ext uri="{FF2B5EF4-FFF2-40B4-BE49-F238E27FC236}">
                <a16:creationId xmlns:a16="http://schemas.microsoft.com/office/drawing/2014/main" id="{1F2724B9-ABB6-0B48-8CBE-4DC2424568F8}"/>
              </a:ext>
            </a:extLst>
          </p:cNvPr>
          <p:cNvSpPr>
            <a:spLocks noGrp="1"/>
          </p:cNvSpPr>
          <p:nvPr>
            <p:ph type="body" sz="quarter" idx="17" hasCustomPrompt="1"/>
          </p:nvPr>
        </p:nvSpPr>
        <p:spPr>
          <a:xfrm>
            <a:off x="255104" y="3792585"/>
            <a:ext cx="7755210" cy="1476413"/>
          </a:xfrm>
        </p:spPr>
        <p:txBody>
          <a:bodyPr/>
          <a:lstStyle>
            <a:lvl1pPr>
              <a:buNone/>
              <a:defRPr lang="en-US" sz="9600" b="1" kern="1200" dirty="0">
                <a:solidFill>
                  <a:schemeClr val="bg1"/>
                </a:solidFill>
                <a:latin typeface="+mn-lt"/>
                <a:ea typeface="+mn-ea"/>
                <a:cs typeface="+mn-cs"/>
              </a:defRPr>
            </a:lvl1pPr>
          </a:lstStyle>
          <a:p>
            <a:pPr lvl="0"/>
            <a:r>
              <a:rPr lang="en-US" dirty="0"/>
              <a:t>Custom…</a:t>
            </a:r>
          </a:p>
        </p:txBody>
      </p:sp>
    </p:spTree>
    <p:extLst>
      <p:ext uri="{BB962C8B-B14F-4D97-AF65-F5344CB8AC3E}">
        <p14:creationId xmlns:p14="http://schemas.microsoft.com/office/powerpoint/2010/main" val="2337991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Important Disclaimer">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0081F8D7-94E1-D14A-9B72-83893197CFDB}"/>
              </a:ext>
            </a:extLst>
          </p:cNvPr>
          <p:cNvSpPr/>
          <p:nvPr userDrawn="1"/>
        </p:nvSpPr>
        <p:spPr>
          <a:xfrm>
            <a:off x="304799" y="1447799"/>
            <a:ext cx="4876801" cy="234730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Text Placeholder 9">
            <a:extLst>
              <a:ext uri="{FF2B5EF4-FFF2-40B4-BE49-F238E27FC236}">
                <a16:creationId xmlns:a16="http://schemas.microsoft.com/office/drawing/2014/main" id="{4DB97ED0-9771-E044-B63D-01D4F8A70AD0}"/>
              </a:ext>
            </a:extLst>
          </p:cNvPr>
          <p:cNvSpPr txBox="1">
            <a:spLocks/>
          </p:cNvSpPr>
          <p:nvPr userDrawn="1"/>
        </p:nvSpPr>
        <p:spPr>
          <a:xfrm>
            <a:off x="300227" y="3966983"/>
            <a:ext cx="4869914" cy="2586217"/>
          </a:xfrm>
          <a:prstGeom prst="rect">
            <a:avLst/>
          </a:prstGeom>
        </p:spPr>
        <p:txBody>
          <a:bodyPr vert="horz" lIns="0" tIns="0" rIns="0" bIns="0" numCol="1" rtlCol="0" anchor="t">
            <a:noAutofit/>
          </a:bodyPr>
          <a:lstStyle>
            <a:lvl1pPr marL="0" indent="0" algn="l" defTabSz="914400" rtl="0" eaLnBrk="1" latinLnBrk="0" hangingPunct="1">
              <a:lnSpc>
                <a:spcPct val="100000"/>
              </a:lnSpc>
              <a:spcBef>
                <a:spcPts val="400"/>
              </a:spcBef>
              <a:buClr>
                <a:schemeClr val="accent4"/>
              </a:buClr>
              <a:buSzPct val="100000"/>
              <a:buFont typeface="Arial" panose="020B0604020202020204" pitchFamily="34" charset="0"/>
              <a:buNone/>
              <a:tabLst/>
              <a:defRPr sz="2000" b="0" kern="1200">
                <a:solidFill>
                  <a:schemeClr val="tx1"/>
                </a:solidFill>
                <a:latin typeface="+mn-lt"/>
                <a:ea typeface="+mn-ea"/>
                <a:cs typeface="+mn-cs"/>
              </a:defRPr>
            </a:lvl1pPr>
            <a:lvl2pPr marL="236537" marR="0" indent="0" algn="l" defTabSz="914400" rtl="0" eaLnBrk="1" fontAlgn="auto" latinLnBrk="0" hangingPunct="1">
              <a:lnSpc>
                <a:spcPct val="100000"/>
              </a:lnSpc>
              <a:spcBef>
                <a:spcPts val="400"/>
              </a:spcBef>
              <a:spcAft>
                <a:spcPts val="0"/>
              </a:spcAft>
              <a:buClrTx/>
              <a:buSzPct val="76000"/>
              <a:buFont typeface="Arial" panose="020B0604020202020204" pitchFamily="34" charset="0"/>
              <a:buNone/>
              <a:tabLst/>
              <a:defRPr sz="1800" b="0" kern="1200">
                <a:solidFill>
                  <a:schemeClr val="tx1"/>
                </a:solidFill>
                <a:latin typeface="+mn-lt"/>
                <a:ea typeface="+mn-ea"/>
                <a:cs typeface="+mn-cs"/>
              </a:defRPr>
            </a:lvl2pPr>
            <a:lvl3pPr marL="749300" marR="0" indent="-285750" algn="l" defTabSz="914400" rtl="0" eaLnBrk="1" fontAlgn="auto" latinLnBrk="0" hangingPunct="1">
              <a:lnSpc>
                <a:spcPct val="100000"/>
              </a:lnSpc>
              <a:spcBef>
                <a:spcPts val="400"/>
              </a:spcBef>
              <a:spcAft>
                <a:spcPts val="0"/>
              </a:spcAft>
              <a:buClrTx/>
              <a:buSzPct val="80000"/>
              <a:buFont typeface="System Font Regular"/>
              <a:buChar char="-"/>
              <a:tabLst/>
              <a:defRPr sz="1400" b="0" kern="1200">
                <a:solidFill>
                  <a:schemeClr val="tx1"/>
                </a:solidFill>
                <a:latin typeface="+mn-lt"/>
                <a:ea typeface="+mn-ea"/>
                <a:cs typeface="+mn-cs"/>
              </a:defRPr>
            </a:lvl3pPr>
            <a:lvl4pPr marL="690563" marR="0" indent="0" algn="l" defTabSz="914400" rtl="0" eaLnBrk="1" fontAlgn="auto" latinLnBrk="0" hangingPunct="1">
              <a:lnSpc>
                <a:spcPct val="100000"/>
              </a:lnSpc>
              <a:spcBef>
                <a:spcPts val="400"/>
              </a:spcBef>
              <a:spcAft>
                <a:spcPts val="0"/>
              </a:spcAft>
              <a:buClrTx/>
              <a:buSzPct val="80000"/>
              <a:buFont typeface="Arial" panose="020B0604020202020204" pitchFamily="34" charset="0"/>
              <a:buNone/>
              <a:tabLst/>
              <a:defRPr sz="1200" b="0" kern="1200">
                <a:solidFill>
                  <a:schemeClr val="tx1"/>
                </a:solidFill>
                <a:latin typeface="+mn-lt"/>
                <a:ea typeface="+mn-ea"/>
                <a:cs typeface="+mn-cs"/>
              </a:defRPr>
            </a:lvl4pPr>
            <a:lvl5pPr marL="909637" marR="0" indent="0" algn="l" defTabSz="914400" rtl="0" eaLnBrk="1" fontAlgn="auto" latinLnBrk="0" hangingPunct="1">
              <a:lnSpc>
                <a:spcPct val="100000"/>
              </a:lnSpc>
              <a:spcBef>
                <a:spcPts val="400"/>
              </a:spcBef>
              <a:spcAft>
                <a:spcPts val="0"/>
              </a:spcAft>
              <a:buClrTx/>
              <a:buSzPct val="80000"/>
              <a:buFont typeface="Arial" panose="020B0604020202020204" pitchFamily="34" charset="0"/>
              <a:buNone/>
              <a:tabLst/>
              <a:defRPr sz="11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40000"/>
              </a:lnSpc>
            </a:pPr>
            <a:r>
              <a:rPr lang="en-US" sz="1200" b="1" dirty="0"/>
              <a:t>External disclaimer criteria:</a:t>
            </a:r>
          </a:p>
          <a:p>
            <a:pPr marL="171450" indent="-171450">
              <a:lnSpc>
                <a:spcPct val="140000"/>
              </a:lnSpc>
              <a:buFont typeface="Arial" panose="020B0604020202020204" pitchFamily="34" charset="0"/>
              <a:buChar char="•"/>
            </a:pPr>
            <a:r>
              <a:rPr lang="en-US" sz="900" dirty="0"/>
              <a:t>Before sharing confidential information externally, ensure you have a confidential disclosure agreement (CDA) in place. The </a:t>
            </a:r>
            <a:r>
              <a:rPr lang="en-US" sz="900" b="1" dirty="0"/>
              <a:t>“Proprietary &amp; Confidential” </a:t>
            </a:r>
            <a:r>
              <a:rPr lang="en-US" sz="900" dirty="0"/>
              <a:t>disclaimer does not replace a CDA.</a:t>
            </a:r>
          </a:p>
          <a:p>
            <a:pPr marL="171450" indent="-171450">
              <a:lnSpc>
                <a:spcPct val="140000"/>
              </a:lnSpc>
              <a:buFont typeface="Arial" panose="020B0604020202020204" pitchFamily="34" charset="0"/>
              <a:buChar char="•"/>
            </a:pPr>
            <a:r>
              <a:rPr lang="en-US" sz="900" dirty="0"/>
              <a:t>Before removing the </a:t>
            </a:r>
            <a:r>
              <a:rPr lang="en-US" sz="900" b="1" dirty="0"/>
              <a:t>“Proprietary &amp; Confidential” </a:t>
            </a:r>
            <a:r>
              <a:rPr lang="en-US" sz="900" dirty="0"/>
              <a:t>disclaimer to exhibit content externally, you must ensure the content is appropriate from a Business, Division or Group entity; Legal; and Regulatory Affairs perspective. This means following your business’s, division’s or group’s process for obtaining Legal and Regulatory Affairs approval.</a:t>
            </a:r>
          </a:p>
          <a:p>
            <a:pPr marL="171450" indent="-171450">
              <a:lnSpc>
                <a:spcPct val="140000"/>
              </a:lnSpc>
              <a:buFont typeface="Arial" panose="020B0604020202020204" pitchFamily="34" charset="0"/>
              <a:buChar char="•"/>
            </a:pPr>
            <a:r>
              <a:rPr lang="en-US" sz="900" dirty="0"/>
              <a:t>If you’re importing slides from the </a:t>
            </a:r>
            <a:r>
              <a:rPr lang="en-US" sz="900" dirty="0">
                <a:hlinkClick r:id="rId2">
                  <a:extLst>
                    <a:ext uri="{A12FA001-AC4F-418D-AE19-62706E023703}">
                      <ahyp:hlinkClr xmlns:ahyp="http://schemas.microsoft.com/office/drawing/2018/hyperlinkcolor" val="tx"/>
                    </a:ext>
                  </a:extLst>
                </a:hlinkClick>
              </a:rPr>
              <a:t>Customer Value Proposition</a:t>
            </a:r>
            <a:r>
              <a:rPr lang="en-US" sz="900" dirty="0"/>
              <a:t> deck, which is cleared for external use and not considered Proprietary &amp; Confidential, you can leave a disclaimer off those slides and simply list the author’s email and date published on those slides.</a:t>
            </a:r>
          </a:p>
        </p:txBody>
      </p:sp>
      <p:pic>
        <p:nvPicPr>
          <p:cNvPr id="47" name="Graphic 46">
            <a:extLst>
              <a:ext uri="{FF2B5EF4-FFF2-40B4-BE49-F238E27FC236}">
                <a16:creationId xmlns:a16="http://schemas.microsoft.com/office/drawing/2014/main" id="{5957BB70-3758-2241-95DE-E49DED9F761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44034" y="1665184"/>
            <a:ext cx="356616" cy="365760"/>
          </a:xfrm>
          <a:prstGeom prst="rect">
            <a:avLst/>
          </a:prstGeom>
        </p:spPr>
      </p:pic>
      <p:cxnSp>
        <p:nvCxnSpPr>
          <p:cNvPr id="48" name="Straight Connector 47">
            <a:extLst>
              <a:ext uri="{FF2B5EF4-FFF2-40B4-BE49-F238E27FC236}">
                <a16:creationId xmlns:a16="http://schemas.microsoft.com/office/drawing/2014/main" id="{63783495-6D28-834A-90D4-F810D049B150}"/>
              </a:ext>
            </a:extLst>
          </p:cNvPr>
          <p:cNvCxnSpPr>
            <a:cxnSpLocks/>
          </p:cNvCxnSpPr>
          <p:nvPr userDrawn="1"/>
        </p:nvCxnSpPr>
        <p:spPr>
          <a:xfrm>
            <a:off x="5505901" y="1481339"/>
            <a:ext cx="0" cy="472440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23692791-F43E-EE45-B104-207B0D8D1E5C}"/>
              </a:ext>
            </a:extLst>
          </p:cNvPr>
          <p:cNvSpPr txBox="1"/>
          <p:nvPr userDrawn="1"/>
        </p:nvSpPr>
        <p:spPr>
          <a:xfrm>
            <a:off x="1143000" y="1667690"/>
            <a:ext cx="3807135" cy="1873031"/>
          </a:xfrm>
          <a:prstGeom prst="rect">
            <a:avLst/>
          </a:prstGeom>
          <a:noFill/>
        </p:spPr>
        <p:txBody>
          <a:bodyPr wrap="square" lIns="0" tIns="0" rIns="0" bIns="0" rtlCol="0">
            <a:normAutofit lnSpcReduction="10000"/>
          </a:bodyPr>
          <a:lstStyle/>
          <a:p>
            <a:pPr defTabSz="914400">
              <a:lnSpc>
                <a:spcPct val="120000"/>
              </a:lnSpc>
              <a:spcBef>
                <a:spcPts val="200"/>
              </a:spcBef>
              <a:buClr>
                <a:schemeClr val="tx2"/>
              </a:buClr>
              <a:buSzPct val="100000"/>
            </a:pPr>
            <a:r>
              <a:rPr lang="en-US" sz="1100" b="1" dirty="0">
                <a:solidFill>
                  <a:schemeClr val="bg1"/>
                </a:solidFill>
              </a:rPr>
              <a:t>Important:</a:t>
            </a:r>
            <a:r>
              <a:rPr lang="en-US" sz="1100" dirty="0">
                <a:solidFill>
                  <a:schemeClr val="bg1"/>
                </a:solidFill>
              </a:rPr>
              <a:t> This template contains a default </a:t>
            </a:r>
            <a:r>
              <a:rPr lang="en-US" sz="1100" b="1" dirty="0">
                <a:solidFill>
                  <a:schemeClr val="bg1"/>
                </a:solidFill>
              </a:rPr>
              <a:t>“Proprietary &amp; Confidential” </a:t>
            </a:r>
            <a:r>
              <a:rPr lang="en-US" sz="1100" dirty="0">
                <a:solidFill>
                  <a:schemeClr val="bg1"/>
                </a:solidFill>
              </a:rPr>
              <a:t>disclaimer in the footer. It is designed to protect information that we want to protect as </a:t>
            </a:r>
            <a:r>
              <a:rPr lang="en-US" sz="1100" b="1" dirty="0">
                <a:solidFill>
                  <a:schemeClr val="bg1"/>
                </a:solidFill>
              </a:rPr>
              <a:t>internal use only </a:t>
            </a:r>
            <a:r>
              <a:rPr lang="en-US" sz="1100" dirty="0">
                <a:solidFill>
                  <a:schemeClr val="bg1"/>
                </a:solidFill>
              </a:rPr>
              <a:t>and don't want to share with third parties. You should use this unless your material meets criteria that would allow it be shared externally.</a:t>
            </a:r>
            <a:br>
              <a:rPr lang="en-US" sz="1100" dirty="0">
                <a:solidFill>
                  <a:schemeClr val="bg1"/>
                </a:solidFill>
              </a:rPr>
            </a:br>
            <a:endParaRPr lang="en-US" sz="1100" dirty="0">
              <a:solidFill>
                <a:schemeClr val="bg1"/>
              </a:solidFill>
            </a:endParaRPr>
          </a:p>
          <a:p>
            <a:pPr defTabSz="914400">
              <a:lnSpc>
                <a:spcPct val="120000"/>
              </a:lnSpc>
              <a:spcBef>
                <a:spcPts val="200"/>
              </a:spcBef>
              <a:buClr>
                <a:schemeClr val="tx2"/>
              </a:buClr>
              <a:buSzPct val="100000"/>
            </a:pPr>
            <a:r>
              <a:rPr lang="en-US" sz="1100" dirty="0">
                <a:solidFill>
                  <a:schemeClr val="bg1"/>
                </a:solidFill>
              </a:rPr>
              <a:t>To edit the footer, click Insert &gt; Header &amp; Footer, make the change in the pop-up window, and then choose “Apply” for one slide or “Apply to all” for the entire deck.</a:t>
            </a:r>
          </a:p>
        </p:txBody>
      </p:sp>
      <p:sp>
        <p:nvSpPr>
          <p:cNvPr id="55" name="Rectangle 54">
            <a:extLst>
              <a:ext uri="{FF2B5EF4-FFF2-40B4-BE49-F238E27FC236}">
                <a16:creationId xmlns:a16="http://schemas.microsoft.com/office/drawing/2014/main" id="{E6B688F3-C9F4-2446-9F51-2EF949ECB180}"/>
              </a:ext>
            </a:extLst>
          </p:cNvPr>
          <p:cNvSpPr/>
          <p:nvPr/>
        </p:nvSpPr>
        <p:spPr>
          <a:xfrm>
            <a:off x="5788336" y="2637630"/>
            <a:ext cx="1952553" cy="184666"/>
          </a:xfrm>
          <a:prstGeom prst="rect">
            <a:avLst/>
          </a:prstGeom>
        </p:spPr>
        <p:txBody>
          <a:bodyPr wrap="square" lIns="0" tIns="0" rIns="0" bIns="0">
            <a:spAutoFit/>
          </a:bodyPr>
          <a:lstStyle/>
          <a:p>
            <a:r>
              <a:rPr lang="en-US" sz="1200" b="1" dirty="0"/>
              <a:t>Footer examples</a:t>
            </a:r>
            <a:endParaRPr lang="en-US" sz="1200" dirty="0"/>
          </a:p>
        </p:txBody>
      </p:sp>
      <p:sp>
        <p:nvSpPr>
          <p:cNvPr id="79" name="Footer Placeholder 1">
            <a:extLst>
              <a:ext uri="{FF2B5EF4-FFF2-40B4-BE49-F238E27FC236}">
                <a16:creationId xmlns:a16="http://schemas.microsoft.com/office/drawing/2014/main" id="{555EAE1F-5676-C34A-8CF6-B38C31AF80D9}"/>
              </a:ext>
            </a:extLst>
          </p:cNvPr>
          <p:cNvSpPr>
            <a:spLocks noGrp="1"/>
          </p:cNvSpPr>
          <p:nvPr>
            <p:ph type="ftr" sz="quarter" idx="11"/>
          </p:nvPr>
        </p:nvSpPr>
        <p:spPr>
          <a:xfrm>
            <a:off x="304799" y="6553200"/>
            <a:ext cx="7619995" cy="304799"/>
          </a:xfrm>
        </p:spPr>
        <p:txBody>
          <a:bodyPr/>
          <a:lstStyle/>
          <a:p>
            <a:endParaRPr lang="en-US" dirty="0"/>
          </a:p>
        </p:txBody>
      </p:sp>
      <p:sp>
        <p:nvSpPr>
          <p:cNvPr id="80" name="Slide Number Placeholder 2">
            <a:extLst>
              <a:ext uri="{FF2B5EF4-FFF2-40B4-BE49-F238E27FC236}">
                <a16:creationId xmlns:a16="http://schemas.microsoft.com/office/drawing/2014/main" id="{B2F62D11-9A5D-6545-93AD-739D274B4BC5}"/>
              </a:ext>
            </a:extLst>
          </p:cNvPr>
          <p:cNvSpPr>
            <a:spLocks noGrp="1"/>
          </p:cNvSpPr>
          <p:nvPr>
            <p:ph type="sldNum" sz="quarter" idx="13"/>
          </p:nvPr>
        </p:nvSpPr>
        <p:spPr>
          <a:xfrm>
            <a:off x="1" y="6553200"/>
            <a:ext cx="304799" cy="304799"/>
          </a:xfrm>
        </p:spPr>
        <p:txBody>
          <a:bodyPr/>
          <a:lstStyle/>
          <a:p>
            <a:fld id="{89006F1E-66CD-4A4B-9370-B4A3080F0E6C}" type="slidenum">
              <a:rPr lang="en-US" smtClean="0"/>
              <a:pPr/>
              <a:t>‹#›</a:t>
            </a:fld>
            <a:endParaRPr lang="en-US" dirty="0"/>
          </a:p>
        </p:txBody>
      </p:sp>
      <p:sp>
        <p:nvSpPr>
          <p:cNvPr id="82" name="Title 6">
            <a:extLst>
              <a:ext uri="{FF2B5EF4-FFF2-40B4-BE49-F238E27FC236}">
                <a16:creationId xmlns:a16="http://schemas.microsoft.com/office/drawing/2014/main" id="{E671D4F8-A815-C84C-8B84-2BC0FD804D52}"/>
              </a:ext>
            </a:extLst>
          </p:cNvPr>
          <p:cNvSpPr txBox="1">
            <a:spLocks/>
          </p:cNvSpPr>
          <p:nvPr/>
        </p:nvSpPr>
        <p:spPr>
          <a:xfrm>
            <a:off x="304801" y="304799"/>
            <a:ext cx="9753600" cy="381001"/>
          </a:xfrm>
          <a:prstGeom prst="rect">
            <a:avLst/>
          </a:prstGeom>
        </p:spPr>
        <p:txBody>
          <a:bodyPr lIns="0" tIns="0" rIns="0" bIns="0"/>
          <a:lst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a:lstStyle>
          <a:p>
            <a:r>
              <a:rPr lang="en-US" dirty="0"/>
              <a:t>Footer content</a:t>
            </a:r>
          </a:p>
        </p:txBody>
      </p:sp>
      <p:sp>
        <p:nvSpPr>
          <p:cNvPr id="83" name="Text Placeholder 9">
            <a:extLst>
              <a:ext uri="{FF2B5EF4-FFF2-40B4-BE49-F238E27FC236}">
                <a16:creationId xmlns:a16="http://schemas.microsoft.com/office/drawing/2014/main" id="{B9D80A7B-7EE9-C344-B667-9AC3E29BB508}"/>
              </a:ext>
            </a:extLst>
          </p:cNvPr>
          <p:cNvSpPr txBox="1">
            <a:spLocks/>
          </p:cNvSpPr>
          <p:nvPr/>
        </p:nvSpPr>
        <p:spPr>
          <a:xfrm>
            <a:off x="300226" y="893063"/>
            <a:ext cx="11591547" cy="381001"/>
          </a:xfrm>
          <a:prstGeom prst="rect">
            <a:avLst/>
          </a:prstGeom>
        </p:spPr>
        <p:txBody>
          <a:bodyPr vert="horz" lIns="0" tIns="0" rIns="0" bIns="0" rtlCol="0" anchor="t">
            <a:noAutofit/>
          </a:bodyPr>
          <a:lstStyle>
            <a:defPPr>
              <a:defRPr lang="en-US"/>
            </a:defPPr>
            <a:lvl1pPr marL="0" algn="l" defTabSz="457200" rtl="0" eaLnBrk="1" latinLnBrk="0" hangingPunct="1">
              <a:defRPr lang="en-US" sz="800" kern="1200">
                <a:solidFill>
                  <a:schemeClr val="accent5"/>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2000" b="0" dirty="0">
                <a:solidFill>
                  <a:schemeClr val="tx1"/>
                </a:solidFill>
              </a:rPr>
              <a:t>Including confidentiality, product-use disclaimers, author, and date</a:t>
            </a:r>
          </a:p>
        </p:txBody>
      </p:sp>
      <p:sp>
        <p:nvSpPr>
          <p:cNvPr id="38" name="Rectangle 37">
            <a:extLst>
              <a:ext uri="{FF2B5EF4-FFF2-40B4-BE49-F238E27FC236}">
                <a16:creationId xmlns:a16="http://schemas.microsoft.com/office/drawing/2014/main" id="{6FB8D2FA-59F0-460A-99A9-F06354EC3F07}"/>
              </a:ext>
            </a:extLst>
          </p:cNvPr>
          <p:cNvSpPr/>
          <p:nvPr/>
        </p:nvSpPr>
        <p:spPr>
          <a:xfrm>
            <a:off x="5788336" y="1447800"/>
            <a:ext cx="6098864" cy="1135775"/>
          </a:xfrm>
          <a:prstGeom prst="rect">
            <a:avLst/>
          </a:prstGeom>
          <a:noFill/>
        </p:spPr>
        <p:txBody>
          <a:bodyPr wrap="square" lIns="0" tIns="0" rIns="0" bIns="0" rtlCol="0">
            <a:noAutofit/>
          </a:bodyPr>
          <a:lstStyle/>
          <a:p>
            <a:pPr defTabSz="914400">
              <a:lnSpc>
                <a:spcPct val="120000"/>
              </a:lnSpc>
              <a:spcBef>
                <a:spcPts val="200"/>
              </a:spcBef>
              <a:buClr>
                <a:schemeClr val="tx2"/>
              </a:buClr>
              <a:buSzPct val="100000"/>
            </a:pPr>
            <a:r>
              <a:rPr lang="en-US" sz="1200" b="1" dirty="0"/>
              <a:t>All footers should contain an author’s or group’s email address and publication date for future reference. </a:t>
            </a:r>
            <a:r>
              <a:rPr lang="en-US" sz="1100" b="0" dirty="0"/>
              <a:t>Always use four digits for the year.</a:t>
            </a:r>
          </a:p>
          <a:p>
            <a:pPr marL="0" marR="0" lvl="0" indent="0" algn="l" defTabSz="914400" rtl="0" eaLnBrk="1" fontAlgn="auto" latinLnBrk="0" hangingPunct="1">
              <a:lnSpc>
                <a:spcPct val="120000"/>
              </a:lnSpc>
              <a:spcBef>
                <a:spcPts val="200"/>
              </a:spcBef>
              <a:spcAft>
                <a:spcPts val="0"/>
              </a:spcAft>
              <a:buClr>
                <a:schemeClr val="tx2"/>
              </a:buClr>
              <a:buSzPct val="100000"/>
              <a:buFontTx/>
              <a:buNone/>
              <a:tabLst/>
              <a:defRPr/>
            </a:pPr>
            <a:r>
              <a:rPr lang="en-US" sz="1100" dirty="0"/>
              <a:t>A </a:t>
            </a:r>
            <a:r>
              <a:rPr lang="en-US" sz="1100" b="1" dirty="0"/>
              <a:t>“</a:t>
            </a:r>
            <a:r>
              <a:rPr lang="en-US" sz="1100" b="1" kern="1200" dirty="0">
                <a:solidFill>
                  <a:schemeClr val="tx1"/>
                </a:solidFill>
                <a:latin typeface="+mn-lt"/>
                <a:ea typeface="+mn-ea"/>
                <a:cs typeface="+mn-cs"/>
              </a:rPr>
              <a:t>For Research Use Only</a:t>
            </a:r>
            <a:r>
              <a:rPr lang="en-US" sz="1100" b="1" dirty="0"/>
              <a:t>” </a:t>
            </a:r>
            <a:r>
              <a:rPr lang="en-US" sz="1100" dirty="0"/>
              <a:t>or similar product-use disclaimer should appear on select slides as directed by Regulatory Affairs or Legal only. It should be added on appropriate slides as directed vs being added across the entire deck.</a:t>
            </a:r>
          </a:p>
          <a:p>
            <a:pPr defTabSz="914400">
              <a:lnSpc>
                <a:spcPct val="120000"/>
              </a:lnSpc>
              <a:spcBef>
                <a:spcPts val="200"/>
              </a:spcBef>
              <a:buClr>
                <a:schemeClr val="tx2"/>
              </a:buClr>
              <a:buSzPct val="100000"/>
            </a:pPr>
            <a:endParaRPr lang="en-US" sz="1100" b="1" dirty="0"/>
          </a:p>
        </p:txBody>
      </p:sp>
      <p:sp>
        <p:nvSpPr>
          <p:cNvPr id="40" name="TextBox 39">
            <a:extLst>
              <a:ext uri="{FF2B5EF4-FFF2-40B4-BE49-F238E27FC236}">
                <a16:creationId xmlns:a16="http://schemas.microsoft.com/office/drawing/2014/main" id="{0EA872B5-983E-40B7-B51D-F6388C360F37}"/>
              </a:ext>
            </a:extLst>
          </p:cNvPr>
          <p:cNvSpPr txBox="1"/>
          <p:nvPr/>
        </p:nvSpPr>
        <p:spPr>
          <a:xfrm>
            <a:off x="9038023" y="6553200"/>
            <a:ext cx="2849177" cy="304800"/>
          </a:xfrm>
          <a:prstGeom prst="rect">
            <a:avLst/>
          </a:prstGeom>
          <a:noFill/>
        </p:spPr>
        <p:txBody>
          <a:bodyPr wrap="square" lIns="0" tIns="0" rIns="0" bIns="0" rtlCol="0" anchor="ctr">
            <a:noAutofit/>
          </a:bodyPr>
          <a:lstStyle/>
          <a:p>
            <a:pPr marL="0" indent="0" algn="r" defTabSz="914400">
              <a:lnSpc>
                <a:spcPct val="120000"/>
              </a:lnSpc>
              <a:spcBef>
                <a:spcPts val="200"/>
              </a:spcBef>
              <a:buClr>
                <a:schemeClr val="tx2"/>
              </a:buClr>
              <a:buSzPct val="100000"/>
              <a:buFont typeface="Arial" panose="020B0604020202020204" pitchFamily="34" charset="0"/>
              <a:buNone/>
            </a:pPr>
            <a:r>
              <a:rPr lang="en-US" sz="800" kern="1200" dirty="0">
                <a:solidFill>
                  <a:schemeClr val="accent5"/>
                </a:solidFill>
                <a:latin typeface="+mn-lt"/>
                <a:ea typeface="+mn-ea"/>
                <a:cs typeface="+mn-cs"/>
              </a:rPr>
              <a:t>2020 Template V1 published 5-August-2020</a:t>
            </a:r>
          </a:p>
        </p:txBody>
      </p:sp>
      <p:grpSp>
        <p:nvGrpSpPr>
          <p:cNvPr id="7" name="Group 6">
            <a:extLst>
              <a:ext uri="{FF2B5EF4-FFF2-40B4-BE49-F238E27FC236}">
                <a16:creationId xmlns:a16="http://schemas.microsoft.com/office/drawing/2014/main" id="{B0B1E50A-3432-A641-BCCD-ACF714BEB8A1}"/>
              </a:ext>
            </a:extLst>
          </p:cNvPr>
          <p:cNvGrpSpPr/>
          <p:nvPr userDrawn="1"/>
        </p:nvGrpSpPr>
        <p:grpSpPr>
          <a:xfrm>
            <a:off x="5788335" y="2980949"/>
            <a:ext cx="6281431" cy="592961"/>
            <a:chOff x="5788335" y="3097907"/>
            <a:chExt cx="6281431" cy="592961"/>
          </a:xfrm>
        </p:grpSpPr>
        <p:sp>
          <p:nvSpPr>
            <p:cNvPr id="63" name="Rectangle 62">
              <a:extLst>
                <a:ext uri="{FF2B5EF4-FFF2-40B4-BE49-F238E27FC236}">
                  <a16:creationId xmlns:a16="http://schemas.microsoft.com/office/drawing/2014/main" id="{44FC36BA-981A-8040-9AD4-2C91026E0E7E}"/>
                </a:ext>
              </a:extLst>
            </p:cNvPr>
            <p:cNvSpPr/>
            <p:nvPr/>
          </p:nvSpPr>
          <p:spPr>
            <a:xfrm>
              <a:off x="5826081" y="3529285"/>
              <a:ext cx="6017673" cy="161583"/>
            </a:xfrm>
            <a:prstGeom prst="rect">
              <a:avLst/>
            </a:prstGeom>
          </p:spPr>
          <p:txBody>
            <a:bodyPr wrap="none" lIns="0" tIns="0" rIns="0" bIns="0">
              <a:spAutoFit/>
            </a:bodyPr>
            <a:lstStyle/>
            <a:p>
              <a:r>
                <a:rPr lang="en-US" sz="1050" dirty="0"/>
                <a:t>Proprietary &amp; Confidential | For Research Use Only | </a:t>
              </a:r>
              <a:r>
                <a:rPr lang="en-US" sz="1050" dirty="0" err="1"/>
                <a:t>authoremail@thermofisher.com</a:t>
              </a:r>
              <a:r>
                <a:rPr lang="en-US" sz="1050" dirty="0"/>
                <a:t> | 5-August-2020</a:t>
              </a:r>
            </a:p>
          </p:txBody>
        </p:sp>
        <p:sp>
          <p:nvSpPr>
            <p:cNvPr id="64" name="Rectangle 63">
              <a:extLst>
                <a:ext uri="{FF2B5EF4-FFF2-40B4-BE49-F238E27FC236}">
                  <a16:creationId xmlns:a16="http://schemas.microsoft.com/office/drawing/2014/main" id="{E2A130EC-B68F-B445-B64A-32B5ED358BF4}"/>
                </a:ext>
              </a:extLst>
            </p:cNvPr>
            <p:cNvSpPr/>
            <p:nvPr/>
          </p:nvSpPr>
          <p:spPr>
            <a:xfrm>
              <a:off x="6938635" y="3097910"/>
              <a:ext cx="764953" cy="215444"/>
            </a:xfrm>
            <a:prstGeom prst="rect">
              <a:avLst/>
            </a:prstGeom>
          </p:spPr>
          <p:txBody>
            <a:bodyPr wrap="none">
              <a:spAutoFit/>
            </a:bodyPr>
            <a:lstStyle/>
            <a:p>
              <a:pPr algn="ctr"/>
              <a:r>
                <a:rPr lang="en-US" sz="800" b="1" dirty="0"/>
                <a:t>Disclaimers</a:t>
              </a:r>
            </a:p>
          </p:txBody>
        </p:sp>
        <p:sp>
          <p:nvSpPr>
            <p:cNvPr id="65" name="Rectangle 64">
              <a:extLst>
                <a:ext uri="{FF2B5EF4-FFF2-40B4-BE49-F238E27FC236}">
                  <a16:creationId xmlns:a16="http://schemas.microsoft.com/office/drawing/2014/main" id="{A268EC47-4888-C147-936E-C2DFB656768D}"/>
                </a:ext>
              </a:extLst>
            </p:cNvPr>
            <p:cNvSpPr/>
            <p:nvPr/>
          </p:nvSpPr>
          <p:spPr>
            <a:xfrm>
              <a:off x="9207383" y="3097908"/>
              <a:ext cx="1380506" cy="215444"/>
            </a:xfrm>
            <a:prstGeom prst="rect">
              <a:avLst/>
            </a:prstGeom>
          </p:spPr>
          <p:txBody>
            <a:bodyPr wrap="none">
              <a:spAutoFit/>
            </a:bodyPr>
            <a:lstStyle/>
            <a:p>
              <a:pPr algn="ctr"/>
              <a:r>
                <a:rPr lang="en-US" sz="800" b="1" dirty="0"/>
                <a:t>Author’s email </a:t>
              </a:r>
              <a:r>
                <a:rPr lang="en-US" sz="800" b="0" dirty="0"/>
                <a:t>(Optional)</a:t>
              </a:r>
              <a:endParaRPr lang="en-US" sz="800" b="1" dirty="0"/>
            </a:p>
          </p:txBody>
        </p:sp>
        <p:sp>
          <p:nvSpPr>
            <p:cNvPr id="66" name="Rectangle 65">
              <a:extLst>
                <a:ext uri="{FF2B5EF4-FFF2-40B4-BE49-F238E27FC236}">
                  <a16:creationId xmlns:a16="http://schemas.microsoft.com/office/drawing/2014/main" id="{12AFD803-CD3C-B640-909F-2ABD27360115}"/>
                </a:ext>
              </a:extLst>
            </p:cNvPr>
            <p:cNvSpPr/>
            <p:nvPr/>
          </p:nvSpPr>
          <p:spPr>
            <a:xfrm>
              <a:off x="10666818" y="3097907"/>
              <a:ext cx="1402948" cy="215444"/>
            </a:xfrm>
            <a:prstGeom prst="rect">
              <a:avLst/>
            </a:prstGeom>
          </p:spPr>
          <p:txBody>
            <a:bodyPr wrap="none">
              <a:spAutoFit/>
            </a:bodyPr>
            <a:lstStyle/>
            <a:p>
              <a:pPr algn="ctr"/>
              <a:r>
                <a:rPr lang="en-US" sz="800" b="1" dirty="0"/>
                <a:t>Date published </a:t>
              </a:r>
              <a:r>
                <a:rPr lang="en-US" sz="800" b="0" dirty="0"/>
                <a:t>(Optional)</a:t>
              </a:r>
              <a:endParaRPr lang="en-US" sz="800" b="1" dirty="0"/>
            </a:p>
          </p:txBody>
        </p:sp>
        <p:sp>
          <p:nvSpPr>
            <p:cNvPr id="67" name="Left Brace 66">
              <a:extLst>
                <a:ext uri="{FF2B5EF4-FFF2-40B4-BE49-F238E27FC236}">
                  <a16:creationId xmlns:a16="http://schemas.microsoft.com/office/drawing/2014/main" id="{D4EB443D-82BE-E344-B5A3-2F86AFEAC7AC}"/>
                </a:ext>
              </a:extLst>
            </p:cNvPr>
            <p:cNvSpPr/>
            <p:nvPr/>
          </p:nvSpPr>
          <p:spPr>
            <a:xfrm rot="5400000">
              <a:off x="7252434" y="1882734"/>
              <a:ext cx="137356" cy="3065553"/>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68" name="Left Brace 67">
              <a:extLst>
                <a:ext uri="{FF2B5EF4-FFF2-40B4-BE49-F238E27FC236}">
                  <a16:creationId xmlns:a16="http://schemas.microsoft.com/office/drawing/2014/main" id="{2B4BC0EB-F12B-7043-BF8F-40852B335856}"/>
                </a:ext>
              </a:extLst>
            </p:cNvPr>
            <p:cNvSpPr/>
            <p:nvPr/>
          </p:nvSpPr>
          <p:spPr>
            <a:xfrm rot="5400000">
              <a:off x="9824590" y="2447952"/>
              <a:ext cx="137355" cy="1935127"/>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84" name="Left Brace 83">
              <a:extLst>
                <a:ext uri="{FF2B5EF4-FFF2-40B4-BE49-F238E27FC236}">
                  <a16:creationId xmlns:a16="http://schemas.microsoft.com/office/drawing/2014/main" id="{F99E05C5-33FF-2C41-8C38-CD5A5ABAF438}"/>
                </a:ext>
              </a:extLst>
            </p:cNvPr>
            <p:cNvSpPr/>
            <p:nvPr userDrawn="1"/>
          </p:nvSpPr>
          <p:spPr>
            <a:xfrm rot="5400000">
              <a:off x="11295692" y="2963632"/>
              <a:ext cx="137354" cy="903767"/>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6" name="Group 5">
            <a:extLst>
              <a:ext uri="{FF2B5EF4-FFF2-40B4-BE49-F238E27FC236}">
                <a16:creationId xmlns:a16="http://schemas.microsoft.com/office/drawing/2014/main" id="{2DC07A68-BCDB-2843-B8A2-AEB2604FB5C9}"/>
              </a:ext>
            </a:extLst>
          </p:cNvPr>
          <p:cNvGrpSpPr/>
          <p:nvPr userDrawn="1"/>
        </p:nvGrpSpPr>
        <p:grpSpPr>
          <a:xfrm>
            <a:off x="5788334" y="3890006"/>
            <a:ext cx="4643262" cy="582033"/>
            <a:chOff x="5788335" y="3923409"/>
            <a:chExt cx="4643262" cy="582033"/>
          </a:xfrm>
        </p:grpSpPr>
        <p:sp>
          <p:nvSpPr>
            <p:cNvPr id="39" name="Rectangle 38">
              <a:extLst>
                <a:ext uri="{FF2B5EF4-FFF2-40B4-BE49-F238E27FC236}">
                  <a16:creationId xmlns:a16="http://schemas.microsoft.com/office/drawing/2014/main" id="{2D253AE8-30D4-4225-8030-6894D59F21AC}"/>
                </a:ext>
              </a:extLst>
            </p:cNvPr>
            <p:cNvSpPr/>
            <p:nvPr/>
          </p:nvSpPr>
          <p:spPr>
            <a:xfrm>
              <a:off x="5826081" y="4343859"/>
              <a:ext cx="4398640" cy="161583"/>
            </a:xfrm>
            <a:prstGeom prst="rect">
              <a:avLst/>
            </a:prstGeom>
          </p:spPr>
          <p:txBody>
            <a:bodyPr wrap="none" lIns="0" tIns="0" rIns="0" bIns="0">
              <a:spAutoFit/>
            </a:bodyPr>
            <a:lstStyle/>
            <a:p>
              <a:r>
                <a:rPr lang="en-US" sz="1050" dirty="0"/>
                <a:t>For Research Use Only | </a:t>
              </a:r>
              <a:r>
                <a:rPr lang="en-US" sz="1050" dirty="0" err="1"/>
                <a:t>authoremail@thermofisher.com</a:t>
              </a:r>
              <a:r>
                <a:rPr lang="en-US" sz="1050" dirty="0"/>
                <a:t> | 5-August-2020</a:t>
              </a:r>
            </a:p>
          </p:txBody>
        </p:sp>
        <p:sp>
          <p:nvSpPr>
            <p:cNvPr id="87" name="Rectangle 86">
              <a:extLst>
                <a:ext uri="{FF2B5EF4-FFF2-40B4-BE49-F238E27FC236}">
                  <a16:creationId xmlns:a16="http://schemas.microsoft.com/office/drawing/2014/main" id="{220D7651-D269-A54E-BCE1-39173FB1F79F}"/>
                </a:ext>
              </a:extLst>
            </p:cNvPr>
            <p:cNvSpPr/>
            <p:nvPr userDrawn="1"/>
          </p:nvSpPr>
          <p:spPr>
            <a:xfrm>
              <a:off x="6138216" y="3923412"/>
              <a:ext cx="764953" cy="215444"/>
            </a:xfrm>
            <a:prstGeom prst="rect">
              <a:avLst/>
            </a:prstGeom>
          </p:spPr>
          <p:txBody>
            <a:bodyPr wrap="none">
              <a:spAutoFit/>
            </a:bodyPr>
            <a:lstStyle/>
            <a:p>
              <a:pPr algn="ctr"/>
              <a:r>
                <a:rPr lang="en-US" sz="800" b="1" dirty="0"/>
                <a:t>Disclaimers</a:t>
              </a:r>
            </a:p>
          </p:txBody>
        </p:sp>
        <p:sp>
          <p:nvSpPr>
            <p:cNvPr id="88" name="Rectangle 87">
              <a:extLst>
                <a:ext uri="{FF2B5EF4-FFF2-40B4-BE49-F238E27FC236}">
                  <a16:creationId xmlns:a16="http://schemas.microsoft.com/office/drawing/2014/main" id="{20E99F6E-6B65-1E43-8606-EC8AA34E2356}"/>
                </a:ext>
              </a:extLst>
            </p:cNvPr>
            <p:cNvSpPr/>
            <p:nvPr userDrawn="1"/>
          </p:nvSpPr>
          <p:spPr>
            <a:xfrm>
              <a:off x="7583652" y="3923410"/>
              <a:ext cx="1380507" cy="215444"/>
            </a:xfrm>
            <a:prstGeom prst="rect">
              <a:avLst/>
            </a:prstGeom>
          </p:spPr>
          <p:txBody>
            <a:bodyPr wrap="none">
              <a:spAutoFit/>
            </a:bodyPr>
            <a:lstStyle/>
            <a:p>
              <a:pPr algn="ctr"/>
              <a:r>
                <a:rPr lang="en-US" sz="800" b="1" dirty="0"/>
                <a:t>Author’s email</a:t>
              </a:r>
              <a:r>
                <a:rPr lang="en-US" sz="800" b="0" dirty="0"/>
                <a:t> (Optional)</a:t>
              </a:r>
              <a:endParaRPr lang="en-US" sz="800" b="1" dirty="0"/>
            </a:p>
          </p:txBody>
        </p:sp>
        <p:sp>
          <p:nvSpPr>
            <p:cNvPr id="89" name="Rectangle 88">
              <a:extLst>
                <a:ext uri="{FF2B5EF4-FFF2-40B4-BE49-F238E27FC236}">
                  <a16:creationId xmlns:a16="http://schemas.microsoft.com/office/drawing/2014/main" id="{11DDA901-77B4-C14D-A259-991F339BCE31}"/>
                </a:ext>
              </a:extLst>
            </p:cNvPr>
            <p:cNvSpPr/>
            <p:nvPr userDrawn="1"/>
          </p:nvSpPr>
          <p:spPr>
            <a:xfrm>
              <a:off x="9028648" y="3923409"/>
              <a:ext cx="1402949" cy="215444"/>
            </a:xfrm>
            <a:prstGeom prst="rect">
              <a:avLst/>
            </a:prstGeom>
          </p:spPr>
          <p:txBody>
            <a:bodyPr wrap="none">
              <a:spAutoFit/>
            </a:bodyPr>
            <a:lstStyle/>
            <a:p>
              <a:pPr algn="ctr"/>
              <a:r>
                <a:rPr lang="en-US" sz="800" b="1" dirty="0"/>
                <a:t>Date published</a:t>
              </a:r>
              <a:r>
                <a:rPr lang="en-US" sz="800" b="0" dirty="0"/>
                <a:t> (Optional)</a:t>
              </a:r>
              <a:endParaRPr lang="en-US" sz="800" b="1" dirty="0"/>
            </a:p>
          </p:txBody>
        </p:sp>
        <p:sp>
          <p:nvSpPr>
            <p:cNvPr id="90" name="Left Brace 89">
              <a:extLst>
                <a:ext uri="{FF2B5EF4-FFF2-40B4-BE49-F238E27FC236}">
                  <a16:creationId xmlns:a16="http://schemas.microsoft.com/office/drawing/2014/main" id="{CF3AA15B-0D57-184C-A86A-FEB4A0B54E61}"/>
                </a:ext>
              </a:extLst>
            </p:cNvPr>
            <p:cNvSpPr/>
            <p:nvPr userDrawn="1"/>
          </p:nvSpPr>
          <p:spPr>
            <a:xfrm rot="5400000">
              <a:off x="6449400" y="3511270"/>
              <a:ext cx="137356" cy="1459485"/>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91" name="Left Brace 90">
              <a:extLst>
                <a:ext uri="{FF2B5EF4-FFF2-40B4-BE49-F238E27FC236}">
                  <a16:creationId xmlns:a16="http://schemas.microsoft.com/office/drawing/2014/main" id="{91627E8E-568F-1747-A212-4664A2213D18}"/>
                </a:ext>
              </a:extLst>
            </p:cNvPr>
            <p:cNvSpPr/>
            <p:nvPr userDrawn="1"/>
          </p:nvSpPr>
          <p:spPr>
            <a:xfrm rot="5400000">
              <a:off x="8200860" y="3273454"/>
              <a:ext cx="137355" cy="1935127"/>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92" name="Left Brace 91">
              <a:extLst>
                <a:ext uri="{FF2B5EF4-FFF2-40B4-BE49-F238E27FC236}">
                  <a16:creationId xmlns:a16="http://schemas.microsoft.com/office/drawing/2014/main" id="{B0909EE3-0761-E34E-81D3-9D5CC6CCA561}"/>
                </a:ext>
              </a:extLst>
            </p:cNvPr>
            <p:cNvSpPr/>
            <p:nvPr userDrawn="1"/>
          </p:nvSpPr>
          <p:spPr>
            <a:xfrm rot="5400000">
              <a:off x="9657523" y="3789134"/>
              <a:ext cx="137354" cy="903767"/>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5" name="Group 4">
            <a:extLst>
              <a:ext uri="{FF2B5EF4-FFF2-40B4-BE49-F238E27FC236}">
                <a16:creationId xmlns:a16="http://schemas.microsoft.com/office/drawing/2014/main" id="{5547D4DB-A88D-5049-9C5B-32D0C1262519}"/>
              </a:ext>
            </a:extLst>
          </p:cNvPr>
          <p:cNvGrpSpPr/>
          <p:nvPr userDrawn="1"/>
        </p:nvGrpSpPr>
        <p:grpSpPr>
          <a:xfrm>
            <a:off x="5788335" y="4788135"/>
            <a:ext cx="4773443" cy="587731"/>
            <a:chOff x="5788336" y="4908696"/>
            <a:chExt cx="4773443" cy="587731"/>
          </a:xfrm>
        </p:grpSpPr>
        <p:sp>
          <p:nvSpPr>
            <p:cNvPr id="70" name="Rectangle 69">
              <a:extLst>
                <a:ext uri="{FF2B5EF4-FFF2-40B4-BE49-F238E27FC236}">
                  <a16:creationId xmlns:a16="http://schemas.microsoft.com/office/drawing/2014/main" id="{DA3765F3-2DE6-184B-9871-C97E4EA7B993}"/>
                </a:ext>
              </a:extLst>
            </p:cNvPr>
            <p:cNvSpPr/>
            <p:nvPr/>
          </p:nvSpPr>
          <p:spPr>
            <a:xfrm>
              <a:off x="5842103" y="5334844"/>
              <a:ext cx="4528484" cy="161583"/>
            </a:xfrm>
            <a:prstGeom prst="rect">
              <a:avLst/>
            </a:prstGeom>
          </p:spPr>
          <p:txBody>
            <a:bodyPr wrap="none" lIns="0" tIns="0" rIns="0" bIns="0">
              <a:spAutoFit/>
            </a:bodyPr>
            <a:lstStyle/>
            <a:p>
              <a:r>
                <a:rPr lang="en-US" sz="1050" dirty="0"/>
                <a:t>Proprietary &amp; Confidential | </a:t>
              </a:r>
              <a:r>
                <a:rPr lang="en-US" sz="1050" dirty="0" err="1"/>
                <a:t>authoremail@thermofisher.com</a:t>
              </a:r>
              <a:r>
                <a:rPr lang="en-US" sz="1050" dirty="0"/>
                <a:t> | 5-August-2020</a:t>
              </a:r>
            </a:p>
          </p:txBody>
        </p:sp>
        <p:sp>
          <p:nvSpPr>
            <p:cNvPr id="93" name="Rectangle 92">
              <a:extLst>
                <a:ext uri="{FF2B5EF4-FFF2-40B4-BE49-F238E27FC236}">
                  <a16:creationId xmlns:a16="http://schemas.microsoft.com/office/drawing/2014/main" id="{0662301A-4740-1E4A-99D4-4C7CDFD8B49B}"/>
                </a:ext>
              </a:extLst>
            </p:cNvPr>
            <p:cNvSpPr/>
            <p:nvPr userDrawn="1"/>
          </p:nvSpPr>
          <p:spPr>
            <a:xfrm>
              <a:off x="6205057" y="4908699"/>
              <a:ext cx="764953" cy="215444"/>
            </a:xfrm>
            <a:prstGeom prst="rect">
              <a:avLst/>
            </a:prstGeom>
          </p:spPr>
          <p:txBody>
            <a:bodyPr wrap="none">
              <a:spAutoFit/>
            </a:bodyPr>
            <a:lstStyle/>
            <a:p>
              <a:pPr algn="ctr"/>
              <a:r>
                <a:rPr lang="en-US" sz="800" b="1" dirty="0"/>
                <a:t>Disclaimers</a:t>
              </a:r>
            </a:p>
          </p:txBody>
        </p:sp>
        <p:sp>
          <p:nvSpPr>
            <p:cNvPr id="94" name="Rectangle 93">
              <a:extLst>
                <a:ext uri="{FF2B5EF4-FFF2-40B4-BE49-F238E27FC236}">
                  <a16:creationId xmlns:a16="http://schemas.microsoft.com/office/drawing/2014/main" id="{04C7B6C7-EC70-7D40-A4C5-05A267DCD6DA}"/>
                </a:ext>
              </a:extLst>
            </p:cNvPr>
            <p:cNvSpPr/>
            <p:nvPr userDrawn="1"/>
          </p:nvSpPr>
          <p:spPr>
            <a:xfrm>
              <a:off x="7713834" y="4908697"/>
              <a:ext cx="1380507" cy="215444"/>
            </a:xfrm>
            <a:prstGeom prst="rect">
              <a:avLst/>
            </a:prstGeom>
          </p:spPr>
          <p:txBody>
            <a:bodyPr wrap="none">
              <a:spAutoFit/>
            </a:bodyPr>
            <a:lstStyle/>
            <a:p>
              <a:pPr algn="ctr"/>
              <a:r>
                <a:rPr lang="en-US" sz="800" b="1" dirty="0"/>
                <a:t>Author’s email</a:t>
              </a:r>
              <a:r>
                <a:rPr lang="en-US" sz="800" b="0" dirty="0"/>
                <a:t> (Optional)</a:t>
              </a:r>
              <a:endParaRPr lang="en-US" sz="800" b="1" dirty="0"/>
            </a:p>
          </p:txBody>
        </p:sp>
        <p:sp>
          <p:nvSpPr>
            <p:cNvPr id="95" name="Rectangle 94">
              <a:extLst>
                <a:ext uri="{FF2B5EF4-FFF2-40B4-BE49-F238E27FC236}">
                  <a16:creationId xmlns:a16="http://schemas.microsoft.com/office/drawing/2014/main" id="{DDFAB2D7-0A5B-724F-99BA-4E89383C2B34}"/>
                </a:ext>
              </a:extLst>
            </p:cNvPr>
            <p:cNvSpPr/>
            <p:nvPr userDrawn="1"/>
          </p:nvSpPr>
          <p:spPr>
            <a:xfrm>
              <a:off x="9158830" y="4908696"/>
              <a:ext cx="1402949" cy="215444"/>
            </a:xfrm>
            <a:prstGeom prst="rect">
              <a:avLst/>
            </a:prstGeom>
          </p:spPr>
          <p:txBody>
            <a:bodyPr wrap="none">
              <a:spAutoFit/>
            </a:bodyPr>
            <a:lstStyle/>
            <a:p>
              <a:pPr algn="ctr"/>
              <a:r>
                <a:rPr lang="en-US" sz="800" b="1" dirty="0"/>
                <a:t>Date published</a:t>
              </a:r>
              <a:r>
                <a:rPr lang="en-US" sz="800" b="0" dirty="0"/>
                <a:t> (Optional)</a:t>
              </a:r>
              <a:endParaRPr lang="en-US" sz="800" b="1" dirty="0"/>
            </a:p>
          </p:txBody>
        </p:sp>
        <p:sp>
          <p:nvSpPr>
            <p:cNvPr id="96" name="Left Brace 95">
              <a:extLst>
                <a:ext uri="{FF2B5EF4-FFF2-40B4-BE49-F238E27FC236}">
                  <a16:creationId xmlns:a16="http://schemas.microsoft.com/office/drawing/2014/main" id="{544F13B6-76EE-CC4D-A7CA-B63CCE7DC774}"/>
                </a:ext>
              </a:extLst>
            </p:cNvPr>
            <p:cNvSpPr/>
            <p:nvPr userDrawn="1"/>
          </p:nvSpPr>
          <p:spPr>
            <a:xfrm rot="5400000">
              <a:off x="6520304" y="4425654"/>
              <a:ext cx="137356" cy="1601292"/>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97" name="Left Brace 96">
              <a:extLst>
                <a:ext uri="{FF2B5EF4-FFF2-40B4-BE49-F238E27FC236}">
                  <a16:creationId xmlns:a16="http://schemas.microsoft.com/office/drawing/2014/main" id="{CE8E6BC8-A00E-F748-BAB1-06B8485A72AA}"/>
                </a:ext>
              </a:extLst>
            </p:cNvPr>
            <p:cNvSpPr/>
            <p:nvPr userDrawn="1"/>
          </p:nvSpPr>
          <p:spPr>
            <a:xfrm rot="5400000">
              <a:off x="8331042" y="4258741"/>
              <a:ext cx="137355" cy="1935127"/>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98" name="Left Brace 97">
              <a:extLst>
                <a:ext uri="{FF2B5EF4-FFF2-40B4-BE49-F238E27FC236}">
                  <a16:creationId xmlns:a16="http://schemas.microsoft.com/office/drawing/2014/main" id="{889E3AE0-344F-1641-902E-B7F3805E81B1}"/>
                </a:ext>
              </a:extLst>
            </p:cNvPr>
            <p:cNvSpPr/>
            <p:nvPr userDrawn="1"/>
          </p:nvSpPr>
          <p:spPr>
            <a:xfrm rot="5400000">
              <a:off x="9787705" y="4774421"/>
              <a:ext cx="137354" cy="903767"/>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4" name="Group 3">
            <a:extLst>
              <a:ext uri="{FF2B5EF4-FFF2-40B4-BE49-F238E27FC236}">
                <a16:creationId xmlns:a16="http://schemas.microsoft.com/office/drawing/2014/main" id="{E9C94B1B-22EB-0F46-8139-CF807DB87CC2}"/>
              </a:ext>
            </a:extLst>
          </p:cNvPr>
          <p:cNvGrpSpPr/>
          <p:nvPr userDrawn="1"/>
        </p:nvGrpSpPr>
        <p:grpSpPr>
          <a:xfrm>
            <a:off x="5788335" y="5691963"/>
            <a:ext cx="3144609" cy="566939"/>
            <a:chOff x="5826081" y="5638800"/>
            <a:chExt cx="3144609" cy="566939"/>
          </a:xfrm>
        </p:grpSpPr>
        <p:sp>
          <p:nvSpPr>
            <p:cNvPr id="58" name="Rectangle 57">
              <a:extLst>
                <a:ext uri="{FF2B5EF4-FFF2-40B4-BE49-F238E27FC236}">
                  <a16:creationId xmlns:a16="http://schemas.microsoft.com/office/drawing/2014/main" id="{46FD419A-E86C-1745-9E7B-C8DF02B5FD90}"/>
                </a:ext>
              </a:extLst>
            </p:cNvPr>
            <p:cNvSpPr/>
            <p:nvPr/>
          </p:nvSpPr>
          <p:spPr>
            <a:xfrm>
              <a:off x="5826081" y="6068384"/>
              <a:ext cx="2917465" cy="137355"/>
            </a:xfrm>
            <a:prstGeom prst="rect">
              <a:avLst/>
            </a:prstGeom>
          </p:spPr>
          <p:txBody>
            <a:bodyPr wrap="none" lIns="0" tIns="0" rIns="0" bIns="0">
              <a:sp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50" dirty="0"/>
                <a:t> authoremail@thermofisher.com | 5-August-2020</a:t>
              </a:r>
            </a:p>
          </p:txBody>
        </p:sp>
        <p:sp>
          <p:nvSpPr>
            <p:cNvPr id="99" name="Rectangle 98">
              <a:extLst>
                <a:ext uri="{FF2B5EF4-FFF2-40B4-BE49-F238E27FC236}">
                  <a16:creationId xmlns:a16="http://schemas.microsoft.com/office/drawing/2014/main" id="{D4600AD8-6C66-E84E-AD96-C01F836DD7B4}"/>
                </a:ext>
              </a:extLst>
            </p:cNvPr>
            <p:cNvSpPr/>
            <p:nvPr userDrawn="1"/>
          </p:nvSpPr>
          <p:spPr>
            <a:xfrm>
              <a:off x="6092290" y="5638801"/>
              <a:ext cx="1412567" cy="215444"/>
            </a:xfrm>
            <a:prstGeom prst="rect">
              <a:avLst/>
            </a:prstGeom>
          </p:spPr>
          <p:txBody>
            <a:bodyPr wrap="none">
              <a:spAutoFit/>
            </a:bodyPr>
            <a:lstStyle/>
            <a:p>
              <a:pPr algn="ctr"/>
              <a:r>
                <a:rPr lang="en-US" sz="800" b="1" dirty="0"/>
                <a:t>Author’s email </a:t>
              </a:r>
              <a:r>
                <a:rPr lang="en-US" sz="800" b="0" dirty="0"/>
                <a:t>(Optional)</a:t>
              </a:r>
            </a:p>
          </p:txBody>
        </p:sp>
        <p:sp>
          <p:nvSpPr>
            <p:cNvPr id="100" name="Rectangle 99">
              <a:extLst>
                <a:ext uri="{FF2B5EF4-FFF2-40B4-BE49-F238E27FC236}">
                  <a16:creationId xmlns:a16="http://schemas.microsoft.com/office/drawing/2014/main" id="{6D59122D-D94B-A440-B8CF-8558F9A1E3D1}"/>
                </a:ext>
              </a:extLst>
            </p:cNvPr>
            <p:cNvSpPr/>
            <p:nvPr userDrawn="1"/>
          </p:nvSpPr>
          <p:spPr>
            <a:xfrm>
              <a:off x="7538888" y="5638800"/>
              <a:ext cx="1431802" cy="215444"/>
            </a:xfrm>
            <a:prstGeom prst="rect">
              <a:avLst/>
            </a:prstGeom>
          </p:spPr>
          <p:txBody>
            <a:bodyPr wrap="none">
              <a:spAutoFit/>
            </a:bodyPr>
            <a:lstStyle/>
            <a:p>
              <a:pPr algn="ctr"/>
              <a:r>
                <a:rPr lang="en-US" sz="800" b="1" dirty="0"/>
                <a:t>Date published </a:t>
              </a:r>
              <a:r>
                <a:rPr lang="en-US" sz="800" b="0" dirty="0"/>
                <a:t>(Optional)</a:t>
              </a:r>
              <a:r>
                <a:rPr lang="en-US" sz="800" b="1" dirty="0"/>
                <a:t> </a:t>
              </a:r>
            </a:p>
          </p:txBody>
        </p:sp>
        <p:sp>
          <p:nvSpPr>
            <p:cNvPr id="101" name="Left Brace 100">
              <a:extLst>
                <a:ext uri="{FF2B5EF4-FFF2-40B4-BE49-F238E27FC236}">
                  <a16:creationId xmlns:a16="http://schemas.microsoft.com/office/drawing/2014/main" id="{AEE82C77-552E-364A-81F1-E9B9FCA2D6FD}"/>
                </a:ext>
              </a:extLst>
            </p:cNvPr>
            <p:cNvSpPr/>
            <p:nvPr userDrawn="1"/>
          </p:nvSpPr>
          <p:spPr>
            <a:xfrm rot="5400000">
              <a:off x="6725526" y="4988845"/>
              <a:ext cx="137355" cy="1935127"/>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02" name="Left Brace 101">
              <a:extLst>
                <a:ext uri="{FF2B5EF4-FFF2-40B4-BE49-F238E27FC236}">
                  <a16:creationId xmlns:a16="http://schemas.microsoft.com/office/drawing/2014/main" id="{10100607-49A2-2D47-BA45-46A4B8279F34}"/>
                </a:ext>
              </a:extLst>
            </p:cNvPr>
            <p:cNvSpPr/>
            <p:nvPr userDrawn="1"/>
          </p:nvSpPr>
          <p:spPr>
            <a:xfrm rot="5400000">
              <a:off x="8182189" y="5504525"/>
              <a:ext cx="137354" cy="903767"/>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spTree>
    <p:extLst>
      <p:ext uri="{BB962C8B-B14F-4D97-AF65-F5344CB8AC3E}">
        <p14:creationId xmlns:p14="http://schemas.microsoft.com/office/powerpoint/2010/main" val="14479527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ustom title slide">
    <p:bg>
      <p:bgPr>
        <a:gradFill>
          <a:gsLst>
            <a:gs pos="0">
              <a:schemeClr val="bg1"/>
            </a:gs>
            <a:gs pos="45000">
              <a:schemeClr val="bg1"/>
            </a:gs>
            <a:gs pos="66000">
              <a:schemeClr val="bg2"/>
            </a:gs>
          </a:gsLst>
          <a:lin ang="1080000" scaled="0"/>
        </a:gra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2DF2EB01-DB3A-564C-8485-CADA3C9CF3AF}"/>
              </a:ext>
            </a:extLst>
          </p:cNvPr>
          <p:cNvSpPr>
            <a:spLocks noGrp="1"/>
          </p:cNvSpPr>
          <p:nvPr>
            <p:ph type="pic" sz="quarter" idx="11" hasCustomPrompt="1"/>
          </p:nvPr>
        </p:nvSpPr>
        <p:spPr>
          <a:xfrm>
            <a:off x="5560460" y="3"/>
            <a:ext cx="6631541" cy="6857999"/>
          </a:xfrm>
          <a:custGeom>
            <a:avLst/>
            <a:gdLst>
              <a:gd name="connsiteX0" fmla="*/ 2183862 w 6631541"/>
              <a:gd name="connsiteY0" fmla="*/ 0 h 6857999"/>
              <a:gd name="connsiteX1" fmla="*/ 6631541 w 6631541"/>
              <a:gd name="connsiteY1" fmla="*/ 0 h 6857999"/>
              <a:gd name="connsiteX2" fmla="*/ 6631541 w 6631541"/>
              <a:gd name="connsiteY2" fmla="*/ 6857999 h 6857999"/>
              <a:gd name="connsiteX3" fmla="*/ 0 w 66315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6631541" h="6857999">
                <a:moveTo>
                  <a:pt x="2183862" y="0"/>
                </a:moveTo>
                <a:lnTo>
                  <a:pt x="6631541" y="0"/>
                </a:lnTo>
                <a:lnTo>
                  <a:pt x="6631541" y="6857999"/>
                </a:lnTo>
                <a:lnTo>
                  <a:pt x="0" y="6857999"/>
                </a:lnTo>
                <a:close/>
              </a:path>
            </a:pathLst>
          </a:custGeom>
          <a:pattFill prst="pct5">
            <a:fgClr>
              <a:schemeClr val="bg1"/>
            </a:fgClr>
            <a:bgClr>
              <a:schemeClr val="bg2"/>
            </a:bgClr>
          </a:pattFill>
        </p:spPr>
        <p:txBody>
          <a:bodyPr vert="horz" wrap="square" lIns="0" tIns="0" rIns="0" bIns="0" rtlCol="0" anchor="ctr">
            <a:noAutofit/>
          </a:bodyPr>
          <a:lstStyle>
            <a:lvl1pPr marL="0" indent="0" algn="ctr">
              <a:buFontTx/>
              <a:buNone/>
              <a:defRPr lang="en-US" sz="1050" dirty="0"/>
            </a:lvl1pPr>
          </a:lstStyle>
          <a:p>
            <a:pPr marR="0" lvl="0" algn="ctr" fontAlgn="auto">
              <a:spcAft>
                <a:spcPts val="0"/>
              </a:spcAft>
              <a:buClrTx/>
              <a:buSzTx/>
              <a:buNone/>
              <a:tabLst/>
            </a:pPr>
            <a:r>
              <a:rPr lang="en-US"/>
              <a:t>Add photo</a:t>
            </a:r>
          </a:p>
        </p:txBody>
      </p:sp>
      <p:grpSp>
        <p:nvGrpSpPr>
          <p:cNvPr id="7" name="Group 6">
            <a:extLst>
              <a:ext uri="{FF2B5EF4-FFF2-40B4-BE49-F238E27FC236}">
                <a16:creationId xmlns:a16="http://schemas.microsoft.com/office/drawing/2014/main" id="{B1F511C6-A535-A245-B123-CC04435D2DAF}"/>
              </a:ext>
            </a:extLst>
          </p:cNvPr>
          <p:cNvGrpSpPr/>
          <p:nvPr userDrawn="1"/>
        </p:nvGrpSpPr>
        <p:grpSpPr>
          <a:xfrm>
            <a:off x="304801" y="0"/>
            <a:ext cx="2427682" cy="1044934"/>
            <a:chOff x="0" y="0"/>
            <a:chExt cx="2447693" cy="1053548"/>
          </a:xfrm>
        </p:grpSpPr>
        <p:sp>
          <p:nvSpPr>
            <p:cNvPr id="8" name="Parallelogram 7">
              <a:extLst>
                <a:ext uri="{FF2B5EF4-FFF2-40B4-BE49-F238E27FC236}">
                  <a16:creationId xmlns:a16="http://schemas.microsoft.com/office/drawing/2014/main" id="{6399281C-FD14-2942-9A9B-13B5E50B7517}"/>
                </a:ext>
              </a:extLst>
            </p:cNvPr>
            <p:cNvSpPr/>
            <p:nvPr userDrawn="1"/>
          </p:nvSpPr>
          <p:spPr bwMode="auto">
            <a:xfrm>
              <a:off x="0" y="0"/>
              <a:ext cx="2447693" cy="1053548"/>
            </a:xfrm>
            <a:prstGeom prst="parallelogram">
              <a:avLst>
                <a:gd name="adj" fmla="val 0"/>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685778" rtl="0" eaLnBrk="0" fontAlgn="base" latinLnBrk="0" hangingPunct="0">
                <a:lnSpc>
                  <a:spcPct val="100000"/>
                </a:lnSpc>
                <a:spcBef>
                  <a:spcPct val="0"/>
                </a:spcBef>
                <a:spcAft>
                  <a:spcPct val="0"/>
                </a:spcAft>
                <a:buClrTx/>
                <a:buSzTx/>
                <a:buFontTx/>
                <a:buNone/>
                <a:tabLst/>
              </a:pPr>
              <a:r>
                <a:rPr lang="en-US" sz="1350">
                  <a:latin typeface="Arial" pitchFamily="124" charset="0"/>
                </a:rPr>
                <a:t>               </a:t>
              </a:r>
            </a:p>
          </p:txBody>
        </p:sp>
        <p:pic>
          <p:nvPicPr>
            <p:cNvPr id="9" name="Picture 8">
              <a:extLst>
                <a:ext uri="{FF2B5EF4-FFF2-40B4-BE49-F238E27FC236}">
                  <a16:creationId xmlns:a16="http://schemas.microsoft.com/office/drawing/2014/main" id="{7D60AD95-BD80-6049-9976-D024EC4ECDE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5820" y="154984"/>
              <a:ext cx="2178058" cy="756021"/>
            </a:xfrm>
            <a:prstGeom prst="rect">
              <a:avLst/>
            </a:prstGeom>
          </p:spPr>
        </p:pic>
      </p:grpSp>
      <p:grpSp>
        <p:nvGrpSpPr>
          <p:cNvPr id="11" name="Group 10">
            <a:extLst>
              <a:ext uri="{FF2B5EF4-FFF2-40B4-BE49-F238E27FC236}">
                <a16:creationId xmlns:a16="http://schemas.microsoft.com/office/drawing/2014/main" id="{BD8A84AE-AF33-DF45-94CF-C3F25C5B3C5F}"/>
              </a:ext>
            </a:extLst>
          </p:cNvPr>
          <p:cNvGrpSpPr/>
          <p:nvPr userDrawn="1"/>
        </p:nvGrpSpPr>
        <p:grpSpPr>
          <a:xfrm>
            <a:off x="283193" y="5970592"/>
            <a:ext cx="5053203" cy="441233"/>
            <a:chOff x="5155556" y="6168462"/>
            <a:chExt cx="5053203" cy="441233"/>
          </a:xfrm>
        </p:grpSpPr>
        <p:sp>
          <p:nvSpPr>
            <p:cNvPr id="12" name="TextBox 11">
              <a:extLst>
                <a:ext uri="{FF2B5EF4-FFF2-40B4-BE49-F238E27FC236}">
                  <a16:creationId xmlns:a16="http://schemas.microsoft.com/office/drawing/2014/main" id="{5DF5D896-302C-C647-8B84-3EA145C1337B}"/>
                </a:ext>
              </a:extLst>
            </p:cNvPr>
            <p:cNvSpPr txBox="1"/>
            <p:nvPr userDrawn="1"/>
          </p:nvSpPr>
          <p:spPr>
            <a:xfrm>
              <a:off x="5656050" y="6168462"/>
              <a:ext cx="4552709" cy="441233"/>
            </a:xfrm>
            <a:prstGeom prst="rect">
              <a:avLst/>
            </a:prstGeom>
            <a:noFill/>
          </p:spPr>
          <p:txBody>
            <a:bodyPr vert="horz" wrap="square" lIns="0" tIns="0" rIns="0" bIns="0" rtlCol="0" anchor="ctr" anchorCtr="0">
              <a:noAutofit/>
            </a:bodyPr>
            <a:lstStyle/>
            <a:p>
              <a:pPr algn="l"/>
              <a:r>
                <a:rPr lang="en-US" sz="1500">
                  <a:solidFill>
                    <a:schemeClr val="tx1"/>
                  </a:solidFill>
                  <a:latin typeface="Arial"/>
                </a:rPr>
                <a:t>The world leader in serving science</a:t>
              </a:r>
            </a:p>
          </p:txBody>
        </p:sp>
        <p:sp>
          <p:nvSpPr>
            <p:cNvPr id="13" name="Parallelogram 12">
              <a:extLst>
                <a:ext uri="{FF2B5EF4-FFF2-40B4-BE49-F238E27FC236}">
                  <a16:creationId xmlns:a16="http://schemas.microsoft.com/office/drawing/2014/main" id="{9BC00B89-C038-314A-AC65-15CF9FEFA67A}"/>
                </a:ext>
              </a:extLst>
            </p:cNvPr>
            <p:cNvSpPr/>
            <p:nvPr userDrawn="1"/>
          </p:nvSpPr>
          <p:spPr bwMode="auto">
            <a:xfrm>
              <a:off x="5155556" y="6302295"/>
              <a:ext cx="310510" cy="188737"/>
            </a:xfrm>
            <a:prstGeom prst="parallelogram">
              <a:avLst>
                <a:gd name="adj" fmla="val 31844"/>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685778" rtl="0" eaLnBrk="0" fontAlgn="base" latinLnBrk="0" hangingPunct="0">
                <a:lnSpc>
                  <a:spcPct val="100000"/>
                </a:lnSpc>
                <a:spcBef>
                  <a:spcPct val="0"/>
                </a:spcBef>
                <a:spcAft>
                  <a:spcPct val="0"/>
                </a:spcAft>
                <a:buClrTx/>
                <a:buSzTx/>
                <a:buFontTx/>
                <a:buNone/>
                <a:tabLst/>
              </a:pPr>
              <a:r>
                <a:rPr lang="en-US" sz="1350">
                  <a:latin typeface="Arial" pitchFamily="124" charset="0"/>
                </a:rPr>
                <a:t>               </a:t>
              </a:r>
            </a:p>
          </p:txBody>
        </p:sp>
      </p:grpSp>
      <p:sp>
        <p:nvSpPr>
          <p:cNvPr id="17" name="Text Placeholder 15">
            <a:extLst>
              <a:ext uri="{FF2B5EF4-FFF2-40B4-BE49-F238E27FC236}">
                <a16:creationId xmlns:a16="http://schemas.microsoft.com/office/drawing/2014/main" id="{066B560F-B405-E64F-9BDF-0CBAACB3D079}"/>
              </a:ext>
            </a:extLst>
          </p:cNvPr>
          <p:cNvSpPr>
            <a:spLocks noGrp="1"/>
          </p:cNvSpPr>
          <p:nvPr>
            <p:ph type="body" sz="quarter" idx="10" hasCustomPrompt="1"/>
          </p:nvPr>
        </p:nvSpPr>
        <p:spPr>
          <a:xfrm>
            <a:off x="304802" y="3903896"/>
            <a:ext cx="5791199" cy="308120"/>
          </a:xfrm>
          <a:prstGeom prst="rect">
            <a:avLst/>
          </a:prstGeom>
        </p:spPr>
        <p:txBody>
          <a:bodyPr lIns="0" tIns="0" rIns="0" bIns="0" anchor="b"/>
          <a:lstStyle>
            <a:lvl1pPr>
              <a:spcBef>
                <a:spcPts val="0"/>
              </a:spcBef>
              <a:spcAft>
                <a:spcPts val="0"/>
              </a:spcAft>
              <a:buFontTx/>
              <a:buNone/>
              <a:defRPr sz="1200" b="0" baseline="0">
                <a:solidFill>
                  <a:schemeClr val="tx2"/>
                </a:solidFill>
              </a:defRPr>
            </a:lvl1pPr>
            <a:lvl2pPr marL="85722" indent="3572">
              <a:spcAft>
                <a:spcPts val="0"/>
              </a:spcAft>
              <a:buFontTx/>
              <a:buNone/>
              <a:defRPr sz="1050" i="1" baseline="0">
                <a:solidFill>
                  <a:schemeClr val="tx1"/>
                </a:solidFill>
              </a:defRPr>
            </a:lvl2pPr>
          </a:lstStyle>
          <a:p>
            <a:pPr lvl="0"/>
            <a:r>
              <a:rPr lang="en-US"/>
              <a:t>Presenter name [16pt Arial] </a:t>
            </a:r>
          </a:p>
        </p:txBody>
      </p:sp>
      <p:sp>
        <p:nvSpPr>
          <p:cNvPr id="18" name="Title 16">
            <a:extLst>
              <a:ext uri="{FF2B5EF4-FFF2-40B4-BE49-F238E27FC236}">
                <a16:creationId xmlns:a16="http://schemas.microsoft.com/office/drawing/2014/main" id="{98A0AF47-0118-3245-A388-D5866C77A994}"/>
              </a:ext>
            </a:extLst>
          </p:cNvPr>
          <p:cNvSpPr>
            <a:spLocks noGrp="1"/>
          </p:cNvSpPr>
          <p:nvPr>
            <p:ph type="title" hasCustomPrompt="1"/>
          </p:nvPr>
        </p:nvSpPr>
        <p:spPr>
          <a:xfrm>
            <a:off x="304802" y="1726100"/>
            <a:ext cx="5791199" cy="2071868"/>
          </a:xfrm>
          <a:prstGeom prst="rect">
            <a:avLst/>
          </a:prstGeom>
          <a:noFill/>
        </p:spPr>
        <p:txBody>
          <a:bodyPr wrap="square" lIns="0" tIns="0" rIns="0" bIns="0" anchor="b">
            <a:noAutofit/>
          </a:bodyPr>
          <a:lstStyle>
            <a:lvl1pPr>
              <a:lnSpc>
                <a:spcPct val="90000"/>
              </a:lnSpc>
              <a:defRPr sz="2100" b="1">
                <a:solidFill>
                  <a:schemeClr val="tx1"/>
                </a:solidFill>
              </a:defRPr>
            </a:lvl1pPr>
          </a:lstStyle>
          <a:p>
            <a:r>
              <a:rPr lang="en-US"/>
              <a:t>Title [28pt Arial Bold] </a:t>
            </a:r>
          </a:p>
        </p:txBody>
      </p:sp>
      <p:sp>
        <p:nvSpPr>
          <p:cNvPr id="21" name="Footer Placeholder 1">
            <a:extLst>
              <a:ext uri="{FF2B5EF4-FFF2-40B4-BE49-F238E27FC236}">
                <a16:creationId xmlns:a16="http://schemas.microsoft.com/office/drawing/2014/main" id="{0417725A-1D63-8B41-B75E-4A7C276235C4}"/>
              </a:ext>
            </a:extLst>
          </p:cNvPr>
          <p:cNvSpPr>
            <a:spLocks noGrp="1"/>
          </p:cNvSpPr>
          <p:nvPr>
            <p:ph type="ftr" sz="quarter" idx="15"/>
          </p:nvPr>
        </p:nvSpPr>
        <p:spPr>
          <a:xfrm>
            <a:off x="304800" y="6553202"/>
            <a:ext cx="3657600" cy="304799"/>
          </a:xfrm>
        </p:spPr>
        <p:txBody>
          <a:bodyPr/>
          <a:lstStyle/>
          <a:p>
            <a:r>
              <a:rPr lang="en-US"/>
              <a:t>Proprietary &amp; Confidential |  authoremail@thermofisher.com | 5-August-2020</a:t>
            </a:r>
          </a:p>
        </p:txBody>
      </p:sp>
      <p:sp>
        <p:nvSpPr>
          <p:cNvPr id="22" name="Slide Number Placeholder 2">
            <a:extLst>
              <a:ext uri="{FF2B5EF4-FFF2-40B4-BE49-F238E27FC236}">
                <a16:creationId xmlns:a16="http://schemas.microsoft.com/office/drawing/2014/main" id="{2EFD93CC-9AAB-B446-8966-4FFCA1CA2633}"/>
              </a:ext>
            </a:extLst>
          </p:cNvPr>
          <p:cNvSpPr>
            <a:spLocks noGrp="1"/>
          </p:cNvSpPr>
          <p:nvPr>
            <p:ph type="sldNum" sz="quarter" idx="12"/>
          </p:nvPr>
        </p:nvSpPr>
        <p:spPr>
          <a:xfrm>
            <a:off x="2" y="6553202"/>
            <a:ext cx="304799" cy="304799"/>
          </a:xfrm>
        </p:spPr>
        <p:txBody>
          <a:bodyPr/>
          <a:lstStyle/>
          <a:p>
            <a:fld id="{89006F1E-66CD-4A4B-9370-B4A3080F0E6C}" type="slidenum">
              <a:rPr lang="en-US" smtClean="0"/>
              <a:pPr/>
              <a:t>‹#›</a:t>
            </a:fld>
            <a:endParaRPr lang="en-US"/>
          </a:p>
        </p:txBody>
      </p:sp>
      <p:sp>
        <p:nvSpPr>
          <p:cNvPr id="15" name="Text Placeholder 15">
            <a:extLst>
              <a:ext uri="{FF2B5EF4-FFF2-40B4-BE49-F238E27FC236}">
                <a16:creationId xmlns:a16="http://schemas.microsoft.com/office/drawing/2014/main" id="{DA6AB682-877D-F244-8431-46BA64252685}"/>
              </a:ext>
            </a:extLst>
          </p:cNvPr>
          <p:cNvSpPr>
            <a:spLocks noGrp="1"/>
          </p:cNvSpPr>
          <p:nvPr>
            <p:ph type="body" sz="quarter" idx="14" hasCustomPrompt="1"/>
          </p:nvPr>
        </p:nvSpPr>
        <p:spPr>
          <a:xfrm>
            <a:off x="304802" y="4255835"/>
            <a:ext cx="5791200" cy="1097215"/>
          </a:xfrm>
          <a:prstGeom prst="rect">
            <a:avLst/>
          </a:prstGeom>
        </p:spPr>
        <p:txBody>
          <a:bodyPr lIns="0" tIns="0" rIns="0" bIns="0" anchor="t">
            <a:normAutofit/>
          </a:bodyPr>
          <a:lstStyle>
            <a:lvl1pPr marL="134536" marR="0" indent="-134536" algn="l" defTabSz="685778" rtl="0" eaLnBrk="1" fontAlgn="auto" latinLnBrk="0" hangingPunct="1">
              <a:lnSpc>
                <a:spcPct val="120000"/>
              </a:lnSpc>
              <a:spcBef>
                <a:spcPts val="0"/>
              </a:spcBef>
              <a:spcAft>
                <a:spcPts val="0"/>
              </a:spcAft>
              <a:buClr>
                <a:schemeClr val="accent4"/>
              </a:buClr>
              <a:buSzPct val="100000"/>
              <a:buFontTx/>
              <a:buNone/>
              <a:tabLst/>
              <a:defRPr sz="1050" b="0" baseline="0">
                <a:solidFill>
                  <a:schemeClr val="tx1"/>
                </a:solidFill>
              </a:defRPr>
            </a:lvl1pPr>
            <a:lvl2pPr marL="85722" indent="3572">
              <a:spcAft>
                <a:spcPts val="0"/>
              </a:spcAft>
              <a:buFontTx/>
              <a:buNone/>
              <a:defRPr sz="1050" i="1" baseline="0">
                <a:solidFill>
                  <a:schemeClr val="tx1"/>
                </a:solidFill>
              </a:defRPr>
            </a:lvl2pPr>
          </a:lstStyle>
          <a:p>
            <a:pPr marL="308600" marR="0" lvl="0" indent="-308600" algn="l" defTabSz="685778" rtl="0" eaLnBrk="1" fontAlgn="auto" latinLnBrk="0" hangingPunct="1">
              <a:lnSpc>
                <a:spcPct val="120000"/>
              </a:lnSpc>
              <a:spcBef>
                <a:spcPts val="0"/>
              </a:spcBef>
              <a:spcAft>
                <a:spcPts val="0"/>
              </a:spcAft>
              <a:buClr>
                <a:schemeClr val="accent4"/>
              </a:buClr>
              <a:buSzPct val="100000"/>
              <a:buFontTx/>
              <a:buNone/>
              <a:tabLst/>
              <a:defRPr/>
            </a:pPr>
            <a:r>
              <a:rPr lang="en-US"/>
              <a:t>Presenter Title [14pt Arial]</a:t>
            </a:r>
            <a:br>
              <a:rPr lang="en-US"/>
            </a:br>
            <a:r>
              <a:rPr lang="en-US"/>
              <a:t>Date [14pt Arial] </a:t>
            </a:r>
          </a:p>
        </p:txBody>
      </p:sp>
    </p:spTree>
    <p:extLst>
      <p:ext uri="{BB962C8B-B14F-4D97-AF65-F5344CB8AC3E}">
        <p14:creationId xmlns:p14="http://schemas.microsoft.com/office/powerpoint/2010/main" val="201280330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efault title slide 1">
    <p:bg>
      <p:bgPr>
        <a:gradFill>
          <a:gsLst>
            <a:gs pos="0">
              <a:schemeClr val="bg1"/>
            </a:gs>
            <a:gs pos="41000">
              <a:schemeClr val="bg1"/>
            </a:gs>
            <a:gs pos="63000">
              <a:schemeClr val="bg2"/>
            </a:gs>
          </a:gsLst>
          <a:lin ang="1080000" scaled="0"/>
        </a:gra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677DF418-A9B4-B748-8DE9-21DBD7EA3747}"/>
              </a:ext>
            </a:extLst>
          </p:cNvPr>
          <p:cNvPicPr>
            <a:picLocks noChangeAspect="1"/>
          </p:cNvPicPr>
          <p:nvPr userDrawn="1"/>
        </p:nvPicPr>
        <p:blipFill>
          <a:blip r:embed="rId2" cstate="screen">
            <a:extLst>
              <a:ext uri="{28A0092B-C50C-407E-A947-70E740481C1C}">
                <a14:useLocalDpi xmlns:a14="http://schemas.microsoft.com/office/drawing/2010/main"/>
              </a:ext>
            </a:extLst>
          </a:blip>
          <a:srcRect l="2177" r="2177"/>
          <a:stretch>
            <a:fillRect/>
          </a:stretch>
        </p:blipFill>
        <p:spPr>
          <a:xfrm>
            <a:off x="5560459" y="1"/>
            <a:ext cx="6631541" cy="6857999"/>
          </a:xfrm>
          <a:custGeom>
            <a:avLst/>
            <a:gdLst>
              <a:gd name="connsiteX0" fmla="*/ 2183862 w 6631541"/>
              <a:gd name="connsiteY0" fmla="*/ 0 h 6857999"/>
              <a:gd name="connsiteX1" fmla="*/ 6631541 w 6631541"/>
              <a:gd name="connsiteY1" fmla="*/ 0 h 6857999"/>
              <a:gd name="connsiteX2" fmla="*/ 6631541 w 6631541"/>
              <a:gd name="connsiteY2" fmla="*/ 6857999 h 6857999"/>
              <a:gd name="connsiteX3" fmla="*/ 0 w 66315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6631541" h="6857999">
                <a:moveTo>
                  <a:pt x="2183862" y="0"/>
                </a:moveTo>
                <a:lnTo>
                  <a:pt x="6631541" y="0"/>
                </a:lnTo>
                <a:lnTo>
                  <a:pt x="6631541" y="6857999"/>
                </a:lnTo>
                <a:lnTo>
                  <a:pt x="0" y="6857999"/>
                </a:lnTo>
                <a:close/>
              </a:path>
            </a:pathLst>
          </a:custGeom>
        </p:spPr>
      </p:pic>
      <p:grpSp>
        <p:nvGrpSpPr>
          <p:cNvPr id="7" name="Group 6">
            <a:extLst>
              <a:ext uri="{FF2B5EF4-FFF2-40B4-BE49-F238E27FC236}">
                <a16:creationId xmlns:a16="http://schemas.microsoft.com/office/drawing/2014/main" id="{B1F511C6-A535-A245-B123-CC04435D2DAF}"/>
              </a:ext>
            </a:extLst>
          </p:cNvPr>
          <p:cNvGrpSpPr/>
          <p:nvPr userDrawn="1"/>
        </p:nvGrpSpPr>
        <p:grpSpPr>
          <a:xfrm>
            <a:off x="304799" y="0"/>
            <a:ext cx="2427681" cy="1044934"/>
            <a:chOff x="0" y="0"/>
            <a:chExt cx="2447693" cy="1053548"/>
          </a:xfrm>
        </p:grpSpPr>
        <p:sp>
          <p:nvSpPr>
            <p:cNvPr id="8" name="Parallelogram 7">
              <a:extLst>
                <a:ext uri="{FF2B5EF4-FFF2-40B4-BE49-F238E27FC236}">
                  <a16:creationId xmlns:a16="http://schemas.microsoft.com/office/drawing/2014/main" id="{6399281C-FD14-2942-9A9B-13B5E50B7517}"/>
                </a:ext>
              </a:extLst>
            </p:cNvPr>
            <p:cNvSpPr/>
            <p:nvPr userDrawn="1"/>
          </p:nvSpPr>
          <p:spPr bwMode="auto">
            <a:xfrm>
              <a:off x="0" y="0"/>
              <a:ext cx="2447693" cy="1053548"/>
            </a:xfrm>
            <a:prstGeom prst="parallelogram">
              <a:avLst>
                <a:gd name="adj" fmla="val 0"/>
              </a:avLst>
            </a:prstGeom>
            <a:solidFill>
              <a:srgbClr val="E7131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800" dirty="0">
                  <a:latin typeface="Arial" pitchFamily="124" charset="0"/>
                </a:rPr>
                <a:t> </a:t>
              </a:r>
            </a:p>
          </p:txBody>
        </p:sp>
        <p:pic>
          <p:nvPicPr>
            <p:cNvPr id="9" name="Picture 8">
              <a:extLst>
                <a:ext uri="{FF2B5EF4-FFF2-40B4-BE49-F238E27FC236}">
                  <a16:creationId xmlns:a16="http://schemas.microsoft.com/office/drawing/2014/main" id="{7D60AD95-BD80-6049-9976-D024EC4ECDE8}"/>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35820" y="154984"/>
              <a:ext cx="2178058" cy="756021"/>
            </a:xfrm>
            <a:prstGeom prst="rect">
              <a:avLst/>
            </a:prstGeom>
          </p:spPr>
        </p:pic>
      </p:grpSp>
      <p:grpSp>
        <p:nvGrpSpPr>
          <p:cNvPr id="29" name="Group 28">
            <a:extLst>
              <a:ext uri="{FF2B5EF4-FFF2-40B4-BE49-F238E27FC236}">
                <a16:creationId xmlns:a16="http://schemas.microsoft.com/office/drawing/2014/main" id="{C22F9FBA-8765-F543-9501-7F99893993AB}"/>
              </a:ext>
            </a:extLst>
          </p:cNvPr>
          <p:cNvGrpSpPr/>
          <p:nvPr userDrawn="1"/>
        </p:nvGrpSpPr>
        <p:grpSpPr>
          <a:xfrm>
            <a:off x="283193" y="5970590"/>
            <a:ext cx="5053203" cy="441233"/>
            <a:chOff x="5155556" y="6168462"/>
            <a:chExt cx="5053203" cy="441233"/>
          </a:xfrm>
        </p:grpSpPr>
        <p:sp>
          <p:nvSpPr>
            <p:cNvPr id="30" name="TextBox 29">
              <a:extLst>
                <a:ext uri="{FF2B5EF4-FFF2-40B4-BE49-F238E27FC236}">
                  <a16:creationId xmlns:a16="http://schemas.microsoft.com/office/drawing/2014/main" id="{AA7B3D6A-876F-BF4D-9180-BC91EE9697B0}"/>
                </a:ext>
              </a:extLst>
            </p:cNvPr>
            <p:cNvSpPr txBox="1"/>
            <p:nvPr userDrawn="1"/>
          </p:nvSpPr>
          <p:spPr>
            <a:xfrm>
              <a:off x="5656050" y="6168462"/>
              <a:ext cx="4552709" cy="441233"/>
            </a:xfrm>
            <a:prstGeom prst="rect">
              <a:avLst/>
            </a:prstGeom>
            <a:noFill/>
          </p:spPr>
          <p:txBody>
            <a:bodyPr vert="horz" wrap="square" lIns="0" tIns="0" rIns="0" bIns="0" rtlCol="0" anchor="ctr" anchorCtr="0">
              <a:noAutofit/>
            </a:bodyPr>
            <a:lstStyle/>
            <a:p>
              <a:pPr algn="l"/>
              <a:r>
                <a:rPr lang="en-US" sz="2000" dirty="0">
                  <a:solidFill>
                    <a:schemeClr val="tx1"/>
                  </a:solidFill>
                  <a:latin typeface="Arial"/>
                </a:rPr>
                <a:t>The world leader in serving science</a:t>
              </a:r>
            </a:p>
          </p:txBody>
        </p:sp>
        <p:sp>
          <p:nvSpPr>
            <p:cNvPr id="31" name="Parallelogram 30">
              <a:extLst>
                <a:ext uri="{FF2B5EF4-FFF2-40B4-BE49-F238E27FC236}">
                  <a16:creationId xmlns:a16="http://schemas.microsoft.com/office/drawing/2014/main" id="{05D00626-6EB1-244B-9ADB-13C2AE5E1907}"/>
                </a:ext>
              </a:extLst>
            </p:cNvPr>
            <p:cNvSpPr/>
            <p:nvPr userDrawn="1"/>
          </p:nvSpPr>
          <p:spPr bwMode="auto">
            <a:xfrm>
              <a:off x="5155556" y="6302295"/>
              <a:ext cx="310510" cy="188737"/>
            </a:xfrm>
            <a:prstGeom prst="parallelogram">
              <a:avLst>
                <a:gd name="adj" fmla="val 31844"/>
              </a:avLst>
            </a:prstGeom>
            <a:solidFill>
              <a:srgbClr val="E7131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800" dirty="0">
                  <a:latin typeface="Arial" pitchFamily="124" charset="0"/>
                </a:rPr>
                <a:t> </a:t>
              </a:r>
            </a:p>
          </p:txBody>
        </p:sp>
      </p:grpSp>
      <p:sp>
        <p:nvSpPr>
          <p:cNvPr id="2" name="Footer Placeholder 1">
            <a:extLst>
              <a:ext uri="{FF2B5EF4-FFF2-40B4-BE49-F238E27FC236}">
                <a16:creationId xmlns:a16="http://schemas.microsoft.com/office/drawing/2014/main" id="{BA129332-E471-D44D-8711-996E85A9EE29}"/>
              </a:ext>
            </a:extLst>
          </p:cNvPr>
          <p:cNvSpPr>
            <a:spLocks noGrp="1"/>
          </p:cNvSpPr>
          <p:nvPr>
            <p:ph type="ftr" sz="quarter" idx="11"/>
          </p:nvPr>
        </p:nvSpPr>
        <p:spPr>
          <a:xfrm>
            <a:off x="304800" y="6553200"/>
            <a:ext cx="7620000" cy="304799"/>
          </a:xfrm>
        </p:spPr>
        <p:txBody>
          <a:bodyPr/>
          <a:lstStyle/>
          <a:p>
            <a:endParaRPr lang="en-US" dirty="0"/>
          </a:p>
        </p:txBody>
      </p:sp>
      <p:sp>
        <p:nvSpPr>
          <p:cNvPr id="3" name="Slide Number Placeholder 2">
            <a:extLst>
              <a:ext uri="{FF2B5EF4-FFF2-40B4-BE49-F238E27FC236}">
                <a16:creationId xmlns:a16="http://schemas.microsoft.com/office/drawing/2014/main" id="{B4F77913-5D2C-C141-AB22-388096EB8230}"/>
              </a:ext>
            </a:extLst>
          </p:cNvPr>
          <p:cNvSpPr>
            <a:spLocks noGrp="1"/>
          </p:cNvSpPr>
          <p:nvPr>
            <p:ph type="sldNum" sz="quarter" idx="12"/>
          </p:nvPr>
        </p:nvSpPr>
        <p:spPr/>
        <p:txBody>
          <a:bodyPr/>
          <a:lstStyle/>
          <a:p>
            <a:fld id="{89006F1E-66CD-4A4B-9370-B4A3080F0E6C}" type="slidenum">
              <a:rPr lang="en-US" smtClean="0"/>
              <a:pPr/>
              <a:t>‹#›</a:t>
            </a:fld>
            <a:endParaRPr lang="en-US" dirty="0"/>
          </a:p>
        </p:txBody>
      </p:sp>
      <p:sp>
        <p:nvSpPr>
          <p:cNvPr id="15" name="Text Placeholder 15">
            <a:extLst>
              <a:ext uri="{FF2B5EF4-FFF2-40B4-BE49-F238E27FC236}">
                <a16:creationId xmlns:a16="http://schemas.microsoft.com/office/drawing/2014/main" id="{8209BE38-5C75-4E48-AACA-BEDC106131D5}"/>
              </a:ext>
            </a:extLst>
          </p:cNvPr>
          <p:cNvSpPr>
            <a:spLocks noGrp="1"/>
          </p:cNvSpPr>
          <p:nvPr>
            <p:ph type="body" sz="quarter" idx="10" hasCustomPrompt="1"/>
          </p:nvPr>
        </p:nvSpPr>
        <p:spPr>
          <a:xfrm>
            <a:off x="304800" y="3903896"/>
            <a:ext cx="5791199" cy="308120"/>
          </a:xfrm>
          <a:prstGeom prst="rect">
            <a:avLst/>
          </a:prstGeom>
        </p:spPr>
        <p:txBody>
          <a:bodyPr lIns="0" tIns="0" rIns="0" bIns="0" anchor="b"/>
          <a:lstStyle>
            <a:lvl1pPr>
              <a:spcBef>
                <a:spcPts val="0"/>
              </a:spcBef>
              <a:spcAft>
                <a:spcPts val="0"/>
              </a:spcAft>
              <a:buFontTx/>
              <a:buNone/>
              <a:defRPr sz="1600" b="0" baseline="0">
                <a:solidFill>
                  <a:schemeClr val="tx2"/>
                </a:solidFill>
              </a:defRPr>
            </a:lvl1pPr>
            <a:lvl2pPr marL="114300" indent="4763">
              <a:spcAft>
                <a:spcPts val="0"/>
              </a:spcAft>
              <a:buFontTx/>
              <a:buNone/>
              <a:defRPr sz="1400" i="1" baseline="0">
                <a:solidFill>
                  <a:schemeClr val="tx1"/>
                </a:solidFill>
              </a:defRPr>
            </a:lvl2pPr>
          </a:lstStyle>
          <a:p>
            <a:pPr lvl="0"/>
            <a:r>
              <a:rPr lang="en-US" dirty="0"/>
              <a:t>Presenter name [16pt Arial] </a:t>
            </a:r>
          </a:p>
        </p:txBody>
      </p:sp>
      <p:sp>
        <p:nvSpPr>
          <p:cNvPr id="16" name="Title 16">
            <a:extLst>
              <a:ext uri="{FF2B5EF4-FFF2-40B4-BE49-F238E27FC236}">
                <a16:creationId xmlns:a16="http://schemas.microsoft.com/office/drawing/2014/main" id="{B2B8D3D1-6FA6-C04D-951C-FD0E7458C808}"/>
              </a:ext>
            </a:extLst>
          </p:cNvPr>
          <p:cNvSpPr>
            <a:spLocks noGrp="1"/>
          </p:cNvSpPr>
          <p:nvPr>
            <p:ph type="title" hasCustomPrompt="1"/>
          </p:nvPr>
        </p:nvSpPr>
        <p:spPr>
          <a:xfrm>
            <a:off x="304801" y="1726100"/>
            <a:ext cx="5791199" cy="2071868"/>
          </a:xfrm>
          <a:prstGeom prst="rect">
            <a:avLst/>
          </a:prstGeom>
          <a:noFill/>
        </p:spPr>
        <p:txBody>
          <a:bodyPr wrap="square" lIns="0" tIns="0" rIns="0" bIns="0" anchor="b">
            <a:noAutofit/>
          </a:bodyPr>
          <a:lstStyle>
            <a:lvl1pPr>
              <a:lnSpc>
                <a:spcPct val="110000"/>
              </a:lnSpc>
              <a:defRPr sz="2800" b="1">
                <a:solidFill>
                  <a:schemeClr val="tx1"/>
                </a:solidFill>
              </a:defRPr>
            </a:lvl1pPr>
          </a:lstStyle>
          <a:p>
            <a:r>
              <a:rPr lang="en-US" dirty="0"/>
              <a:t>Title [28pt Arial Bold] </a:t>
            </a:r>
          </a:p>
        </p:txBody>
      </p:sp>
      <p:sp>
        <p:nvSpPr>
          <p:cNvPr id="21" name="Text Placeholder 15">
            <a:extLst>
              <a:ext uri="{FF2B5EF4-FFF2-40B4-BE49-F238E27FC236}">
                <a16:creationId xmlns:a16="http://schemas.microsoft.com/office/drawing/2014/main" id="{046B4CC3-134E-7548-B9F5-FA5784CFD5AE}"/>
              </a:ext>
            </a:extLst>
          </p:cNvPr>
          <p:cNvSpPr>
            <a:spLocks noGrp="1"/>
          </p:cNvSpPr>
          <p:nvPr>
            <p:ph type="body" sz="quarter" idx="14" hasCustomPrompt="1"/>
          </p:nvPr>
        </p:nvSpPr>
        <p:spPr>
          <a:xfrm>
            <a:off x="304800" y="4255834"/>
            <a:ext cx="5791199" cy="1097215"/>
          </a:xfrm>
          <a:prstGeom prst="rect">
            <a:avLst/>
          </a:prstGeom>
        </p:spPr>
        <p:txBody>
          <a:bodyPr lIns="0" tIns="0" rIns="0" bIns="0" anchor="t">
            <a:normAutofit/>
          </a:bodyPr>
          <a:lstStyle>
            <a:lvl1pPr marL="179388" marR="0" indent="-179388" algn="l" defTabSz="914400" rtl="0" eaLnBrk="1" fontAlgn="auto" latinLnBrk="0" hangingPunct="1">
              <a:lnSpc>
                <a:spcPct val="120000"/>
              </a:lnSpc>
              <a:spcBef>
                <a:spcPts val="0"/>
              </a:spcBef>
              <a:spcAft>
                <a:spcPts val="0"/>
              </a:spcAft>
              <a:buClr>
                <a:schemeClr val="accent4"/>
              </a:buClr>
              <a:buSzPct val="100000"/>
              <a:buFontTx/>
              <a:buNone/>
              <a:tabLst/>
              <a:defRPr sz="1400" b="0" baseline="0">
                <a:solidFill>
                  <a:schemeClr val="tx1"/>
                </a:solidFill>
              </a:defRPr>
            </a:lvl1pPr>
            <a:lvl2pPr marL="114300" indent="4763">
              <a:spcAft>
                <a:spcPts val="0"/>
              </a:spcAft>
              <a:buFontTx/>
              <a:buNone/>
              <a:defRPr sz="1400" i="1" baseline="0">
                <a:solidFill>
                  <a:schemeClr val="tx1"/>
                </a:solidFill>
              </a:defRPr>
            </a:lvl2pPr>
          </a:lstStyle>
          <a:p>
            <a:pPr marL="411480" marR="0" lvl="0" indent="-411480" algn="l" defTabSz="914400" rtl="0" eaLnBrk="1" fontAlgn="auto" latinLnBrk="0" hangingPunct="1">
              <a:lnSpc>
                <a:spcPct val="120000"/>
              </a:lnSpc>
              <a:spcBef>
                <a:spcPts val="0"/>
              </a:spcBef>
              <a:spcAft>
                <a:spcPts val="0"/>
              </a:spcAft>
              <a:buClr>
                <a:schemeClr val="accent4"/>
              </a:buClr>
              <a:buSzPct val="100000"/>
              <a:buFontTx/>
              <a:buNone/>
              <a:tabLst/>
              <a:defRPr/>
            </a:pPr>
            <a:r>
              <a:rPr lang="en-US" dirty="0"/>
              <a:t>Presenter Title [14pt Arial]</a:t>
            </a:r>
            <a:br>
              <a:rPr lang="en-US" dirty="0"/>
            </a:br>
            <a:r>
              <a:rPr lang="en-US" dirty="0"/>
              <a:t>Date [14pt Arial] </a:t>
            </a:r>
          </a:p>
        </p:txBody>
      </p:sp>
    </p:spTree>
    <p:extLst>
      <p:ext uri="{BB962C8B-B14F-4D97-AF65-F5344CB8AC3E}">
        <p14:creationId xmlns:p14="http://schemas.microsoft.com/office/powerpoint/2010/main" val="423674236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efault title slide 2">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7D997E8D-54A7-034E-BB18-43BE9D8B72AF}"/>
              </a:ext>
            </a:extLst>
          </p:cNvPr>
          <p:cNvGrpSpPr/>
          <p:nvPr userDrawn="1"/>
        </p:nvGrpSpPr>
        <p:grpSpPr>
          <a:xfrm>
            <a:off x="10015961" y="24564"/>
            <a:ext cx="2176039" cy="6833436"/>
            <a:chOff x="10024536" y="24564"/>
            <a:chExt cx="2176039" cy="6833436"/>
          </a:xfrm>
        </p:grpSpPr>
        <p:sp>
          <p:nvSpPr>
            <p:cNvPr id="25" name="Freeform 24">
              <a:extLst>
                <a:ext uri="{FF2B5EF4-FFF2-40B4-BE49-F238E27FC236}">
                  <a16:creationId xmlns:a16="http://schemas.microsoft.com/office/drawing/2014/main" id="{72CE4260-6521-4748-93CA-26778BA70D03}"/>
                </a:ext>
              </a:extLst>
            </p:cNvPr>
            <p:cNvSpPr/>
            <p:nvPr userDrawn="1"/>
          </p:nvSpPr>
          <p:spPr bwMode="auto">
            <a:xfrm>
              <a:off x="10024536" y="24564"/>
              <a:ext cx="2176039" cy="6833436"/>
            </a:xfrm>
            <a:custGeom>
              <a:avLst/>
              <a:gdLst>
                <a:gd name="connsiteX0" fmla="*/ 1745961 w 1745961"/>
                <a:gd name="connsiteY0" fmla="*/ 0 h 5482857"/>
                <a:gd name="connsiteX1" fmla="*/ 1745961 w 1745961"/>
                <a:gd name="connsiteY1" fmla="*/ 5482857 h 5482857"/>
                <a:gd name="connsiteX2" fmla="*/ 0 w 1745961"/>
                <a:gd name="connsiteY2" fmla="*/ 5482857 h 5482857"/>
              </a:gdLst>
              <a:ahLst/>
              <a:cxnLst>
                <a:cxn ang="0">
                  <a:pos x="connsiteX0" y="connsiteY0"/>
                </a:cxn>
                <a:cxn ang="0">
                  <a:pos x="connsiteX1" y="connsiteY1"/>
                </a:cxn>
                <a:cxn ang="0">
                  <a:pos x="connsiteX2" y="connsiteY2"/>
                </a:cxn>
              </a:cxnLst>
              <a:rect l="l" t="t" r="r" b="b"/>
              <a:pathLst>
                <a:path w="1745961" h="5482857">
                  <a:moveTo>
                    <a:pt x="1745961" y="0"/>
                  </a:moveTo>
                  <a:lnTo>
                    <a:pt x="1745961" y="5482857"/>
                  </a:lnTo>
                  <a:lnTo>
                    <a:pt x="0" y="5482857"/>
                  </a:lnTo>
                  <a:close/>
                </a:path>
              </a:pathLst>
            </a:custGeom>
            <a:solidFill>
              <a:schemeClr val="tx2">
                <a:lumMod val="75000"/>
                <a:alpha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800" dirty="0">
                  <a:latin typeface="Arial" pitchFamily="124" charset="0"/>
                </a:rPr>
                <a:t> </a:t>
              </a:r>
            </a:p>
          </p:txBody>
        </p:sp>
        <p:sp>
          <p:nvSpPr>
            <p:cNvPr id="26" name="Freeform 25">
              <a:extLst>
                <a:ext uri="{FF2B5EF4-FFF2-40B4-BE49-F238E27FC236}">
                  <a16:creationId xmlns:a16="http://schemas.microsoft.com/office/drawing/2014/main" id="{312BDDE4-0CBA-1748-A49D-A2A5F2CE8891}"/>
                </a:ext>
              </a:extLst>
            </p:cNvPr>
            <p:cNvSpPr/>
            <p:nvPr userDrawn="1"/>
          </p:nvSpPr>
          <p:spPr bwMode="auto">
            <a:xfrm>
              <a:off x="10805603" y="2477356"/>
              <a:ext cx="1394972" cy="4380644"/>
            </a:xfrm>
            <a:custGeom>
              <a:avLst/>
              <a:gdLst>
                <a:gd name="connsiteX0" fmla="*/ 1745961 w 1745961"/>
                <a:gd name="connsiteY0" fmla="*/ 0 h 5482857"/>
                <a:gd name="connsiteX1" fmla="*/ 1745961 w 1745961"/>
                <a:gd name="connsiteY1" fmla="*/ 5482857 h 5482857"/>
                <a:gd name="connsiteX2" fmla="*/ 0 w 1745961"/>
                <a:gd name="connsiteY2" fmla="*/ 5482857 h 5482857"/>
              </a:gdLst>
              <a:ahLst/>
              <a:cxnLst>
                <a:cxn ang="0">
                  <a:pos x="connsiteX0" y="connsiteY0"/>
                </a:cxn>
                <a:cxn ang="0">
                  <a:pos x="connsiteX1" y="connsiteY1"/>
                </a:cxn>
                <a:cxn ang="0">
                  <a:pos x="connsiteX2" y="connsiteY2"/>
                </a:cxn>
              </a:cxnLst>
              <a:rect l="l" t="t" r="r" b="b"/>
              <a:pathLst>
                <a:path w="1745961" h="5482857">
                  <a:moveTo>
                    <a:pt x="1745961" y="0"/>
                  </a:moveTo>
                  <a:lnTo>
                    <a:pt x="1745961" y="5482857"/>
                  </a:lnTo>
                  <a:lnTo>
                    <a:pt x="0" y="5482857"/>
                  </a:lnTo>
                  <a:close/>
                </a:path>
              </a:pathLst>
            </a:cu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lang="en-US" sz="1800" dirty="0">
                <a:latin typeface="Arial" pitchFamily="124" charset="0"/>
              </a:endParaRPr>
            </a:p>
          </p:txBody>
        </p:sp>
      </p:grpSp>
      <p:grpSp>
        <p:nvGrpSpPr>
          <p:cNvPr id="27" name="Group 26">
            <a:extLst>
              <a:ext uri="{FF2B5EF4-FFF2-40B4-BE49-F238E27FC236}">
                <a16:creationId xmlns:a16="http://schemas.microsoft.com/office/drawing/2014/main" id="{50A6D8E5-0F1B-4F46-A75F-B4236465A272}"/>
              </a:ext>
            </a:extLst>
          </p:cNvPr>
          <p:cNvGrpSpPr/>
          <p:nvPr userDrawn="1"/>
        </p:nvGrpSpPr>
        <p:grpSpPr>
          <a:xfrm>
            <a:off x="9662260" y="818784"/>
            <a:ext cx="2529740" cy="6039216"/>
            <a:chOff x="9662260" y="818784"/>
            <a:chExt cx="2529740" cy="6039216"/>
          </a:xfrm>
        </p:grpSpPr>
        <p:pic>
          <p:nvPicPr>
            <p:cNvPr id="28" name="Picture 27">
              <a:extLst>
                <a:ext uri="{FF2B5EF4-FFF2-40B4-BE49-F238E27FC236}">
                  <a16:creationId xmlns:a16="http://schemas.microsoft.com/office/drawing/2014/main" id="{F29E788A-C660-B84C-99A5-D234AA41381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662260" y="1471202"/>
              <a:ext cx="2529740" cy="5386798"/>
            </a:xfrm>
            <a:prstGeom prst="rect">
              <a:avLst/>
            </a:prstGeom>
          </p:spPr>
        </p:pic>
        <p:pic>
          <p:nvPicPr>
            <p:cNvPr id="29" name="Picture 28">
              <a:extLst>
                <a:ext uri="{FF2B5EF4-FFF2-40B4-BE49-F238E27FC236}">
                  <a16:creationId xmlns:a16="http://schemas.microsoft.com/office/drawing/2014/main" id="{DFD590AF-386B-9048-ABEA-59B6BE9DA72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0539851" y="4300794"/>
              <a:ext cx="1652148" cy="2095226"/>
            </a:xfrm>
            <a:prstGeom prst="rect">
              <a:avLst/>
            </a:prstGeom>
          </p:spPr>
        </p:pic>
        <p:pic>
          <p:nvPicPr>
            <p:cNvPr id="30" name="Picture 29">
              <a:extLst>
                <a:ext uri="{FF2B5EF4-FFF2-40B4-BE49-F238E27FC236}">
                  <a16:creationId xmlns:a16="http://schemas.microsoft.com/office/drawing/2014/main" id="{E2756107-63E2-5F45-8CC3-D5261B2411F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rot="20585276">
              <a:off x="10888776" y="3404437"/>
              <a:ext cx="841085" cy="888470"/>
            </a:xfrm>
            <a:prstGeom prst="rect">
              <a:avLst/>
            </a:prstGeom>
          </p:spPr>
        </p:pic>
        <p:pic>
          <p:nvPicPr>
            <p:cNvPr id="31" name="Picture 30">
              <a:extLst>
                <a:ext uri="{FF2B5EF4-FFF2-40B4-BE49-F238E27FC236}">
                  <a16:creationId xmlns:a16="http://schemas.microsoft.com/office/drawing/2014/main" id="{0BBAF86D-A33D-1F45-96FF-45390C30D2F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839843" y="4683251"/>
              <a:ext cx="608076" cy="626643"/>
            </a:xfrm>
            <a:prstGeom prst="rect">
              <a:avLst/>
            </a:prstGeom>
          </p:spPr>
        </p:pic>
        <p:pic>
          <p:nvPicPr>
            <p:cNvPr id="32" name="Picture 31">
              <a:extLst>
                <a:ext uri="{FF2B5EF4-FFF2-40B4-BE49-F238E27FC236}">
                  <a16:creationId xmlns:a16="http://schemas.microsoft.com/office/drawing/2014/main" id="{48104F42-09E4-4B40-858C-D0F13E205AD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rot="19848158">
              <a:off x="10621861" y="5789703"/>
              <a:ext cx="593846" cy="634660"/>
            </a:xfrm>
            <a:prstGeom prst="rect">
              <a:avLst/>
            </a:prstGeom>
          </p:spPr>
        </p:pic>
        <p:pic>
          <p:nvPicPr>
            <p:cNvPr id="33" name="Picture 32">
              <a:extLst>
                <a:ext uri="{FF2B5EF4-FFF2-40B4-BE49-F238E27FC236}">
                  <a16:creationId xmlns:a16="http://schemas.microsoft.com/office/drawing/2014/main" id="{02EBF489-D968-EB46-B15F-78B5BB5FD92E}"/>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38854"/>
            <a:stretch/>
          </p:blipFill>
          <p:spPr>
            <a:xfrm>
              <a:off x="10588564" y="818784"/>
              <a:ext cx="1603435" cy="1703758"/>
            </a:xfrm>
            <a:prstGeom prst="rect">
              <a:avLst/>
            </a:prstGeom>
          </p:spPr>
        </p:pic>
      </p:grpSp>
      <p:grpSp>
        <p:nvGrpSpPr>
          <p:cNvPr id="21" name="Group 20">
            <a:extLst>
              <a:ext uri="{FF2B5EF4-FFF2-40B4-BE49-F238E27FC236}">
                <a16:creationId xmlns:a16="http://schemas.microsoft.com/office/drawing/2014/main" id="{529B2BDF-CCF7-1348-A3D5-D71BE6DC81B3}"/>
              </a:ext>
            </a:extLst>
          </p:cNvPr>
          <p:cNvGrpSpPr/>
          <p:nvPr userDrawn="1"/>
        </p:nvGrpSpPr>
        <p:grpSpPr>
          <a:xfrm>
            <a:off x="304800" y="0"/>
            <a:ext cx="2427681" cy="1044934"/>
            <a:chOff x="0" y="0"/>
            <a:chExt cx="2447693" cy="1053548"/>
          </a:xfrm>
        </p:grpSpPr>
        <p:sp>
          <p:nvSpPr>
            <p:cNvPr id="22" name="Parallelogram 21">
              <a:extLst>
                <a:ext uri="{FF2B5EF4-FFF2-40B4-BE49-F238E27FC236}">
                  <a16:creationId xmlns:a16="http://schemas.microsoft.com/office/drawing/2014/main" id="{5AC29362-88F4-1D4E-981B-656DAC0CCDA0}"/>
                </a:ext>
              </a:extLst>
            </p:cNvPr>
            <p:cNvSpPr/>
            <p:nvPr userDrawn="1"/>
          </p:nvSpPr>
          <p:spPr bwMode="auto">
            <a:xfrm>
              <a:off x="0" y="0"/>
              <a:ext cx="2447693" cy="1053548"/>
            </a:xfrm>
            <a:prstGeom prst="parallelogram">
              <a:avLst>
                <a:gd name="adj" fmla="val 0"/>
              </a:avLst>
            </a:prstGeom>
            <a:solidFill>
              <a:srgbClr val="E7131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800" dirty="0">
                  <a:latin typeface="Arial" pitchFamily="124" charset="0"/>
                </a:rPr>
                <a:t> </a:t>
              </a:r>
            </a:p>
          </p:txBody>
        </p:sp>
        <p:pic>
          <p:nvPicPr>
            <p:cNvPr id="23" name="Picture 22">
              <a:extLst>
                <a:ext uri="{FF2B5EF4-FFF2-40B4-BE49-F238E27FC236}">
                  <a16:creationId xmlns:a16="http://schemas.microsoft.com/office/drawing/2014/main" id="{3FDEE4BE-E092-CA4F-AF35-8DF125AB2591}"/>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135820" y="154984"/>
              <a:ext cx="2178058" cy="756021"/>
            </a:xfrm>
            <a:prstGeom prst="rect">
              <a:avLst/>
            </a:prstGeom>
          </p:spPr>
        </p:pic>
      </p:grpSp>
      <p:grpSp>
        <p:nvGrpSpPr>
          <p:cNvPr id="34" name="Group 33">
            <a:extLst>
              <a:ext uri="{FF2B5EF4-FFF2-40B4-BE49-F238E27FC236}">
                <a16:creationId xmlns:a16="http://schemas.microsoft.com/office/drawing/2014/main" id="{229B0B5C-E093-DA4B-806C-77D92FB04B00}"/>
              </a:ext>
            </a:extLst>
          </p:cNvPr>
          <p:cNvGrpSpPr/>
          <p:nvPr userDrawn="1"/>
        </p:nvGrpSpPr>
        <p:grpSpPr>
          <a:xfrm>
            <a:off x="283193" y="5970590"/>
            <a:ext cx="5053203" cy="441233"/>
            <a:chOff x="5155556" y="6168462"/>
            <a:chExt cx="5053203" cy="441233"/>
          </a:xfrm>
        </p:grpSpPr>
        <p:sp>
          <p:nvSpPr>
            <p:cNvPr id="35" name="TextBox 34">
              <a:extLst>
                <a:ext uri="{FF2B5EF4-FFF2-40B4-BE49-F238E27FC236}">
                  <a16:creationId xmlns:a16="http://schemas.microsoft.com/office/drawing/2014/main" id="{8E3D34E8-07DE-DB49-893D-0283BBF248E0}"/>
                </a:ext>
              </a:extLst>
            </p:cNvPr>
            <p:cNvSpPr txBox="1"/>
            <p:nvPr userDrawn="1"/>
          </p:nvSpPr>
          <p:spPr>
            <a:xfrm>
              <a:off x="5656050" y="6168462"/>
              <a:ext cx="4552709" cy="441233"/>
            </a:xfrm>
            <a:prstGeom prst="rect">
              <a:avLst/>
            </a:prstGeom>
            <a:noFill/>
          </p:spPr>
          <p:txBody>
            <a:bodyPr vert="horz" wrap="square" lIns="0" tIns="0" rIns="0" bIns="0" rtlCol="0" anchor="ctr" anchorCtr="0">
              <a:noAutofit/>
            </a:bodyPr>
            <a:lstStyle/>
            <a:p>
              <a:pPr algn="l"/>
              <a:r>
                <a:rPr lang="en-US" sz="2000" dirty="0">
                  <a:solidFill>
                    <a:schemeClr val="tx1"/>
                  </a:solidFill>
                  <a:latin typeface="Arial"/>
                </a:rPr>
                <a:t>The world leader in serving science</a:t>
              </a:r>
            </a:p>
          </p:txBody>
        </p:sp>
        <p:sp>
          <p:nvSpPr>
            <p:cNvPr id="36" name="Parallelogram 35">
              <a:extLst>
                <a:ext uri="{FF2B5EF4-FFF2-40B4-BE49-F238E27FC236}">
                  <a16:creationId xmlns:a16="http://schemas.microsoft.com/office/drawing/2014/main" id="{BC757F20-58AC-5B4E-ACFF-20D22B6D507B}"/>
                </a:ext>
              </a:extLst>
            </p:cNvPr>
            <p:cNvSpPr/>
            <p:nvPr userDrawn="1"/>
          </p:nvSpPr>
          <p:spPr bwMode="auto">
            <a:xfrm>
              <a:off x="5155556" y="6302295"/>
              <a:ext cx="310510" cy="188737"/>
            </a:xfrm>
            <a:prstGeom prst="parallelogram">
              <a:avLst>
                <a:gd name="adj" fmla="val 31844"/>
              </a:avLst>
            </a:prstGeom>
            <a:solidFill>
              <a:srgbClr val="E7131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800" dirty="0">
                  <a:latin typeface="Arial" pitchFamily="124" charset="0"/>
                </a:rPr>
                <a:t> </a:t>
              </a:r>
            </a:p>
          </p:txBody>
        </p:sp>
      </p:grpSp>
      <p:sp>
        <p:nvSpPr>
          <p:cNvPr id="45" name="Footer Placeholder 1">
            <a:extLst>
              <a:ext uri="{FF2B5EF4-FFF2-40B4-BE49-F238E27FC236}">
                <a16:creationId xmlns:a16="http://schemas.microsoft.com/office/drawing/2014/main" id="{F96EC45B-102C-174F-9F23-FF784CDB7AB8}"/>
              </a:ext>
            </a:extLst>
          </p:cNvPr>
          <p:cNvSpPr>
            <a:spLocks noGrp="1"/>
          </p:cNvSpPr>
          <p:nvPr>
            <p:ph type="ftr" sz="quarter" idx="15"/>
          </p:nvPr>
        </p:nvSpPr>
        <p:spPr>
          <a:xfrm>
            <a:off x="304800" y="6553200"/>
            <a:ext cx="7619998" cy="304799"/>
          </a:xfrm>
        </p:spPr>
        <p:txBody>
          <a:bodyPr/>
          <a:lstStyle/>
          <a:p>
            <a:endParaRPr lang="en-US" dirty="0"/>
          </a:p>
        </p:txBody>
      </p:sp>
      <p:sp>
        <p:nvSpPr>
          <p:cNvPr id="46" name="Slide Number Placeholder 2">
            <a:extLst>
              <a:ext uri="{FF2B5EF4-FFF2-40B4-BE49-F238E27FC236}">
                <a16:creationId xmlns:a16="http://schemas.microsoft.com/office/drawing/2014/main" id="{8D006509-7DB4-6541-835F-3B6972AE0860}"/>
              </a:ext>
            </a:extLst>
          </p:cNvPr>
          <p:cNvSpPr>
            <a:spLocks noGrp="1"/>
          </p:cNvSpPr>
          <p:nvPr>
            <p:ph type="sldNum" sz="quarter" idx="12"/>
          </p:nvPr>
        </p:nvSpPr>
        <p:spPr>
          <a:xfrm>
            <a:off x="1" y="6553200"/>
            <a:ext cx="304799" cy="304799"/>
          </a:xfrm>
        </p:spPr>
        <p:txBody>
          <a:bodyPr/>
          <a:lstStyle/>
          <a:p>
            <a:fld id="{89006F1E-66CD-4A4B-9370-B4A3080F0E6C}" type="slidenum">
              <a:rPr lang="en-US" smtClean="0"/>
              <a:pPr/>
              <a:t>‹#›</a:t>
            </a:fld>
            <a:endParaRPr lang="en-US" dirty="0"/>
          </a:p>
        </p:txBody>
      </p:sp>
      <p:sp>
        <p:nvSpPr>
          <p:cNvPr id="37" name="Text Placeholder 15">
            <a:extLst>
              <a:ext uri="{FF2B5EF4-FFF2-40B4-BE49-F238E27FC236}">
                <a16:creationId xmlns:a16="http://schemas.microsoft.com/office/drawing/2014/main" id="{108EBC16-514C-7740-843A-F5174EAA96DC}"/>
              </a:ext>
            </a:extLst>
          </p:cNvPr>
          <p:cNvSpPr>
            <a:spLocks noGrp="1"/>
          </p:cNvSpPr>
          <p:nvPr>
            <p:ph type="body" sz="quarter" idx="10" hasCustomPrompt="1"/>
          </p:nvPr>
        </p:nvSpPr>
        <p:spPr>
          <a:xfrm>
            <a:off x="304800" y="3903896"/>
            <a:ext cx="7619999" cy="308120"/>
          </a:xfrm>
          <a:prstGeom prst="rect">
            <a:avLst/>
          </a:prstGeom>
        </p:spPr>
        <p:txBody>
          <a:bodyPr lIns="0" tIns="0" rIns="0" bIns="0" anchor="b"/>
          <a:lstStyle>
            <a:lvl1pPr>
              <a:spcBef>
                <a:spcPts val="0"/>
              </a:spcBef>
              <a:spcAft>
                <a:spcPts val="0"/>
              </a:spcAft>
              <a:buFontTx/>
              <a:buNone/>
              <a:defRPr sz="1600" b="0" baseline="0">
                <a:solidFill>
                  <a:schemeClr val="tx2"/>
                </a:solidFill>
              </a:defRPr>
            </a:lvl1pPr>
            <a:lvl2pPr marL="114300" indent="4763">
              <a:spcAft>
                <a:spcPts val="0"/>
              </a:spcAft>
              <a:buFontTx/>
              <a:buNone/>
              <a:defRPr sz="1400" i="1" baseline="0">
                <a:solidFill>
                  <a:schemeClr val="tx1"/>
                </a:solidFill>
              </a:defRPr>
            </a:lvl2pPr>
          </a:lstStyle>
          <a:p>
            <a:pPr lvl="0"/>
            <a:r>
              <a:rPr lang="en-US" dirty="0"/>
              <a:t>Presenter name [16pt Arial] </a:t>
            </a:r>
          </a:p>
        </p:txBody>
      </p:sp>
      <p:sp>
        <p:nvSpPr>
          <p:cNvPr id="38" name="Title 16">
            <a:extLst>
              <a:ext uri="{FF2B5EF4-FFF2-40B4-BE49-F238E27FC236}">
                <a16:creationId xmlns:a16="http://schemas.microsoft.com/office/drawing/2014/main" id="{124A4A7F-4904-4645-AEF7-28AEBD45D1C3}"/>
              </a:ext>
            </a:extLst>
          </p:cNvPr>
          <p:cNvSpPr>
            <a:spLocks noGrp="1"/>
          </p:cNvSpPr>
          <p:nvPr>
            <p:ph type="title" hasCustomPrompt="1"/>
          </p:nvPr>
        </p:nvSpPr>
        <p:spPr>
          <a:xfrm>
            <a:off x="304801" y="1726100"/>
            <a:ext cx="7619999" cy="2071868"/>
          </a:xfrm>
          <a:prstGeom prst="rect">
            <a:avLst/>
          </a:prstGeom>
          <a:noFill/>
        </p:spPr>
        <p:txBody>
          <a:bodyPr wrap="square" lIns="0" tIns="0" rIns="0" bIns="0" anchor="b">
            <a:noAutofit/>
          </a:bodyPr>
          <a:lstStyle>
            <a:lvl1pPr>
              <a:lnSpc>
                <a:spcPct val="110000"/>
              </a:lnSpc>
              <a:defRPr sz="2800" b="1">
                <a:solidFill>
                  <a:schemeClr val="tx1"/>
                </a:solidFill>
              </a:defRPr>
            </a:lvl1pPr>
          </a:lstStyle>
          <a:p>
            <a:r>
              <a:rPr lang="en-US" dirty="0"/>
              <a:t>Title [28pt Arial Bold] </a:t>
            </a:r>
          </a:p>
        </p:txBody>
      </p:sp>
      <p:sp>
        <p:nvSpPr>
          <p:cNvPr id="39" name="Text Placeholder 15">
            <a:extLst>
              <a:ext uri="{FF2B5EF4-FFF2-40B4-BE49-F238E27FC236}">
                <a16:creationId xmlns:a16="http://schemas.microsoft.com/office/drawing/2014/main" id="{0DF0839E-0C0A-8E4B-9B47-CC686D239594}"/>
              </a:ext>
            </a:extLst>
          </p:cNvPr>
          <p:cNvSpPr>
            <a:spLocks noGrp="1"/>
          </p:cNvSpPr>
          <p:nvPr>
            <p:ph type="body" sz="quarter" idx="14" hasCustomPrompt="1"/>
          </p:nvPr>
        </p:nvSpPr>
        <p:spPr>
          <a:xfrm>
            <a:off x="304800" y="4255834"/>
            <a:ext cx="7619999" cy="1097215"/>
          </a:xfrm>
          <a:prstGeom prst="rect">
            <a:avLst/>
          </a:prstGeom>
        </p:spPr>
        <p:txBody>
          <a:bodyPr lIns="0" tIns="0" rIns="0" bIns="0" anchor="t">
            <a:normAutofit/>
          </a:bodyPr>
          <a:lstStyle>
            <a:lvl1pPr marL="179388" marR="0" indent="-179388" algn="l" defTabSz="914400" rtl="0" eaLnBrk="1" fontAlgn="auto" latinLnBrk="0" hangingPunct="1">
              <a:lnSpc>
                <a:spcPct val="120000"/>
              </a:lnSpc>
              <a:spcBef>
                <a:spcPts val="0"/>
              </a:spcBef>
              <a:spcAft>
                <a:spcPts val="0"/>
              </a:spcAft>
              <a:buClr>
                <a:schemeClr val="accent4"/>
              </a:buClr>
              <a:buSzPct val="100000"/>
              <a:buFontTx/>
              <a:buNone/>
              <a:tabLst/>
              <a:defRPr sz="1400" b="0" baseline="0">
                <a:solidFill>
                  <a:schemeClr val="tx1"/>
                </a:solidFill>
              </a:defRPr>
            </a:lvl1pPr>
            <a:lvl2pPr marL="114300" indent="4763">
              <a:spcAft>
                <a:spcPts val="0"/>
              </a:spcAft>
              <a:buFontTx/>
              <a:buNone/>
              <a:defRPr sz="1400" i="1" baseline="0">
                <a:solidFill>
                  <a:schemeClr val="tx1"/>
                </a:solidFill>
              </a:defRPr>
            </a:lvl2pPr>
          </a:lstStyle>
          <a:p>
            <a:pPr marL="411480" marR="0" lvl="0" indent="-411480" algn="l" defTabSz="914400" rtl="0" eaLnBrk="1" fontAlgn="auto" latinLnBrk="0" hangingPunct="1">
              <a:lnSpc>
                <a:spcPct val="120000"/>
              </a:lnSpc>
              <a:spcBef>
                <a:spcPts val="0"/>
              </a:spcBef>
              <a:spcAft>
                <a:spcPts val="0"/>
              </a:spcAft>
              <a:buClr>
                <a:schemeClr val="accent4"/>
              </a:buClr>
              <a:buSzPct val="100000"/>
              <a:buFontTx/>
              <a:buNone/>
              <a:tabLst/>
              <a:defRPr/>
            </a:pPr>
            <a:r>
              <a:rPr lang="en-US" dirty="0"/>
              <a:t>Presenter Title [14pt Arial]</a:t>
            </a:r>
            <a:br>
              <a:rPr lang="en-US" dirty="0"/>
            </a:br>
            <a:r>
              <a:rPr lang="en-US" dirty="0"/>
              <a:t>Date [14pt Arial] </a:t>
            </a:r>
          </a:p>
        </p:txBody>
      </p:sp>
    </p:spTree>
    <p:extLst>
      <p:ext uri="{BB962C8B-B14F-4D97-AF65-F5344CB8AC3E}">
        <p14:creationId xmlns:p14="http://schemas.microsoft.com/office/powerpoint/2010/main" val="172193418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ustom title slide">
    <p:bg>
      <p:bgPr>
        <a:gradFill>
          <a:gsLst>
            <a:gs pos="0">
              <a:schemeClr val="bg1"/>
            </a:gs>
            <a:gs pos="45000">
              <a:schemeClr val="bg1"/>
            </a:gs>
            <a:gs pos="66000">
              <a:schemeClr val="bg2"/>
            </a:gs>
          </a:gsLst>
          <a:lin ang="1080000" scaled="0"/>
        </a:gra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2DF2EB01-DB3A-564C-8485-CADA3C9CF3AF}"/>
              </a:ext>
            </a:extLst>
          </p:cNvPr>
          <p:cNvSpPr>
            <a:spLocks noGrp="1"/>
          </p:cNvSpPr>
          <p:nvPr>
            <p:ph type="pic" sz="quarter" idx="11" hasCustomPrompt="1"/>
          </p:nvPr>
        </p:nvSpPr>
        <p:spPr>
          <a:xfrm>
            <a:off x="5560459" y="1"/>
            <a:ext cx="6631541" cy="6857999"/>
          </a:xfrm>
          <a:custGeom>
            <a:avLst/>
            <a:gdLst>
              <a:gd name="connsiteX0" fmla="*/ 2183862 w 6631541"/>
              <a:gd name="connsiteY0" fmla="*/ 0 h 6857999"/>
              <a:gd name="connsiteX1" fmla="*/ 6631541 w 6631541"/>
              <a:gd name="connsiteY1" fmla="*/ 0 h 6857999"/>
              <a:gd name="connsiteX2" fmla="*/ 6631541 w 6631541"/>
              <a:gd name="connsiteY2" fmla="*/ 6857999 h 6857999"/>
              <a:gd name="connsiteX3" fmla="*/ 0 w 66315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6631541" h="6857999">
                <a:moveTo>
                  <a:pt x="2183862" y="0"/>
                </a:moveTo>
                <a:lnTo>
                  <a:pt x="6631541" y="0"/>
                </a:lnTo>
                <a:lnTo>
                  <a:pt x="6631541" y="6857999"/>
                </a:lnTo>
                <a:lnTo>
                  <a:pt x="0" y="6857999"/>
                </a:lnTo>
                <a:close/>
              </a:path>
            </a:pathLst>
          </a:custGeom>
          <a:pattFill prst="pct5">
            <a:fgClr>
              <a:schemeClr val="bg1"/>
            </a:fgClr>
            <a:bgClr>
              <a:schemeClr val="bg2"/>
            </a:bgClr>
          </a:pattFill>
        </p:spPr>
        <p:txBody>
          <a:bodyPr vert="horz" wrap="square" lIns="0" tIns="0" rIns="0" bIns="0" rtlCol="0" anchor="ctr">
            <a:noAutofit/>
          </a:bodyPr>
          <a:lstStyle>
            <a:lvl1pPr marL="0" indent="0" algn="ctr">
              <a:buFontTx/>
              <a:buNone/>
              <a:defRPr lang="en-US" sz="1400" dirty="0"/>
            </a:lvl1pPr>
          </a:lstStyle>
          <a:p>
            <a:pPr marR="0" lvl="0" algn="ctr" fontAlgn="auto">
              <a:spcAft>
                <a:spcPts val="0"/>
              </a:spcAft>
              <a:buClrTx/>
              <a:buSzTx/>
              <a:buNone/>
              <a:tabLst/>
            </a:pPr>
            <a:r>
              <a:rPr lang="en-US" dirty="0"/>
              <a:t>Add photo</a:t>
            </a:r>
          </a:p>
        </p:txBody>
      </p:sp>
      <p:grpSp>
        <p:nvGrpSpPr>
          <p:cNvPr id="7" name="Group 6">
            <a:extLst>
              <a:ext uri="{FF2B5EF4-FFF2-40B4-BE49-F238E27FC236}">
                <a16:creationId xmlns:a16="http://schemas.microsoft.com/office/drawing/2014/main" id="{B1F511C6-A535-A245-B123-CC04435D2DAF}"/>
              </a:ext>
            </a:extLst>
          </p:cNvPr>
          <p:cNvGrpSpPr/>
          <p:nvPr userDrawn="1"/>
        </p:nvGrpSpPr>
        <p:grpSpPr>
          <a:xfrm>
            <a:off x="304799" y="0"/>
            <a:ext cx="2427681" cy="1044934"/>
            <a:chOff x="0" y="0"/>
            <a:chExt cx="2447693" cy="1053548"/>
          </a:xfrm>
        </p:grpSpPr>
        <p:sp>
          <p:nvSpPr>
            <p:cNvPr id="8" name="Parallelogram 7">
              <a:extLst>
                <a:ext uri="{FF2B5EF4-FFF2-40B4-BE49-F238E27FC236}">
                  <a16:creationId xmlns:a16="http://schemas.microsoft.com/office/drawing/2014/main" id="{6399281C-FD14-2942-9A9B-13B5E50B7517}"/>
                </a:ext>
              </a:extLst>
            </p:cNvPr>
            <p:cNvSpPr/>
            <p:nvPr userDrawn="1"/>
          </p:nvSpPr>
          <p:spPr bwMode="auto">
            <a:xfrm>
              <a:off x="0" y="0"/>
              <a:ext cx="2447693" cy="1053548"/>
            </a:xfrm>
            <a:prstGeom prst="parallelogram">
              <a:avLst>
                <a:gd name="adj" fmla="val 0"/>
              </a:avLst>
            </a:prstGeom>
            <a:solidFill>
              <a:srgbClr val="E7131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800" dirty="0">
                  <a:latin typeface="Arial" pitchFamily="124" charset="0"/>
                </a:rPr>
                <a:t> </a:t>
              </a:r>
            </a:p>
          </p:txBody>
        </p:sp>
        <p:pic>
          <p:nvPicPr>
            <p:cNvPr id="9" name="Picture 8">
              <a:extLst>
                <a:ext uri="{FF2B5EF4-FFF2-40B4-BE49-F238E27FC236}">
                  <a16:creationId xmlns:a16="http://schemas.microsoft.com/office/drawing/2014/main" id="{7D60AD95-BD80-6049-9976-D024EC4ECDE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5820" y="154984"/>
              <a:ext cx="2178058" cy="756021"/>
            </a:xfrm>
            <a:prstGeom prst="rect">
              <a:avLst/>
            </a:prstGeom>
          </p:spPr>
        </p:pic>
      </p:grpSp>
      <p:grpSp>
        <p:nvGrpSpPr>
          <p:cNvPr id="11" name="Group 10">
            <a:extLst>
              <a:ext uri="{FF2B5EF4-FFF2-40B4-BE49-F238E27FC236}">
                <a16:creationId xmlns:a16="http://schemas.microsoft.com/office/drawing/2014/main" id="{BD8A84AE-AF33-DF45-94CF-C3F25C5B3C5F}"/>
              </a:ext>
            </a:extLst>
          </p:cNvPr>
          <p:cNvGrpSpPr/>
          <p:nvPr userDrawn="1"/>
        </p:nvGrpSpPr>
        <p:grpSpPr>
          <a:xfrm>
            <a:off x="283193" y="5970590"/>
            <a:ext cx="5053203" cy="441233"/>
            <a:chOff x="5155556" y="6168462"/>
            <a:chExt cx="5053203" cy="441233"/>
          </a:xfrm>
        </p:grpSpPr>
        <p:sp>
          <p:nvSpPr>
            <p:cNvPr id="12" name="TextBox 11">
              <a:extLst>
                <a:ext uri="{FF2B5EF4-FFF2-40B4-BE49-F238E27FC236}">
                  <a16:creationId xmlns:a16="http://schemas.microsoft.com/office/drawing/2014/main" id="{5DF5D896-302C-C647-8B84-3EA145C1337B}"/>
                </a:ext>
              </a:extLst>
            </p:cNvPr>
            <p:cNvSpPr txBox="1"/>
            <p:nvPr userDrawn="1"/>
          </p:nvSpPr>
          <p:spPr>
            <a:xfrm>
              <a:off x="5656050" y="6168462"/>
              <a:ext cx="4552709" cy="441233"/>
            </a:xfrm>
            <a:prstGeom prst="rect">
              <a:avLst/>
            </a:prstGeom>
            <a:noFill/>
          </p:spPr>
          <p:txBody>
            <a:bodyPr vert="horz" wrap="square" lIns="0" tIns="0" rIns="0" bIns="0" rtlCol="0" anchor="ctr" anchorCtr="0">
              <a:noAutofit/>
            </a:bodyPr>
            <a:lstStyle/>
            <a:p>
              <a:pPr algn="l"/>
              <a:r>
                <a:rPr lang="en-US" sz="2000" dirty="0">
                  <a:solidFill>
                    <a:schemeClr val="tx1"/>
                  </a:solidFill>
                  <a:latin typeface="Arial"/>
                </a:rPr>
                <a:t>The world leader in serving science</a:t>
              </a:r>
            </a:p>
          </p:txBody>
        </p:sp>
        <p:sp>
          <p:nvSpPr>
            <p:cNvPr id="13" name="Parallelogram 12">
              <a:extLst>
                <a:ext uri="{FF2B5EF4-FFF2-40B4-BE49-F238E27FC236}">
                  <a16:creationId xmlns:a16="http://schemas.microsoft.com/office/drawing/2014/main" id="{9BC00B89-C038-314A-AC65-15CF9FEFA67A}"/>
                </a:ext>
              </a:extLst>
            </p:cNvPr>
            <p:cNvSpPr/>
            <p:nvPr userDrawn="1"/>
          </p:nvSpPr>
          <p:spPr bwMode="auto">
            <a:xfrm>
              <a:off x="5155556" y="6302295"/>
              <a:ext cx="310510" cy="188737"/>
            </a:xfrm>
            <a:prstGeom prst="parallelogram">
              <a:avLst>
                <a:gd name="adj" fmla="val 31844"/>
              </a:avLst>
            </a:prstGeom>
            <a:solidFill>
              <a:srgbClr val="E7131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800" dirty="0">
                  <a:latin typeface="Arial" pitchFamily="124" charset="0"/>
                </a:rPr>
                <a:t> </a:t>
              </a:r>
            </a:p>
          </p:txBody>
        </p:sp>
      </p:grpSp>
      <p:sp>
        <p:nvSpPr>
          <p:cNvPr id="17" name="Text Placeholder 15">
            <a:extLst>
              <a:ext uri="{FF2B5EF4-FFF2-40B4-BE49-F238E27FC236}">
                <a16:creationId xmlns:a16="http://schemas.microsoft.com/office/drawing/2014/main" id="{066B560F-B405-E64F-9BDF-0CBAACB3D079}"/>
              </a:ext>
            </a:extLst>
          </p:cNvPr>
          <p:cNvSpPr>
            <a:spLocks noGrp="1"/>
          </p:cNvSpPr>
          <p:nvPr>
            <p:ph type="body" sz="quarter" idx="10" hasCustomPrompt="1"/>
          </p:nvPr>
        </p:nvSpPr>
        <p:spPr>
          <a:xfrm>
            <a:off x="304800" y="3903896"/>
            <a:ext cx="5791199" cy="308120"/>
          </a:xfrm>
          <a:prstGeom prst="rect">
            <a:avLst/>
          </a:prstGeom>
        </p:spPr>
        <p:txBody>
          <a:bodyPr lIns="0" tIns="0" rIns="0" bIns="0" anchor="b"/>
          <a:lstStyle>
            <a:lvl1pPr>
              <a:spcBef>
                <a:spcPts val="0"/>
              </a:spcBef>
              <a:spcAft>
                <a:spcPts val="0"/>
              </a:spcAft>
              <a:buFontTx/>
              <a:buNone/>
              <a:defRPr sz="1600" b="0" baseline="0">
                <a:solidFill>
                  <a:schemeClr val="tx2"/>
                </a:solidFill>
              </a:defRPr>
            </a:lvl1pPr>
            <a:lvl2pPr marL="114300" indent="4763">
              <a:spcAft>
                <a:spcPts val="0"/>
              </a:spcAft>
              <a:buFontTx/>
              <a:buNone/>
              <a:defRPr sz="1400" i="1" baseline="0">
                <a:solidFill>
                  <a:schemeClr val="tx1"/>
                </a:solidFill>
              </a:defRPr>
            </a:lvl2pPr>
          </a:lstStyle>
          <a:p>
            <a:pPr lvl="0"/>
            <a:r>
              <a:rPr lang="en-US" dirty="0"/>
              <a:t>Presenter name [16pt Arial] </a:t>
            </a:r>
          </a:p>
        </p:txBody>
      </p:sp>
      <p:sp>
        <p:nvSpPr>
          <p:cNvPr id="21" name="Footer Placeholder 1">
            <a:extLst>
              <a:ext uri="{FF2B5EF4-FFF2-40B4-BE49-F238E27FC236}">
                <a16:creationId xmlns:a16="http://schemas.microsoft.com/office/drawing/2014/main" id="{0417725A-1D63-8B41-B75E-4A7C276235C4}"/>
              </a:ext>
            </a:extLst>
          </p:cNvPr>
          <p:cNvSpPr>
            <a:spLocks noGrp="1"/>
          </p:cNvSpPr>
          <p:nvPr>
            <p:ph type="ftr" sz="quarter" idx="15"/>
          </p:nvPr>
        </p:nvSpPr>
        <p:spPr>
          <a:xfrm>
            <a:off x="304800" y="6553200"/>
            <a:ext cx="7620000" cy="304799"/>
          </a:xfrm>
        </p:spPr>
        <p:txBody>
          <a:bodyPr/>
          <a:lstStyle/>
          <a:p>
            <a:endParaRPr lang="en-US" dirty="0"/>
          </a:p>
        </p:txBody>
      </p:sp>
      <p:sp>
        <p:nvSpPr>
          <p:cNvPr id="22" name="Slide Number Placeholder 2">
            <a:extLst>
              <a:ext uri="{FF2B5EF4-FFF2-40B4-BE49-F238E27FC236}">
                <a16:creationId xmlns:a16="http://schemas.microsoft.com/office/drawing/2014/main" id="{2EFD93CC-9AAB-B446-8966-4FFCA1CA2633}"/>
              </a:ext>
            </a:extLst>
          </p:cNvPr>
          <p:cNvSpPr>
            <a:spLocks noGrp="1"/>
          </p:cNvSpPr>
          <p:nvPr>
            <p:ph type="sldNum" sz="quarter" idx="12"/>
          </p:nvPr>
        </p:nvSpPr>
        <p:spPr>
          <a:xfrm>
            <a:off x="1" y="6553200"/>
            <a:ext cx="304799" cy="304799"/>
          </a:xfrm>
        </p:spPr>
        <p:txBody>
          <a:bodyPr/>
          <a:lstStyle/>
          <a:p>
            <a:fld id="{89006F1E-66CD-4A4B-9370-B4A3080F0E6C}" type="slidenum">
              <a:rPr lang="en-US" smtClean="0"/>
              <a:pPr/>
              <a:t>‹#›</a:t>
            </a:fld>
            <a:endParaRPr lang="en-US" dirty="0"/>
          </a:p>
        </p:txBody>
      </p:sp>
      <p:sp>
        <p:nvSpPr>
          <p:cNvPr id="15" name="Text Placeholder 15">
            <a:extLst>
              <a:ext uri="{FF2B5EF4-FFF2-40B4-BE49-F238E27FC236}">
                <a16:creationId xmlns:a16="http://schemas.microsoft.com/office/drawing/2014/main" id="{DA6AB682-877D-F244-8431-46BA64252685}"/>
              </a:ext>
            </a:extLst>
          </p:cNvPr>
          <p:cNvSpPr>
            <a:spLocks noGrp="1"/>
          </p:cNvSpPr>
          <p:nvPr>
            <p:ph type="body" sz="quarter" idx="14" hasCustomPrompt="1"/>
          </p:nvPr>
        </p:nvSpPr>
        <p:spPr>
          <a:xfrm>
            <a:off x="304801" y="4255834"/>
            <a:ext cx="5791200" cy="1097215"/>
          </a:xfrm>
          <a:prstGeom prst="rect">
            <a:avLst/>
          </a:prstGeom>
        </p:spPr>
        <p:txBody>
          <a:bodyPr lIns="0" tIns="0" rIns="0" bIns="0" anchor="t">
            <a:normAutofit/>
          </a:bodyPr>
          <a:lstStyle>
            <a:lvl1pPr marL="179388" marR="0" indent="-179388" algn="l" defTabSz="914400" rtl="0" eaLnBrk="1" fontAlgn="auto" latinLnBrk="0" hangingPunct="1">
              <a:lnSpc>
                <a:spcPct val="120000"/>
              </a:lnSpc>
              <a:spcBef>
                <a:spcPts val="0"/>
              </a:spcBef>
              <a:spcAft>
                <a:spcPts val="0"/>
              </a:spcAft>
              <a:buClr>
                <a:schemeClr val="accent4"/>
              </a:buClr>
              <a:buSzPct val="100000"/>
              <a:buFontTx/>
              <a:buNone/>
              <a:tabLst/>
              <a:defRPr sz="1400" b="0" baseline="0">
                <a:solidFill>
                  <a:schemeClr val="tx1"/>
                </a:solidFill>
              </a:defRPr>
            </a:lvl1pPr>
            <a:lvl2pPr marL="114300" indent="4763">
              <a:spcAft>
                <a:spcPts val="0"/>
              </a:spcAft>
              <a:buFontTx/>
              <a:buNone/>
              <a:defRPr sz="1400" i="1" baseline="0">
                <a:solidFill>
                  <a:schemeClr val="tx1"/>
                </a:solidFill>
              </a:defRPr>
            </a:lvl2pPr>
          </a:lstStyle>
          <a:p>
            <a:pPr marL="411480" marR="0" lvl="0" indent="-411480" algn="l" defTabSz="914400" rtl="0" eaLnBrk="1" fontAlgn="auto" latinLnBrk="0" hangingPunct="1">
              <a:lnSpc>
                <a:spcPct val="120000"/>
              </a:lnSpc>
              <a:spcBef>
                <a:spcPts val="0"/>
              </a:spcBef>
              <a:spcAft>
                <a:spcPts val="0"/>
              </a:spcAft>
              <a:buClr>
                <a:schemeClr val="accent4"/>
              </a:buClr>
              <a:buSzPct val="100000"/>
              <a:buFontTx/>
              <a:buNone/>
              <a:tabLst/>
              <a:defRPr/>
            </a:pPr>
            <a:r>
              <a:rPr lang="en-US" dirty="0"/>
              <a:t>Presenter Title [14pt Arial]</a:t>
            </a:r>
            <a:br>
              <a:rPr lang="en-US" dirty="0"/>
            </a:br>
            <a:r>
              <a:rPr lang="en-US" dirty="0"/>
              <a:t>Date [14pt Arial] </a:t>
            </a:r>
          </a:p>
        </p:txBody>
      </p:sp>
      <p:sp>
        <p:nvSpPr>
          <p:cNvPr id="16" name="Title 16">
            <a:extLst>
              <a:ext uri="{FF2B5EF4-FFF2-40B4-BE49-F238E27FC236}">
                <a16:creationId xmlns:a16="http://schemas.microsoft.com/office/drawing/2014/main" id="{086BE638-5BB0-E849-ABA3-5E74A9A7DFDE}"/>
              </a:ext>
            </a:extLst>
          </p:cNvPr>
          <p:cNvSpPr>
            <a:spLocks noGrp="1"/>
          </p:cNvSpPr>
          <p:nvPr>
            <p:ph type="title" hasCustomPrompt="1"/>
          </p:nvPr>
        </p:nvSpPr>
        <p:spPr>
          <a:xfrm>
            <a:off x="304802" y="1726100"/>
            <a:ext cx="5791198" cy="2071868"/>
          </a:xfrm>
          <a:prstGeom prst="rect">
            <a:avLst/>
          </a:prstGeom>
          <a:noFill/>
        </p:spPr>
        <p:txBody>
          <a:bodyPr wrap="square" lIns="0" tIns="0" rIns="0" bIns="0" anchor="b">
            <a:noAutofit/>
          </a:bodyPr>
          <a:lstStyle>
            <a:lvl1pPr>
              <a:lnSpc>
                <a:spcPct val="110000"/>
              </a:lnSpc>
              <a:defRPr sz="2800" b="1">
                <a:solidFill>
                  <a:schemeClr val="tx1"/>
                </a:solidFill>
              </a:defRPr>
            </a:lvl1pPr>
          </a:lstStyle>
          <a:p>
            <a:r>
              <a:rPr lang="en-US" dirty="0"/>
              <a:t>Title [28pt Arial Bold] </a:t>
            </a:r>
          </a:p>
        </p:txBody>
      </p:sp>
    </p:spTree>
    <p:extLst>
      <p:ext uri="{BB962C8B-B14F-4D97-AF65-F5344CB8AC3E}">
        <p14:creationId xmlns:p14="http://schemas.microsoft.com/office/powerpoint/2010/main" val="327831241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with image">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6AE08B2E-D136-8942-AB0C-32CBAFB45A4D}"/>
              </a:ext>
            </a:extLst>
          </p:cNvPr>
          <p:cNvSpPr>
            <a:spLocks noGrp="1"/>
          </p:cNvSpPr>
          <p:nvPr>
            <p:ph type="pic" sz="quarter" idx="11" hasCustomPrompt="1"/>
          </p:nvPr>
        </p:nvSpPr>
        <p:spPr>
          <a:xfrm>
            <a:off x="5560459" y="-1"/>
            <a:ext cx="6631541" cy="6858000"/>
          </a:xfrm>
          <a:custGeom>
            <a:avLst/>
            <a:gdLst>
              <a:gd name="connsiteX0" fmla="*/ 4761301 w 6631541"/>
              <a:gd name="connsiteY0" fmla="*/ 1 h 6858000"/>
              <a:gd name="connsiteX1" fmla="*/ 4761301 w 6631541"/>
              <a:gd name="connsiteY1" fmla="*/ 673805 h 6858000"/>
              <a:gd name="connsiteX2" fmla="*/ 6326740 w 6631541"/>
              <a:gd name="connsiteY2" fmla="*/ 673805 h 6858000"/>
              <a:gd name="connsiteX3" fmla="*/ 6326740 w 6631541"/>
              <a:gd name="connsiteY3" fmla="*/ 1 h 6858000"/>
              <a:gd name="connsiteX4" fmla="*/ 2183862 w 6631541"/>
              <a:gd name="connsiteY4" fmla="*/ 0 h 6858000"/>
              <a:gd name="connsiteX5" fmla="*/ 6631541 w 6631541"/>
              <a:gd name="connsiteY5" fmla="*/ 0 h 6858000"/>
              <a:gd name="connsiteX6" fmla="*/ 6631541 w 6631541"/>
              <a:gd name="connsiteY6" fmla="*/ 6858000 h 6858000"/>
              <a:gd name="connsiteX7" fmla="*/ 0 w 6631541"/>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31541" h="6858000">
                <a:moveTo>
                  <a:pt x="4761301" y="1"/>
                </a:moveTo>
                <a:lnTo>
                  <a:pt x="4761301" y="673805"/>
                </a:lnTo>
                <a:lnTo>
                  <a:pt x="6326740" y="673805"/>
                </a:lnTo>
                <a:lnTo>
                  <a:pt x="6326740" y="1"/>
                </a:lnTo>
                <a:close/>
                <a:moveTo>
                  <a:pt x="2183862" y="0"/>
                </a:moveTo>
                <a:lnTo>
                  <a:pt x="6631541" y="0"/>
                </a:lnTo>
                <a:lnTo>
                  <a:pt x="6631541" y="6858000"/>
                </a:lnTo>
                <a:lnTo>
                  <a:pt x="0" y="6858000"/>
                </a:lnTo>
                <a:close/>
              </a:path>
            </a:pathLst>
          </a:custGeom>
          <a:pattFill prst="pct5">
            <a:fgClr>
              <a:schemeClr val="bg1"/>
            </a:fgClr>
            <a:bgClr>
              <a:schemeClr val="bg2"/>
            </a:bgClr>
          </a:pattFill>
        </p:spPr>
        <p:txBody>
          <a:bodyPr vert="horz" wrap="square" lIns="0" tIns="0" rIns="0" bIns="0" rtlCol="0" anchor="ctr">
            <a:noAutofit/>
          </a:bodyPr>
          <a:lstStyle>
            <a:lvl1pPr marL="0" indent="0" algn="ctr">
              <a:buFontTx/>
              <a:buNone/>
              <a:defRPr lang="en-US" sz="1400" dirty="0"/>
            </a:lvl1pPr>
          </a:lstStyle>
          <a:p>
            <a:pPr marR="0" lvl="0" algn="ctr" fontAlgn="auto">
              <a:spcAft>
                <a:spcPts val="0"/>
              </a:spcAft>
              <a:buClrTx/>
              <a:buSzTx/>
              <a:buNone/>
              <a:tabLst/>
            </a:pPr>
            <a:r>
              <a:rPr lang="en-US" dirty="0"/>
              <a:t>Add photo</a:t>
            </a:r>
          </a:p>
        </p:txBody>
      </p:sp>
      <p:sp>
        <p:nvSpPr>
          <p:cNvPr id="12" name="Slide Number Placeholder 11">
            <a:extLst>
              <a:ext uri="{FF2B5EF4-FFF2-40B4-BE49-F238E27FC236}">
                <a16:creationId xmlns:a16="http://schemas.microsoft.com/office/drawing/2014/main" id="{47161BDA-83E9-E143-BE27-DC11E94DC4B5}"/>
              </a:ext>
            </a:extLst>
          </p:cNvPr>
          <p:cNvSpPr>
            <a:spLocks noGrp="1"/>
          </p:cNvSpPr>
          <p:nvPr>
            <p:ph type="sldNum" sz="quarter" idx="10"/>
          </p:nvPr>
        </p:nvSpPr>
        <p:spPr/>
        <p:txBody>
          <a:bodyPr lIns="0" tIns="0" rIns="0" bIns="0"/>
          <a:lstStyle/>
          <a:p>
            <a:fld id="{89006F1E-66CD-4A4B-9370-B4A3080F0E6C}" type="slidenum">
              <a:rPr lang="en-US" smtClean="0"/>
              <a:pPr/>
              <a:t>‹#›</a:t>
            </a:fld>
            <a:endParaRPr lang="en-US" dirty="0"/>
          </a:p>
        </p:txBody>
      </p:sp>
      <p:sp>
        <p:nvSpPr>
          <p:cNvPr id="17" name="Title 16">
            <a:extLst>
              <a:ext uri="{FF2B5EF4-FFF2-40B4-BE49-F238E27FC236}">
                <a16:creationId xmlns:a16="http://schemas.microsoft.com/office/drawing/2014/main" id="{FB477BD4-B3C4-0245-87E7-210A11A609FB}"/>
              </a:ext>
            </a:extLst>
          </p:cNvPr>
          <p:cNvSpPr>
            <a:spLocks noGrp="1"/>
          </p:cNvSpPr>
          <p:nvPr>
            <p:ph type="title"/>
          </p:nvPr>
        </p:nvSpPr>
        <p:spPr>
          <a:xfrm>
            <a:off x="304801" y="304799"/>
            <a:ext cx="7010399" cy="381001"/>
          </a:xfrm>
        </p:spPr>
        <p:txBody>
          <a:bodyPr/>
          <a:lstStyle>
            <a:lvl1pPr>
              <a:defRPr>
                <a:solidFill>
                  <a:schemeClr val="tx2"/>
                </a:solidFill>
              </a:defRPr>
            </a:lvl1pPr>
          </a:lstStyle>
          <a:p>
            <a:r>
              <a:rPr lang="en-US" dirty="0"/>
              <a:t>Click to edit Master title style</a:t>
            </a:r>
          </a:p>
        </p:txBody>
      </p:sp>
      <p:sp>
        <p:nvSpPr>
          <p:cNvPr id="2" name="Footer Placeholder 1">
            <a:extLst>
              <a:ext uri="{FF2B5EF4-FFF2-40B4-BE49-F238E27FC236}">
                <a16:creationId xmlns:a16="http://schemas.microsoft.com/office/drawing/2014/main" id="{A45E3DEE-D37C-1D48-B059-905D05A3A480}"/>
              </a:ext>
            </a:extLst>
          </p:cNvPr>
          <p:cNvSpPr>
            <a:spLocks noGrp="1"/>
          </p:cNvSpPr>
          <p:nvPr>
            <p:ph type="ftr" sz="quarter" idx="12"/>
          </p:nvPr>
        </p:nvSpPr>
        <p:spPr>
          <a:xfrm>
            <a:off x="304799" y="6553201"/>
            <a:ext cx="7620001" cy="304800"/>
          </a:xfrm>
          <a:prstGeom prst="rect">
            <a:avLst/>
          </a:prstGeom>
        </p:spPr>
        <p:txBody>
          <a:bodyPr/>
          <a:lstStyle>
            <a:lvl1pPr>
              <a:defRPr>
                <a:solidFill>
                  <a:schemeClr val="accent5"/>
                </a:solidFill>
              </a:defRPr>
            </a:lvl1pPr>
          </a:lstStyle>
          <a:p>
            <a:endParaRPr lang="en-US" dirty="0">
              <a:ea typeface="MS PGothic" panose="020B0600070205080204" pitchFamily="34" charset="-128"/>
            </a:endParaRPr>
          </a:p>
        </p:txBody>
      </p:sp>
      <p:sp>
        <p:nvSpPr>
          <p:cNvPr id="8" name="Content Placeholder 3">
            <a:extLst>
              <a:ext uri="{FF2B5EF4-FFF2-40B4-BE49-F238E27FC236}">
                <a16:creationId xmlns:a16="http://schemas.microsoft.com/office/drawing/2014/main" id="{E78B1B2E-3D55-0E40-BE78-DE19E0E78115}"/>
              </a:ext>
            </a:extLst>
          </p:cNvPr>
          <p:cNvSpPr>
            <a:spLocks noGrp="1"/>
          </p:cNvSpPr>
          <p:nvPr>
            <p:ph sz="quarter" idx="14"/>
          </p:nvPr>
        </p:nvSpPr>
        <p:spPr>
          <a:xfrm>
            <a:off x="304800" y="1447800"/>
            <a:ext cx="5791200" cy="4607954"/>
          </a:xfrm>
          <a:prstGeom prst="rect">
            <a:avLst/>
          </a:prstGeom>
        </p:spPr>
        <p:txBody>
          <a:bodyPr vert="horz" lIns="0" tIns="0" rIns="0" bIns="0" rtlCol="0" anchor="ctr" anchorCtr="0">
            <a:noAutofit/>
          </a:bodyPr>
          <a:lstStyle>
            <a:lvl1pPr marL="342900" indent="-342900">
              <a:buClr>
                <a:schemeClr val="tx2"/>
              </a:buClr>
              <a:buFont typeface="Arial" panose="020B0604020202020204" pitchFamily="34" charset="0"/>
              <a:buChar char="•"/>
              <a:defRPr lang="en-US" dirty="0" smtClean="0"/>
            </a:lvl1pPr>
            <a:lvl2pPr marL="520700" indent="-285750">
              <a:buFont typeface="Arial" panose="020B0604020202020204" pitchFamily="34" charset="0"/>
              <a:buChar char="•"/>
              <a:defRPr lang="en-US" dirty="0" smtClean="0"/>
            </a:lvl2pPr>
            <a:lvl3pPr marL="749300" indent="-285750">
              <a:buFont typeface="Arial" panose="020B0604020202020204" pitchFamily="34" charset="0"/>
              <a:buChar char="•"/>
              <a:defRPr lang="en-US" dirty="0" smtClean="0"/>
            </a:lvl3pPr>
            <a:lvl4pPr marL="862013" indent="-171450">
              <a:buFont typeface="Arial" panose="020B0604020202020204" pitchFamily="34" charset="0"/>
              <a:buChar char="•"/>
              <a:defRPr lang="en-US" dirty="0" smtClean="0"/>
            </a:lvl4pPr>
            <a:lvl5pPr marL="1093787" indent="-171450">
              <a:buFont typeface="Arial" panose="020B0604020202020204" pitchFamily="34" charset="0"/>
              <a:buChar cha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7">
            <a:extLst>
              <a:ext uri="{FF2B5EF4-FFF2-40B4-BE49-F238E27FC236}">
                <a16:creationId xmlns:a16="http://schemas.microsoft.com/office/drawing/2014/main" id="{913AD51C-A540-614E-BCCA-04DD383D383F}"/>
              </a:ext>
            </a:extLst>
          </p:cNvPr>
          <p:cNvSpPr>
            <a:spLocks noGrp="1"/>
          </p:cNvSpPr>
          <p:nvPr>
            <p:ph type="body" sz="quarter" idx="15" hasCustomPrompt="1"/>
          </p:nvPr>
        </p:nvSpPr>
        <p:spPr>
          <a:xfrm>
            <a:off x="304798" y="6055756"/>
            <a:ext cx="5255662" cy="489204"/>
          </a:xfrm>
          <a:prstGeom prst="rect">
            <a:avLst/>
          </a:prstGeom>
        </p:spPr>
        <p:txBody>
          <a:bodyPr anchor="b">
            <a:normAutofit/>
          </a:bodyPr>
          <a:lstStyle>
            <a:lvl1pPr marL="0" indent="0">
              <a:spcBef>
                <a:spcPts val="100"/>
              </a:spcBef>
              <a:buNone/>
              <a:defRPr sz="1000">
                <a:solidFill>
                  <a:schemeClr val="accent5"/>
                </a:solidFill>
              </a:defRPr>
            </a:lvl1pPr>
          </a:lstStyle>
          <a:p>
            <a:pPr lvl="0"/>
            <a:r>
              <a:rPr lang="en-US" dirty="0"/>
              <a:t>Source notes</a:t>
            </a:r>
          </a:p>
        </p:txBody>
      </p:sp>
      <p:sp>
        <p:nvSpPr>
          <p:cNvPr id="10" name="Text Placeholder 7">
            <a:extLst>
              <a:ext uri="{FF2B5EF4-FFF2-40B4-BE49-F238E27FC236}">
                <a16:creationId xmlns:a16="http://schemas.microsoft.com/office/drawing/2014/main" id="{C408A322-1049-7D40-BE0C-3E8E57A90330}"/>
              </a:ext>
            </a:extLst>
          </p:cNvPr>
          <p:cNvSpPr>
            <a:spLocks noGrp="1"/>
          </p:cNvSpPr>
          <p:nvPr>
            <p:ph type="body" sz="quarter" idx="16" hasCustomPrompt="1"/>
          </p:nvPr>
        </p:nvSpPr>
        <p:spPr>
          <a:xfrm>
            <a:off x="300226" y="893063"/>
            <a:ext cx="6884345" cy="381001"/>
          </a:xfrm>
          <a:prstGeom prst="rect">
            <a:avLst/>
          </a:prstGeom>
        </p:spPr>
        <p:txBody>
          <a:bodyPr lIns="0" tIns="0" rIns="0" bIns="0" anchor="t">
            <a:noAutofit/>
          </a:bodyPr>
          <a:lstStyle>
            <a:lvl1pPr marL="0" indent="0">
              <a:buNone/>
              <a:defRPr sz="2000">
                <a:solidFill>
                  <a:schemeClr val="tx1"/>
                </a:solidFill>
              </a:defRPr>
            </a:lvl1pPr>
          </a:lstStyle>
          <a:p>
            <a:pPr lvl="0"/>
            <a:r>
              <a:rPr lang="en-US" dirty="0"/>
              <a:t>Click to add </a:t>
            </a:r>
            <a:r>
              <a:rPr lang="en-US" dirty="0" err="1"/>
              <a:t>subheader</a:t>
            </a:r>
            <a:endParaRPr lang="en-US" dirty="0"/>
          </a:p>
        </p:txBody>
      </p:sp>
    </p:spTree>
    <p:extLst>
      <p:ext uri="{BB962C8B-B14F-4D97-AF65-F5344CB8AC3E}">
        <p14:creationId xmlns:p14="http://schemas.microsoft.com/office/powerpoint/2010/main" val="344273234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No Content)">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FCD351-FB49-4649-BD51-7F2228F8A180}"/>
              </a:ext>
            </a:extLst>
          </p:cNvPr>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6" name="Text Placeholder 7">
            <a:extLst>
              <a:ext uri="{FF2B5EF4-FFF2-40B4-BE49-F238E27FC236}">
                <a16:creationId xmlns:a16="http://schemas.microsoft.com/office/drawing/2014/main" id="{AC6D37E8-5E1B-4025-9CB6-9AADD0B2F568}"/>
              </a:ext>
            </a:extLst>
          </p:cNvPr>
          <p:cNvSpPr>
            <a:spLocks noGrp="1"/>
          </p:cNvSpPr>
          <p:nvPr>
            <p:ph type="body" sz="quarter" idx="11" hasCustomPrompt="1"/>
          </p:nvPr>
        </p:nvSpPr>
        <p:spPr>
          <a:xfrm>
            <a:off x="300226" y="893063"/>
            <a:ext cx="11591547" cy="381001"/>
          </a:xfrm>
          <a:prstGeom prst="rect">
            <a:avLst/>
          </a:prstGeom>
        </p:spPr>
        <p:txBody>
          <a:bodyPr lIns="0" tIns="0" rIns="0" bIns="0" anchor="t">
            <a:noAutofit/>
          </a:bodyPr>
          <a:lstStyle>
            <a:lvl1pPr marL="0" indent="0">
              <a:buNone/>
              <a:defRPr sz="2000">
                <a:solidFill>
                  <a:schemeClr val="tx1"/>
                </a:solidFill>
              </a:defRPr>
            </a:lvl1pPr>
          </a:lstStyle>
          <a:p>
            <a:pPr lvl="0"/>
            <a:r>
              <a:rPr lang="en-US" dirty="0"/>
              <a:t>Click to add </a:t>
            </a:r>
            <a:r>
              <a:rPr lang="en-US" dirty="0" err="1"/>
              <a:t>subheader</a:t>
            </a:r>
            <a:endParaRPr lang="en-US" dirty="0"/>
          </a:p>
        </p:txBody>
      </p:sp>
      <p:sp>
        <p:nvSpPr>
          <p:cNvPr id="7" name="Text Placeholder 7">
            <a:extLst>
              <a:ext uri="{FF2B5EF4-FFF2-40B4-BE49-F238E27FC236}">
                <a16:creationId xmlns:a16="http://schemas.microsoft.com/office/drawing/2014/main" id="{C1053C4D-3245-41E9-BC79-2133D6EFE62D}"/>
              </a:ext>
            </a:extLst>
          </p:cNvPr>
          <p:cNvSpPr>
            <a:spLocks noGrp="1"/>
          </p:cNvSpPr>
          <p:nvPr>
            <p:ph type="body" sz="quarter" idx="12" hasCustomPrompt="1"/>
          </p:nvPr>
        </p:nvSpPr>
        <p:spPr>
          <a:xfrm>
            <a:off x="304797" y="6055756"/>
            <a:ext cx="11582401" cy="489204"/>
          </a:xfrm>
          <a:prstGeom prst="rect">
            <a:avLst/>
          </a:prstGeom>
        </p:spPr>
        <p:txBody>
          <a:bodyPr anchor="b">
            <a:normAutofit/>
          </a:bodyPr>
          <a:lstStyle>
            <a:lvl1pPr marL="0" indent="0">
              <a:spcBef>
                <a:spcPts val="100"/>
              </a:spcBef>
              <a:buNone/>
              <a:defRPr sz="1000">
                <a:solidFill>
                  <a:schemeClr val="accent5"/>
                </a:solidFill>
              </a:defRPr>
            </a:lvl1pPr>
          </a:lstStyle>
          <a:p>
            <a:pPr lvl="0"/>
            <a:r>
              <a:rPr lang="en-US" dirty="0"/>
              <a:t>Source notes</a:t>
            </a:r>
          </a:p>
        </p:txBody>
      </p:sp>
      <p:sp>
        <p:nvSpPr>
          <p:cNvPr id="8" name="Slide Number Placeholder 11">
            <a:extLst>
              <a:ext uri="{FF2B5EF4-FFF2-40B4-BE49-F238E27FC236}">
                <a16:creationId xmlns:a16="http://schemas.microsoft.com/office/drawing/2014/main" id="{43FDEDB6-CE04-F84B-AAD3-991730DCA9C0}"/>
              </a:ext>
            </a:extLst>
          </p:cNvPr>
          <p:cNvSpPr>
            <a:spLocks noGrp="1"/>
          </p:cNvSpPr>
          <p:nvPr>
            <p:ph type="sldNum" sz="quarter" idx="10"/>
          </p:nvPr>
        </p:nvSpPr>
        <p:spPr>
          <a:xfrm>
            <a:off x="1" y="6553200"/>
            <a:ext cx="304799" cy="304799"/>
          </a:xfrm>
        </p:spPr>
        <p:txBody>
          <a:bodyPr lIns="0" tIns="0" rIns="0" bIns="0"/>
          <a:lstStyle/>
          <a:p>
            <a:fld id="{89006F1E-66CD-4A4B-9370-B4A3080F0E6C}" type="slidenum">
              <a:rPr lang="en-US" smtClean="0"/>
              <a:pPr/>
              <a:t>‹#›</a:t>
            </a:fld>
            <a:endParaRPr lang="en-US" dirty="0"/>
          </a:p>
        </p:txBody>
      </p:sp>
      <p:sp>
        <p:nvSpPr>
          <p:cNvPr id="9" name="Footer Placeholder 1">
            <a:extLst>
              <a:ext uri="{FF2B5EF4-FFF2-40B4-BE49-F238E27FC236}">
                <a16:creationId xmlns:a16="http://schemas.microsoft.com/office/drawing/2014/main" id="{D91B50C1-7025-B243-9430-602CDE810AAB}"/>
              </a:ext>
            </a:extLst>
          </p:cNvPr>
          <p:cNvSpPr>
            <a:spLocks noGrp="1"/>
          </p:cNvSpPr>
          <p:nvPr>
            <p:ph type="ftr" sz="quarter" idx="13"/>
          </p:nvPr>
        </p:nvSpPr>
        <p:spPr>
          <a:xfrm>
            <a:off x="304799" y="6553201"/>
            <a:ext cx="7620001" cy="304800"/>
          </a:xfrm>
          <a:prstGeom prst="rect">
            <a:avLst/>
          </a:prstGeom>
        </p:spPr>
        <p:txBody>
          <a:bodyPr/>
          <a:lstStyle>
            <a:lvl1pPr>
              <a:defRPr>
                <a:solidFill>
                  <a:schemeClr val="accent5"/>
                </a:solidFill>
              </a:defRPr>
            </a:lvl1pPr>
          </a:lstStyle>
          <a:p>
            <a:endParaRPr lang="en-US" dirty="0">
              <a:ea typeface="MS PGothic" panose="020B0600070205080204" pitchFamily="34" charset="-128"/>
            </a:endParaRPr>
          </a:p>
        </p:txBody>
      </p:sp>
    </p:spTree>
    <p:extLst>
      <p:ext uri="{BB962C8B-B14F-4D97-AF65-F5344CB8AC3E}">
        <p14:creationId xmlns:p14="http://schemas.microsoft.com/office/powerpoint/2010/main" val="1897678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744">
          <p15:clr>
            <a:srgbClr val="FBAE40"/>
          </p15:clr>
        </p15:guide>
        <p15:guide id="3" pos="3936">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A42EC3-BB61-5A42-8BF1-1D2972BB044D}"/>
              </a:ext>
            </a:extLst>
          </p:cNvPr>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5" name="Slide Number Placeholder 11">
            <a:extLst>
              <a:ext uri="{FF2B5EF4-FFF2-40B4-BE49-F238E27FC236}">
                <a16:creationId xmlns:a16="http://schemas.microsoft.com/office/drawing/2014/main" id="{0D25D28A-A5EB-C240-A997-149159566C62}"/>
              </a:ext>
            </a:extLst>
          </p:cNvPr>
          <p:cNvSpPr>
            <a:spLocks noGrp="1"/>
          </p:cNvSpPr>
          <p:nvPr>
            <p:ph type="sldNum" sz="quarter" idx="10"/>
          </p:nvPr>
        </p:nvSpPr>
        <p:spPr>
          <a:xfrm>
            <a:off x="1" y="6553200"/>
            <a:ext cx="304799" cy="304799"/>
          </a:xfrm>
        </p:spPr>
        <p:txBody>
          <a:bodyPr lIns="0" tIns="0" rIns="0" bIns="0"/>
          <a:lstStyle/>
          <a:p>
            <a:fld id="{89006F1E-66CD-4A4B-9370-B4A3080F0E6C}" type="slidenum">
              <a:rPr lang="en-US" smtClean="0"/>
              <a:pPr/>
              <a:t>‹#›</a:t>
            </a:fld>
            <a:endParaRPr lang="en-US" dirty="0"/>
          </a:p>
        </p:txBody>
      </p:sp>
      <p:sp>
        <p:nvSpPr>
          <p:cNvPr id="6" name="Footer Placeholder 1">
            <a:extLst>
              <a:ext uri="{FF2B5EF4-FFF2-40B4-BE49-F238E27FC236}">
                <a16:creationId xmlns:a16="http://schemas.microsoft.com/office/drawing/2014/main" id="{EF39BEC2-E111-4A4B-836F-3D8401524587}"/>
              </a:ext>
            </a:extLst>
          </p:cNvPr>
          <p:cNvSpPr>
            <a:spLocks noGrp="1"/>
          </p:cNvSpPr>
          <p:nvPr>
            <p:ph type="ftr" sz="quarter" idx="12"/>
          </p:nvPr>
        </p:nvSpPr>
        <p:spPr>
          <a:xfrm>
            <a:off x="304799" y="6553201"/>
            <a:ext cx="7620001" cy="304800"/>
          </a:xfrm>
          <a:prstGeom prst="rect">
            <a:avLst/>
          </a:prstGeom>
        </p:spPr>
        <p:txBody>
          <a:bodyPr/>
          <a:lstStyle>
            <a:lvl1pPr>
              <a:defRPr>
                <a:solidFill>
                  <a:schemeClr val="accent5"/>
                </a:solidFill>
              </a:defRPr>
            </a:lvl1pPr>
          </a:lstStyle>
          <a:p>
            <a:endParaRPr lang="en-US" dirty="0">
              <a:ea typeface="MS PGothic" panose="020B0600070205080204" pitchFamily="34" charset="-128"/>
            </a:endParaRPr>
          </a:p>
        </p:txBody>
      </p:sp>
      <p:sp>
        <p:nvSpPr>
          <p:cNvPr id="8" name="Text Placeholder 7">
            <a:extLst>
              <a:ext uri="{FF2B5EF4-FFF2-40B4-BE49-F238E27FC236}">
                <a16:creationId xmlns:a16="http://schemas.microsoft.com/office/drawing/2014/main" id="{2A4CF7CB-ACF9-2E40-8360-1F09EA0AC0AC}"/>
              </a:ext>
            </a:extLst>
          </p:cNvPr>
          <p:cNvSpPr>
            <a:spLocks noGrp="1"/>
          </p:cNvSpPr>
          <p:nvPr>
            <p:ph type="body" sz="quarter" idx="11" hasCustomPrompt="1"/>
          </p:nvPr>
        </p:nvSpPr>
        <p:spPr>
          <a:xfrm>
            <a:off x="300226" y="893063"/>
            <a:ext cx="11591547" cy="381001"/>
          </a:xfrm>
          <a:prstGeom prst="rect">
            <a:avLst/>
          </a:prstGeom>
        </p:spPr>
        <p:txBody>
          <a:bodyPr lIns="0" tIns="0" rIns="0" bIns="0" anchor="t">
            <a:noAutofit/>
          </a:bodyPr>
          <a:lstStyle>
            <a:lvl1pPr marL="0" indent="0">
              <a:buNone/>
              <a:defRPr sz="2000">
                <a:solidFill>
                  <a:schemeClr val="tx1"/>
                </a:solidFill>
              </a:defRPr>
            </a:lvl1pPr>
          </a:lstStyle>
          <a:p>
            <a:pPr lvl="0"/>
            <a:r>
              <a:rPr lang="en-US" dirty="0"/>
              <a:t>Click to add </a:t>
            </a:r>
            <a:r>
              <a:rPr lang="en-US" dirty="0" err="1"/>
              <a:t>subheader</a:t>
            </a:r>
            <a:endParaRPr lang="en-US" dirty="0"/>
          </a:p>
        </p:txBody>
      </p:sp>
      <p:sp>
        <p:nvSpPr>
          <p:cNvPr id="10" name="Text Placeholder 7">
            <a:extLst>
              <a:ext uri="{FF2B5EF4-FFF2-40B4-BE49-F238E27FC236}">
                <a16:creationId xmlns:a16="http://schemas.microsoft.com/office/drawing/2014/main" id="{EE5F834C-5A08-DA4E-82E7-AC5A7A2CC796}"/>
              </a:ext>
            </a:extLst>
          </p:cNvPr>
          <p:cNvSpPr>
            <a:spLocks noGrp="1"/>
          </p:cNvSpPr>
          <p:nvPr>
            <p:ph type="body" sz="quarter" idx="13" hasCustomPrompt="1"/>
          </p:nvPr>
        </p:nvSpPr>
        <p:spPr>
          <a:xfrm>
            <a:off x="304797" y="6055756"/>
            <a:ext cx="11582401" cy="489204"/>
          </a:xfrm>
          <a:prstGeom prst="rect">
            <a:avLst/>
          </a:prstGeom>
        </p:spPr>
        <p:txBody>
          <a:bodyPr anchor="b">
            <a:normAutofit/>
          </a:bodyPr>
          <a:lstStyle>
            <a:lvl1pPr marL="0" indent="0">
              <a:spcBef>
                <a:spcPts val="100"/>
              </a:spcBef>
              <a:buNone/>
              <a:defRPr sz="1000">
                <a:solidFill>
                  <a:schemeClr val="accent5"/>
                </a:solidFill>
              </a:defRPr>
            </a:lvl1pPr>
          </a:lstStyle>
          <a:p>
            <a:pPr lvl="0"/>
            <a:r>
              <a:rPr lang="en-US" dirty="0"/>
              <a:t>Source notes</a:t>
            </a:r>
          </a:p>
        </p:txBody>
      </p:sp>
      <p:sp>
        <p:nvSpPr>
          <p:cNvPr id="7" name="Content Placeholder 6">
            <a:extLst>
              <a:ext uri="{FF2B5EF4-FFF2-40B4-BE49-F238E27FC236}">
                <a16:creationId xmlns:a16="http://schemas.microsoft.com/office/drawing/2014/main" id="{AFD7366D-1388-3D45-9C8A-11D05A5A4315}"/>
              </a:ext>
            </a:extLst>
          </p:cNvPr>
          <p:cNvSpPr>
            <a:spLocks noGrp="1"/>
          </p:cNvSpPr>
          <p:nvPr>
            <p:ph sz="quarter" idx="14"/>
          </p:nvPr>
        </p:nvSpPr>
        <p:spPr>
          <a:xfrm>
            <a:off x="300038" y="1447800"/>
            <a:ext cx="11587162" cy="4608513"/>
          </a:xfrm>
        </p:spPr>
        <p:txBody>
          <a:bodyPr/>
          <a:lstStyle>
            <a:lvl1pPr marL="342900" indent="-342900">
              <a:buFont typeface="Arial" panose="020B0604020202020204" pitchFamily="34" charset="0"/>
              <a:buChar char="•"/>
              <a:defRPr/>
            </a:lvl1pPr>
            <a:lvl2pPr marL="520700" indent="-285750">
              <a:buFont typeface="Arial" panose="020B0604020202020204" pitchFamily="34" charset="0"/>
              <a:buChar char="•"/>
              <a:defRPr/>
            </a:lvl2pPr>
            <a:lvl3pPr marL="749300" indent="-285750">
              <a:buFont typeface="Arial" panose="020B0604020202020204" pitchFamily="34" charset="0"/>
              <a:buChar char="•"/>
              <a:defRPr/>
            </a:lvl3pPr>
            <a:lvl4pPr marL="862013" indent="-171450">
              <a:buFont typeface="Arial" panose="020B0604020202020204" pitchFamily="34" charset="0"/>
              <a:buChar char="•"/>
              <a:defRPr/>
            </a:lvl4pPr>
            <a:lvl5pPr marL="1093787" indent="-17145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1574260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 column">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A42EC3-BB61-5A42-8BF1-1D2972BB044D}"/>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6" name="Slide Number Placeholder 11">
            <a:extLst>
              <a:ext uri="{FF2B5EF4-FFF2-40B4-BE49-F238E27FC236}">
                <a16:creationId xmlns:a16="http://schemas.microsoft.com/office/drawing/2014/main" id="{CA35970F-C7C4-F346-8F9C-43C9A251063B}"/>
              </a:ext>
            </a:extLst>
          </p:cNvPr>
          <p:cNvSpPr>
            <a:spLocks noGrp="1"/>
          </p:cNvSpPr>
          <p:nvPr>
            <p:ph type="sldNum" sz="quarter" idx="10"/>
          </p:nvPr>
        </p:nvSpPr>
        <p:spPr>
          <a:xfrm>
            <a:off x="1" y="6553200"/>
            <a:ext cx="304799" cy="304799"/>
          </a:xfrm>
        </p:spPr>
        <p:txBody>
          <a:bodyPr lIns="0" tIns="0" rIns="0" bIns="0"/>
          <a:lstStyle/>
          <a:p>
            <a:fld id="{89006F1E-66CD-4A4B-9370-B4A3080F0E6C}" type="slidenum">
              <a:rPr lang="en-US" smtClean="0"/>
              <a:pPr/>
              <a:t>‹#›</a:t>
            </a:fld>
            <a:endParaRPr lang="en-US" dirty="0"/>
          </a:p>
        </p:txBody>
      </p:sp>
      <p:sp>
        <p:nvSpPr>
          <p:cNvPr id="7" name="Footer Placeholder 1">
            <a:extLst>
              <a:ext uri="{FF2B5EF4-FFF2-40B4-BE49-F238E27FC236}">
                <a16:creationId xmlns:a16="http://schemas.microsoft.com/office/drawing/2014/main" id="{CE9EC605-3413-1E4D-96BF-ECCB56711FD5}"/>
              </a:ext>
            </a:extLst>
          </p:cNvPr>
          <p:cNvSpPr>
            <a:spLocks noGrp="1"/>
          </p:cNvSpPr>
          <p:nvPr>
            <p:ph type="ftr" sz="quarter" idx="13"/>
          </p:nvPr>
        </p:nvSpPr>
        <p:spPr>
          <a:xfrm>
            <a:off x="304799" y="6553201"/>
            <a:ext cx="7620001" cy="304800"/>
          </a:xfrm>
          <a:prstGeom prst="rect">
            <a:avLst/>
          </a:prstGeom>
        </p:spPr>
        <p:txBody>
          <a:bodyPr/>
          <a:lstStyle>
            <a:lvl1pPr>
              <a:defRPr>
                <a:solidFill>
                  <a:schemeClr val="accent5"/>
                </a:solidFill>
              </a:defRPr>
            </a:lvl1pPr>
          </a:lstStyle>
          <a:p>
            <a:endParaRPr lang="en-US" dirty="0">
              <a:ea typeface="MS PGothic" panose="020B0600070205080204" pitchFamily="34" charset="-128"/>
            </a:endParaRPr>
          </a:p>
        </p:txBody>
      </p:sp>
      <p:sp>
        <p:nvSpPr>
          <p:cNvPr id="8" name="Text Placeholder 7">
            <a:extLst>
              <a:ext uri="{FF2B5EF4-FFF2-40B4-BE49-F238E27FC236}">
                <a16:creationId xmlns:a16="http://schemas.microsoft.com/office/drawing/2014/main" id="{FE813D60-49DC-CC4E-8912-23F1B67BB019}"/>
              </a:ext>
            </a:extLst>
          </p:cNvPr>
          <p:cNvSpPr>
            <a:spLocks noGrp="1"/>
          </p:cNvSpPr>
          <p:nvPr>
            <p:ph type="body" sz="quarter" idx="14" hasCustomPrompt="1"/>
          </p:nvPr>
        </p:nvSpPr>
        <p:spPr>
          <a:xfrm>
            <a:off x="304797" y="6055756"/>
            <a:ext cx="11582400" cy="489204"/>
          </a:xfrm>
          <a:prstGeom prst="rect">
            <a:avLst/>
          </a:prstGeom>
        </p:spPr>
        <p:txBody>
          <a:bodyPr anchor="b">
            <a:normAutofit/>
          </a:bodyPr>
          <a:lstStyle>
            <a:lvl1pPr marL="0" indent="0">
              <a:spcBef>
                <a:spcPts val="100"/>
              </a:spcBef>
              <a:buNone/>
              <a:defRPr sz="1000">
                <a:solidFill>
                  <a:schemeClr val="accent5"/>
                </a:solidFill>
              </a:defRPr>
            </a:lvl1pPr>
          </a:lstStyle>
          <a:p>
            <a:pPr lvl="0"/>
            <a:r>
              <a:rPr lang="en-US" dirty="0"/>
              <a:t>Source notes</a:t>
            </a:r>
          </a:p>
        </p:txBody>
      </p:sp>
      <p:sp>
        <p:nvSpPr>
          <p:cNvPr id="12" name="Content Placeholder 3">
            <a:extLst>
              <a:ext uri="{FF2B5EF4-FFF2-40B4-BE49-F238E27FC236}">
                <a16:creationId xmlns:a16="http://schemas.microsoft.com/office/drawing/2014/main" id="{D38D7C33-9A72-7247-9B25-82BE39794E09}"/>
              </a:ext>
            </a:extLst>
          </p:cNvPr>
          <p:cNvSpPr>
            <a:spLocks noGrp="1"/>
          </p:cNvSpPr>
          <p:nvPr>
            <p:ph sz="quarter" idx="16"/>
          </p:nvPr>
        </p:nvSpPr>
        <p:spPr>
          <a:xfrm>
            <a:off x="304800" y="1447800"/>
            <a:ext cx="5638796" cy="4607954"/>
          </a:xfrm>
          <a:prstGeom prst="rect">
            <a:avLst/>
          </a:prstGeom>
        </p:spPr>
        <p:txBody>
          <a:bodyPr vert="horz" lIns="0" tIns="0" rIns="0" bIns="0" rtlCol="0">
            <a:normAutofit/>
          </a:bodyPr>
          <a:lstStyle>
            <a:lvl1pPr marL="342900" indent="-342900">
              <a:buFont typeface="Arial" panose="020B0604020202020204" pitchFamily="34" charset="0"/>
              <a:buChar char="•"/>
              <a:defRPr lang="en-US" dirty="0" smtClean="0"/>
            </a:lvl1pPr>
            <a:lvl2pPr marL="520700" indent="-285750">
              <a:buFont typeface="Arial" panose="020B0604020202020204" pitchFamily="34" charset="0"/>
              <a:buChar char="•"/>
              <a:defRPr lang="en-US" dirty="0" smtClean="0"/>
            </a:lvl2pPr>
            <a:lvl3pPr marL="749300" indent="-285750">
              <a:buFont typeface="Arial" panose="020B0604020202020204" pitchFamily="34" charset="0"/>
              <a:buChar char="•"/>
              <a:defRPr lang="en-US" dirty="0" smtClean="0"/>
            </a:lvl3pPr>
            <a:lvl4pPr marL="862013" indent="-171450">
              <a:buFont typeface="Arial" panose="020B0604020202020204" pitchFamily="34" charset="0"/>
              <a:buChar char="•"/>
              <a:defRPr lang="en-US" dirty="0" smtClean="0"/>
            </a:lvl4pPr>
            <a:lvl5pPr marL="1093787" indent="-171450">
              <a:buFont typeface="Arial" panose="020B0604020202020204" pitchFamily="34" charset="0"/>
              <a:buChar cha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3">
            <a:extLst>
              <a:ext uri="{FF2B5EF4-FFF2-40B4-BE49-F238E27FC236}">
                <a16:creationId xmlns:a16="http://schemas.microsoft.com/office/drawing/2014/main" id="{4109D056-DC1B-0D4A-8CCD-D716570C884F}"/>
              </a:ext>
            </a:extLst>
          </p:cNvPr>
          <p:cNvSpPr>
            <a:spLocks noGrp="1"/>
          </p:cNvSpPr>
          <p:nvPr>
            <p:ph sz="quarter" idx="17"/>
          </p:nvPr>
        </p:nvSpPr>
        <p:spPr>
          <a:xfrm>
            <a:off x="6248398" y="1447800"/>
            <a:ext cx="5638799" cy="4607954"/>
          </a:xfrm>
          <a:prstGeom prst="rect">
            <a:avLst/>
          </a:prstGeom>
        </p:spPr>
        <p:txBody>
          <a:bodyPr vert="horz" lIns="0" tIns="0" rIns="0" bIns="0" rtlCol="0">
            <a:normAutofit/>
          </a:bodyPr>
          <a:lstStyle>
            <a:lvl1pPr marL="342900" indent="-342900">
              <a:buFont typeface="Arial" panose="020B0604020202020204" pitchFamily="34" charset="0"/>
              <a:buChar char="•"/>
              <a:defRPr lang="en-US" dirty="0" smtClean="0"/>
            </a:lvl1pPr>
            <a:lvl2pPr marL="520700" indent="-285750">
              <a:buFont typeface="Arial" panose="020B0604020202020204" pitchFamily="34" charset="0"/>
              <a:buChar char="•"/>
              <a:defRPr lang="en-US" dirty="0" smtClean="0"/>
            </a:lvl2pPr>
            <a:lvl3pPr marL="749300" indent="-285750">
              <a:buFont typeface="Arial" panose="020B0604020202020204" pitchFamily="34" charset="0"/>
              <a:buChar char="•"/>
              <a:defRPr lang="en-US" dirty="0" smtClean="0"/>
            </a:lvl3pPr>
            <a:lvl4pPr marL="862013" indent="-171450">
              <a:buFont typeface="Arial" panose="020B0604020202020204" pitchFamily="34" charset="0"/>
              <a:buChar char="•"/>
              <a:defRPr lang="en-US" dirty="0" smtClean="0"/>
            </a:lvl4pPr>
            <a:lvl5pPr marL="1093787" indent="-171450">
              <a:buFont typeface="Arial" panose="020B0604020202020204" pitchFamily="34" charset="0"/>
              <a:buChar cha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a:extLst>
              <a:ext uri="{FF2B5EF4-FFF2-40B4-BE49-F238E27FC236}">
                <a16:creationId xmlns:a16="http://schemas.microsoft.com/office/drawing/2014/main" id="{95884C43-267B-8949-85E3-D9171D3F9D13}"/>
              </a:ext>
            </a:extLst>
          </p:cNvPr>
          <p:cNvSpPr>
            <a:spLocks noGrp="1"/>
          </p:cNvSpPr>
          <p:nvPr>
            <p:ph type="body" sz="quarter" idx="11" hasCustomPrompt="1"/>
          </p:nvPr>
        </p:nvSpPr>
        <p:spPr>
          <a:xfrm>
            <a:off x="300226" y="893063"/>
            <a:ext cx="11591547" cy="381001"/>
          </a:xfrm>
          <a:prstGeom prst="rect">
            <a:avLst/>
          </a:prstGeom>
        </p:spPr>
        <p:txBody>
          <a:bodyPr lIns="0" tIns="0" rIns="0" bIns="0" anchor="t">
            <a:noAutofit/>
          </a:bodyPr>
          <a:lstStyle>
            <a:lvl1pPr marL="0" indent="0">
              <a:buNone/>
              <a:defRPr sz="2000">
                <a:solidFill>
                  <a:schemeClr val="tx1"/>
                </a:solidFill>
              </a:defRPr>
            </a:lvl1pPr>
          </a:lstStyle>
          <a:p>
            <a:pPr lvl="0"/>
            <a:r>
              <a:rPr lang="en-US" dirty="0"/>
              <a:t>Click to add </a:t>
            </a:r>
            <a:r>
              <a:rPr lang="en-US" dirty="0" err="1"/>
              <a:t>subheader</a:t>
            </a:r>
            <a:endParaRPr lang="en-US" dirty="0"/>
          </a:p>
        </p:txBody>
      </p:sp>
    </p:spTree>
    <p:extLst>
      <p:ext uri="{BB962C8B-B14F-4D97-AF65-F5344CB8AC3E}">
        <p14:creationId xmlns:p14="http://schemas.microsoft.com/office/powerpoint/2010/main" val="160336907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Column">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A42EC3-BB61-5A42-8BF1-1D2972BB044D}"/>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7" name="Slide Number Placeholder 11">
            <a:extLst>
              <a:ext uri="{FF2B5EF4-FFF2-40B4-BE49-F238E27FC236}">
                <a16:creationId xmlns:a16="http://schemas.microsoft.com/office/drawing/2014/main" id="{F81445D8-D3A2-A446-B35B-0A1E9B448962}"/>
              </a:ext>
            </a:extLst>
          </p:cNvPr>
          <p:cNvSpPr>
            <a:spLocks noGrp="1"/>
          </p:cNvSpPr>
          <p:nvPr>
            <p:ph type="sldNum" sz="quarter" idx="10"/>
          </p:nvPr>
        </p:nvSpPr>
        <p:spPr>
          <a:xfrm>
            <a:off x="1" y="6553200"/>
            <a:ext cx="304799" cy="304799"/>
          </a:xfrm>
        </p:spPr>
        <p:txBody>
          <a:bodyPr lIns="0" tIns="0" rIns="0" bIns="0"/>
          <a:lstStyle/>
          <a:p>
            <a:fld id="{89006F1E-66CD-4A4B-9370-B4A3080F0E6C}" type="slidenum">
              <a:rPr lang="en-US" smtClean="0"/>
              <a:pPr/>
              <a:t>‹#›</a:t>
            </a:fld>
            <a:endParaRPr lang="en-US" dirty="0"/>
          </a:p>
        </p:txBody>
      </p:sp>
      <p:sp>
        <p:nvSpPr>
          <p:cNvPr id="8" name="Footer Placeholder 1">
            <a:extLst>
              <a:ext uri="{FF2B5EF4-FFF2-40B4-BE49-F238E27FC236}">
                <a16:creationId xmlns:a16="http://schemas.microsoft.com/office/drawing/2014/main" id="{31F7B133-5860-D54B-A498-14C05567C68D}"/>
              </a:ext>
            </a:extLst>
          </p:cNvPr>
          <p:cNvSpPr>
            <a:spLocks noGrp="1"/>
          </p:cNvSpPr>
          <p:nvPr>
            <p:ph type="ftr" sz="quarter" idx="14"/>
          </p:nvPr>
        </p:nvSpPr>
        <p:spPr>
          <a:xfrm>
            <a:off x="304799" y="6553201"/>
            <a:ext cx="7620002" cy="304800"/>
          </a:xfrm>
          <a:prstGeom prst="rect">
            <a:avLst/>
          </a:prstGeom>
        </p:spPr>
        <p:txBody>
          <a:bodyPr/>
          <a:lstStyle>
            <a:lvl1pPr>
              <a:defRPr>
                <a:solidFill>
                  <a:schemeClr val="accent5"/>
                </a:solidFill>
              </a:defRPr>
            </a:lvl1pPr>
          </a:lstStyle>
          <a:p>
            <a:endParaRPr lang="en-US" dirty="0">
              <a:ea typeface="MS PGothic" panose="020B0600070205080204" pitchFamily="34" charset="-128"/>
            </a:endParaRPr>
          </a:p>
        </p:txBody>
      </p:sp>
      <p:sp>
        <p:nvSpPr>
          <p:cNvPr id="9" name="Text Placeholder 7">
            <a:extLst>
              <a:ext uri="{FF2B5EF4-FFF2-40B4-BE49-F238E27FC236}">
                <a16:creationId xmlns:a16="http://schemas.microsoft.com/office/drawing/2014/main" id="{7F606DC1-8556-AC4B-B621-1C8A6F92D688}"/>
              </a:ext>
            </a:extLst>
          </p:cNvPr>
          <p:cNvSpPr>
            <a:spLocks noGrp="1"/>
          </p:cNvSpPr>
          <p:nvPr>
            <p:ph type="body" sz="quarter" idx="15" hasCustomPrompt="1"/>
          </p:nvPr>
        </p:nvSpPr>
        <p:spPr>
          <a:xfrm>
            <a:off x="304797" y="6055756"/>
            <a:ext cx="11582400" cy="489204"/>
          </a:xfrm>
          <a:prstGeom prst="rect">
            <a:avLst/>
          </a:prstGeom>
        </p:spPr>
        <p:txBody>
          <a:bodyPr anchor="b">
            <a:normAutofit/>
          </a:bodyPr>
          <a:lstStyle>
            <a:lvl1pPr marL="0" indent="0">
              <a:spcBef>
                <a:spcPts val="100"/>
              </a:spcBef>
              <a:buNone/>
              <a:defRPr sz="1000">
                <a:solidFill>
                  <a:schemeClr val="accent5"/>
                </a:solidFill>
              </a:defRPr>
            </a:lvl1pPr>
          </a:lstStyle>
          <a:p>
            <a:pPr lvl="0"/>
            <a:r>
              <a:rPr lang="en-US" dirty="0"/>
              <a:t>Source notes</a:t>
            </a:r>
          </a:p>
        </p:txBody>
      </p:sp>
      <p:sp>
        <p:nvSpPr>
          <p:cNvPr id="17" name="Text Placeholder 7">
            <a:extLst>
              <a:ext uri="{FF2B5EF4-FFF2-40B4-BE49-F238E27FC236}">
                <a16:creationId xmlns:a16="http://schemas.microsoft.com/office/drawing/2014/main" id="{C194A5C4-4D4E-424D-8DC1-C1FCDF1A8FC5}"/>
              </a:ext>
            </a:extLst>
          </p:cNvPr>
          <p:cNvSpPr>
            <a:spLocks noGrp="1"/>
          </p:cNvSpPr>
          <p:nvPr>
            <p:ph type="body" sz="quarter" idx="11" hasCustomPrompt="1"/>
          </p:nvPr>
        </p:nvSpPr>
        <p:spPr>
          <a:xfrm>
            <a:off x="300226" y="893063"/>
            <a:ext cx="11591547" cy="381001"/>
          </a:xfrm>
          <a:prstGeom prst="rect">
            <a:avLst/>
          </a:prstGeom>
        </p:spPr>
        <p:txBody>
          <a:bodyPr lIns="0" tIns="0" rIns="0" bIns="0" anchor="t">
            <a:noAutofit/>
          </a:bodyPr>
          <a:lstStyle>
            <a:lvl1pPr marL="0" indent="0">
              <a:buNone/>
              <a:defRPr sz="2000">
                <a:solidFill>
                  <a:schemeClr val="tx1"/>
                </a:solidFill>
              </a:defRPr>
            </a:lvl1pPr>
          </a:lstStyle>
          <a:p>
            <a:pPr lvl="0"/>
            <a:r>
              <a:rPr lang="en-US" dirty="0"/>
              <a:t>Click to add </a:t>
            </a:r>
            <a:r>
              <a:rPr lang="en-US" dirty="0" err="1"/>
              <a:t>subheader</a:t>
            </a:r>
            <a:endParaRPr lang="en-US" dirty="0"/>
          </a:p>
        </p:txBody>
      </p:sp>
      <p:sp>
        <p:nvSpPr>
          <p:cNvPr id="18" name="Content Placeholder 3">
            <a:extLst>
              <a:ext uri="{FF2B5EF4-FFF2-40B4-BE49-F238E27FC236}">
                <a16:creationId xmlns:a16="http://schemas.microsoft.com/office/drawing/2014/main" id="{22065214-DE69-2246-B1F9-8B166D25671B}"/>
              </a:ext>
            </a:extLst>
          </p:cNvPr>
          <p:cNvSpPr>
            <a:spLocks noGrp="1"/>
          </p:cNvSpPr>
          <p:nvPr>
            <p:ph sz="quarter" idx="18"/>
          </p:nvPr>
        </p:nvSpPr>
        <p:spPr>
          <a:xfrm>
            <a:off x="304800" y="1447800"/>
            <a:ext cx="3657600" cy="4607954"/>
          </a:xfrm>
          <a:prstGeom prst="rect">
            <a:avLst/>
          </a:prstGeom>
        </p:spPr>
        <p:txBody>
          <a:bodyPr vert="horz" lIns="0" tIns="0" rIns="0" bIns="0" rtlCol="0">
            <a:normAutofit/>
          </a:bodyPr>
          <a:lstStyle>
            <a:lvl1pPr marL="342900" indent="-342900">
              <a:buFont typeface="Arial" panose="020B0604020202020204" pitchFamily="34" charset="0"/>
              <a:buChar char="•"/>
              <a:defRPr lang="en-US" dirty="0" smtClean="0"/>
            </a:lvl1pPr>
            <a:lvl2pPr marL="520700" indent="-285750">
              <a:buFont typeface="Arial" panose="020B0604020202020204" pitchFamily="34" charset="0"/>
              <a:buChar char="•"/>
              <a:defRPr lang="en-US" dirty="0" smtClean="0"/>
            </a:lvl2pPr>
            <a:lvl3pPr marL="749300" indent="-285750">
              <a:buFont typeface="Arial" panose="020B0604020202020204" pitchFamily="34" charset="0"/>
              <a:buChar char="•"/>
              <a:defRPr lang="en-US" dirty="0" smtClean="0"/>
            </a:lvl3pPr>
            <a:lvl4pPr marL="862013" indent="-171450">
              <a:buFont typeface="Arial" panose="020B0604020202020204" pitchFamily="34" charset="0"/>
              <a:buChar char="•"/>
              <a:defRPr lang="en-US" dirty="0" smtClean="0"/>
            </a:lvl4pPr>
            <a:lvl5pPr marL="1093787" indent="-171450">
              <a:buFont typeface="Arial" panose="020B0604020202020204" pitchFamily="34" charset="0"/>
              <a:buChar cha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3">
            <a:extLst>
              <a:ext uri="{FF2B5EF4-FFF2-40B4-BE49-F238E27FC236}">
                <a16:creationId xmlns:a16="http://schemas.microsoft.com/office/drawing/2014/main" id="{DE333DB3-CD71-1F4D-8ECF-51D4B490DCCC}"/>
              </a:ext>
            </a:extLst>
          </p:cNvPr>
          <p:cNvSpPr>
            <a:spLocks noGrp="1"/>
          </p:cNvSpPr>
          <p:nvPr>
            <p:ph sz="quarter" idx="19"/>
          </p:nvPr>
        </p:nvSpPr>
        <p:spPr>
          <a:xfrm>
            <a:off x="4267201" y="1447800"/>
            <a:ext cx="3657600" cy="4607954"/>
          </a:xfrm>
          <a:prstGeom prst="rect">
            <a:avLst/>
          </a:prstGeom>
        </p:spPr>
        <p:txBody>
          <a:bodyPr vert="horz" lIns="0" tIns="0" rIns="0" bIns="0" rtlCol="0">
            <a:normAutofit/>
          </a:bodyPr>
          <a:lstStyle>
            <a:lvl1pPr marL="342900" indent="-342900">
              <a:buFont typeface="Arial" panose="020B0604020202020204" pitchFamily="34" charset="0"/>
              <a:buChar char="•"/>
              <a:defRPr lang="en-US" dirty="0" smtClean="0"/>
            </a:lvl1pPr>
            <a:lvl2pPr marL="520700" indent="-285750">
              <a:buFont typeface="Arial" panose="020B0604020202020204" pitchFamily="34" charset="0"/>
              <a:buChar char="•"/>
              <a:defRPr lang="en-US" dirty="0" smtClean="0"/>
            </a:lvl2pPr>
            <a:lvl3pPr marL="749300" indent="-285750">
              <a:buFont typeface="Arial" panose="020B0604020202020204" pitchFamily="34" charset="0"/>
              <a:buChar char="•"/>
              <a:defRPr lang="en-US" dirty="0" smtClean="0"/>
            </a:lvl3pPr>
            <a:lvl4pPr marL="862013" indent="-171450">
              <a:buFont typeface="Arial" panose="020B0604020202020204" pitchFamily="34" charset="0"/>
              <a:buChar char="•"/>
              <a:defRPr lang="en-US" dirty="0" smtClean="0"/>
            </a:lvl4pPr>
            <a:lvl5pPr marL="1093787" indent="-171450">
              <a:buFont typeface="Arial" panose="020B0604020202020204" pitchFamily="34" charset="0"/>
              <a:buChar cha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Content Placeholder 3">
            <a:extLst>
              <a:ext uri="{FF2B5EF4-FFF2-40B4-BE49-F238E27FC236}">
                <a16:creationId xmlns:a16="http://schemas.microsoft.com/office/drawing/2014/main" id="{8514F710-85FB-F040-B3B5-8573DB7FE6FE}"/>
              </a:ext>
            </a:extLst>
          </p:cNvPr>
          <p:cNvSpPr>
            <a:spLocks noGrp="1"/>
          </p:cNvSpPr>
          <p:nvPr>
            <p:ph sz="quarter" idx="21"/>
          </p:nvPr>
        </p:nvSpPr>
        <p:spPr>
          <a:xfrm>
            <a:off x="8229594" y="1447800"/>
            <a:ext cx="3657603" cy="4607954"/>
          </a:xfrm>
          <a:prstGeom prst="rect">
            <a:avLst/>
          </a:prstGeom>
        </p:spPr>
        <p:txBody>
          <a:bodyPr vert="horz" lIns="0" tIns="0" rIns="0" bIns="0" rtlCol="0">
            <a:normAutofit/>
          </a:bodyPr>
          <a:lstStyle>
            <a:lvl1pPr marL="342900" indent="-342900">
              <a:buFont typeface="Arial" panose="020B0604020202020204" pitchFamily="34" charset="0"/>
              <a:buChar char="•"/>
              <a:defRPr lang="en-US" dirty="0" smtClean="0"/>
            </a:lvl1pPr>
            <a:lvl2pPr marL="520700" indent="-285750">
              <a:buFont typeface="Arial" panose="020B0604020202020204" pitchFamily="34" charset="0"/>
              <a:buChar char="•"/>
              <a:defRPr lang="en-US" dirty="0" smtClean="0"/>
            </a:lvl2pPr>
            <a:lvl3pPr marL="749300" indent="-285750">
              <a:buFont typeface="Arial" panose="020B0604020202020204" pitchFamily="34" charset="0"/>
              <a:buChar char="•"/>
              <a:defRPr lang="en-US" dirty="0" smtClean="0"/>
            </a:lvl3pPr>
            <a:lvl4pPr marL="862013" indent="-171450">
              <a:buFont typeface="Arial" panose="020B0604020202020204" pitchFamily="34" charset="0"/>
              <a:buChar char="•"/>
              <a:defRPr lang="en-US" dirty="0" smtClean="0"/>
            </a:lvl4pPr>
            <a:lvl5pPr marL="1093787" indent="-171450">
              <a:buFont typeface="Arial" panose="020B0604020202020204" pitchFamily="34" charset="0"/>
              <a:buChar cha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8006773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column with images">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A42EC3-BB61-5A42-8BF1-1D2972BB044D}"/>
              </a:ext>
            </a:extLst>
          </p:cNvPr>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7" name="Slide Number Placeholder 11">
            <a:extLst>
              <a:ext uri="{FF2B5EF4-FFF2-40B4-BE49-F238E27FC236}">
                <a16:creationId xmlns:a16="http://schemas.microsoft.com/office/drawing/2014/main" id="{F81445D8-D3A2-A446-B35B-0A1E9B448962}"/>
              </a:ext>
            </a:extLst>
          </p:cNvPr>
          <p:cNvSpPr>
            <a:spLocks noGrp="1"/>
          </p:cNvSpPr>
          <p:nvPr>
            <p:ph type="sldNum" sz="quarter" idx="10"/>
          </p:nvPr>
        </p:nvSpPr>
        <p:spPr>
          <a:xfrm>
            <a:off x="1" y="6553200"/>
            <a:ext cx="304799" cy="304799"/>
          </a:xfrm>
        </p:spPr>
        <p:txBody>
          <a:bodyPr lIns="0" tIns="0" rIns="0" bIns="0"/>
          <a:lstStyle/>
          <a:p>
            <a:fld id="{89006F1E-66CD-4A4B-9370-B4A3080F0E6C}" type="slidenum">
              <a:rPr lang="en-US" smtClean="0"/>
              <a:pPr/>
              <a:t>‹#›</a:t>
            </a:fld>
            <a:endParaRPr lang="en-US" dirty="0"/>
          </a:p>
        </p:txBody>
      </p:sp>
      <p:sp>
        <p:nvSpPr>
          <p:cNvPr id="8" name="Footer Placeholder 1">
            <a:extLst>
              <a:ext uri="{FF2B5EF4-FFF2-40B4-BE49-F238E27FC236}">
                <a16:creationId xmlns:a16="http://schemas.microsoft.com/office/drawing/2014/main" id="{31F7B133-5860-D54B-A498-14C05567C68D}"/>
              </a:ext>
            </a:extLst>
          </p:cNvPr>
          <p:cNvSpPr>
            <a:spLocks noGrp="1"/>
          </p:cNvSpPr>
          <p:nvPr>
            <p:ph type="ftr" sz="quarter" idx="14"/>
          </p:nvPr>
        </p:nvSpPr>
        <p:spPr>
          <a:xfrm>
            <a:off x="304799" y="6553201"/>
            <a:ext cx="7620001" cy="304800"/>
          </a:xfrm>
          <a:prstGeom prst="rect">
            <a:avLst/>
          </a:prstGeom>
        </p:spPr>
        <p:txBody>
          <a:bodyPr/>
          <a:lstStyle>
            <a:lvl1pPr>
              <a:defRPr>
                <a:solidFill>
                  <a:schemeClr val="accent5"/>
                </a:solidFill>
              </a:defRPr>
            </a:lvl1pPr>
          </a:lstStyle>
          <a:p>
            <a:endParaRPr lang="en-US" dirty="0">
              <a:ea typeface="MS PGothic" panose="020B0600070205080204" pitchFamily="34" charset="-128"/>
            </a:endParaRPr>
          </a:p>
        </p:txBody>
      </p:sp>
      <p:sp>
        <p:nvSpPr>
          <p:cNvPr id="9" name="Text Placeholder 7">
            <a:extLst>
              <a:ext uri="{FF2B5EF4-FFF2-40B4-BE49-F238E27FC236}">
                <a16:creationId xmlns:a16="http://schemas.microsoft.com/office/drawing/2014/main" id="{7F606DC1-8556-AC4B-B621-1C8A6F92D688}"/>
              </a:ext>
            </a:extLst>
          </p:cNvPr>
          <p:cNvSpPr>
            <a:spLocks noGrp="1"/>
          </p:cNvSpPr>
          <p:nvPr>
            <p:ph type="body" sz="quarter" idx="15" hasCustomPrompt="1"/>
          </p:nvPr>
        </p:nvSpPr>
        <p:spPr>
          <a:xfrm>
            <a:off x="304797" y="6055756"/>
            <a:ext cx="11591542" cy="489204"/>
          </a:xfrm>
          <a:prstGeom prst="rect">
            <a:avLst/>
          </a:prstGeom>
        </p:spPr>
        <p:txBody>
          <a:bodyPr anchor="b">
            <a:normAutofit/>
          </a:bodyPr>
          <a:lstStyle>
            <a:lvl1pPr marL="0" indent="0">
              <a:spcBef>
                <a:spcPts val="100"/>
              </a:spcBef>
              <a:buNone/>
              <a:defRPr sz="1000">
                <a:solidFill>
                  <a:schemeClr val="accent5"/>
                </a:solidFill>
              </a:defRPr>
            </a:lvl1pPr>
          </a:lstStyle>
          <a:p>
            <a:pPr lvl="0"/>
            <a:r>
              <a:rPr lang="en-US" dirty="0"/>
              <a:t>Source notes</a:t>
            </a:r>
          </a:p>
        </p:txBody>
      </p:sp>
      <p:sp>
        <p:nvSpPr>
          <p:cNvPr id="17" name="Text Placeholder 7">
            <a:extLst>
              <a:ext uri="{FF2B5EF4-FFF2-40B4-BE49-F238E27FC236}">
                <a16:creationId xmlns:a16="http://schemas.microsoft.com/office/drawing/2014/main" id="{C194A5C4-4D4E-424D-8DC1-C1FCDF1A8FC5}"/>
              </a:ext>
            </a:extLst>
          </p:cNvPr>
          <p:cNvSpPr>
            <a:spLocks noGrp="1"/>
          </p:cNvSpPr>
          <p:nvPr>
            <p:ph type="body" sz="quarter" idx="11" hasCustomPrompt="1"/>
          </p:nvPr>
        </p:nvSpPr>
        <p:spPr>
          <a:xfrm>
            <a:off x="300226" y="893063"/>
            <a:ext cx="11591547" cy="381001"/>
          </a:xfrm>
          <a:prstGeom prst="rect">
            <a:avLst/>
          </a:prstGeom>
        </p:spPr>
        <p:txBody>
          <a:bodyPr lIns="0" tIns="0" rIns="0" bIns="0" anchor="t">
            <a:noAutofit/>
          </a:bodyPr>
          <a:lstStyle>
            <a:lvl1pPr marL="0" indent="0">
              <a:buNone/>
              <a:defRPr sz="2000">
                <a:solidFill>
                  <a:schemeClr val="tx1"/>
                </a:solidFill>
              </a:defRPr>
            </a:lvl1pPr>
          </a:lstStyle>
          <a:p>
            <a:pPr lvl="0"/>
            <a:r>
              <a:rPr lang="en-US" dirty="0"/>
              <a:t>Click to add </a:t>
            </a:r>
            <a:r>
              <a:rPr lang="en-US" dirty="0" err="1"/>
              <a:t>subheader</a:t>
            </a:r>
            <a:endParaRPr lang="en-US" dirty="0"/>
          </a:p>
        </p:txBody>
      </p:sp>
      <p:sp>
        <p:nvSpPr>
          <p:cNvPr id="18" name="Content Placeholder 3">
            <a:extLst>
              <a:ext uri="{FF2B5EF4-FFF2-40B4-BE49-F238E27FC236}">
                <a16:creationId xmlns:a16="http://schemas.microsoft.com/office/drawing/2014/main" id="{22065214-DE69-2246-B1F9-8B166D25671B}"/>
              </a:ext>
            </a:extLst>
          </p:cNvPr>
          <p:cNvSpPr>
            <a:spLocks noGrp="1"/>
          </p:cNvSpPr>
          <p:nvPr>
            <p:ph sz="quarter" idx="18"/>
          </p:nvPr>
        </p:nvSpPr>
        <p:spPr>
          <a:xfrm>
            <a:off x="304800" y="3512047"/>
            <a:ext cx="3657600" cy="2528783"/>
          </a:xfrm>
          <a:prstGeom prst="rect">
            <a:avLst/>
          </a:prstGeom>
        </p:spPr>
        <p:txBody>
          <a:bodyPr vert="horz" lIns="0" tIns="0" rIns="0" bIns="0" rtlCol="0">
            <a:normAutofit/>
          </a:bodyPr>
          <a:lstStyle>
            <a:lvl1pPr marL="342900" indent="-342900">
              <a:buFont typeface="Arial" panose="020B0604020202020204" pitchFamily="34" charset="0"/>
              <a:buChar char="•"/>
              <a:defRPr lang="en-US" dirty="0" smtClean="0"/>
            </a:lvl1pPr>
            <a:lvl2pPr marL="520700" indent="-285750">
              <a:buFont typeface="Arial" panose="020B0604020202020204" pitchFamily="34" charset="0"/>
              <a:buChar char="•"/>
              <a:defRPr lang="en-US" dirty="0" smtClean="0"/>
            </a:lvl2pPr>
            <a:lvl3pPr marL="749300" indent="-285750">
              <a:buFont typeface="Arial" panose="020B0604020202020204" pitchFamily="34" charset="0"/>
              <a:buChar char="•"/>
              <a:defRPr lang="en-US" dirty="0" smtClean="0"/>
            </a:lvl3pPr>
            <a:lvl4pPr marL="862013" indent="-171450">
              <a:buFont typeface="Arial" panose="020B0604020202020204" pitchFamily="34" charset="0"/>
              <a:buChar char="•"/>
              <a:defRPr lang="en-US" dirty="0" smtClean="0"/>
            </a:lvl4pPr>
            <a:lvl5pPr marL="1093787" indent="-171450">
              <a:buFont typeface="Arial" panose="020B0604020202020204" pitchFamily="34" charset="0"/>
              <a:buChar cha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3">
            <a:extLst>
              <a:ext uri="{FF2B5EF4-FFF2-40B4-BE49-F238E27FC236}">
                <a16:creationId xmlns:a16="http://schemas.microsoft.com/office/drawing/2014/main" id="{DE333DB3-CD71-1F4D-8ECF-51D4B490DCCC}"/>
              </a:ext>
            </a:extLst>
          </p:cNvPr>
          <p:cNvSpPr>
            <a:spLocks noGrp="1"/>
          </p:cNvSpPr>
          <p:nvPr>
            <p:ph sz="quarter" idx="19"/>
          </p:nvPr>
        </p:nvSpPr>
        <p:spPr>
          <a:xfrm>
            <a:off x="4267201" y="3512047"/>
            <a:ext cx="3657600" cy="2528783"/>
          </a:xfrm>
          <a:prstGeom prst="rect">
            <a:avLst/>
          </a:prstGeom>
        </p:spPr>
        <p:txBody>
          <a:bodyPr vert="horz" lIns="0" tIns="0" rIns="0" bIns="0" rtlCol="0">
            <a:normAutofit/>
          </a:bodyPr>
          <a:lstStyle>
            <a:lvl1pPr marL="342900" indent="-342900">
              <a:buFont typeface="Arial" panose="020B0604020202020204" pitchFamily="34" charset="0"/>
              <a:buChar char="•"/>
              <a:defRPr lang="en-US" dirty="0" smtClean="0"/>
            </a:lvl1pPr>
            <a:lvl2pPr marL="520700" indent="-285750">
              <a:buFont typeface="Arial" panose="020B0604020202020204" pitchFamily="34" charset="0"/>
              <a:buChar char="•"/>
              <a:defRPr lang="en-US" dirty="0" smtClean="0"/>
            </a:lvl2pPr>
            <a:lvl3pPr marL="749300" indent="-285750">
              <a:buFont typeface="Arial" panose="020B0604020202020204" pitchFamily="34" charset="0"/>
              <a:buChar char="•"/>
              <a:defRPr lang="en-US" dirty="0" smtClean="0"/>
            </a:lvl3pPr>
            <a:lvl4pPr marL="862013" indent="-171450">
              <a:buFont typeface="Arial" panose="020B0604020202020204" pitchFamily="34" charset="0"/>
              <a:buChar char="•"/>
              <a:defRPr lang="en-US" dirty="0" smtClean="0"/>
            </a:lvl4pPr>
            <a:lvl5pPr marL="1093787" indent="-171450">
              <a:buFont typeface="Arial" panose="020B0604020202020204" pitchFamily="34" charset="0"/>
              <a:buChar cha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Content Placeholder 3">
            <a:extLst>
              <a:ext uri="{FF2B5EF4-FFF2-40B4-BE49-F238E27FC236}">
                <a16:creationId xmlns:a16="http://schemas.microsoft.com/office/drawing/2014/main" id="{8514F710-85FB-F040-B3B5-8573DB7FE6FE}"/>
              </a:ext>
            </a:extLst>
          </p:cNvPr>
          <p:cNvSpPr>
            <a:spLocks noGrp="1"/>
          </p:cNvSpPr>
          <p:nvPr>
            <p:ph sz="quarter" idx="21"/>
          </p:nvPr>
        </p:nvSpPr>
        <p:spPr>
          <a:xfrm>
            <a:off x="8229594" y="3512047"/>
            <a:ext cx="3657603" cy="2528783"/>
          </a:xfrm>
          <a:prstGeom prst="rect">
            <a:avLst/>
          </a:prstGeom>
        </p:spPr>
        <p:txBody>
          <a:bodyPr vert="horz" lIns="0" tIns="0" rIns="0" bIns="0" rtlCol="0">
            <a:normAutofit/>
          </a:bodyPr>
          <a:lstStyle>
            <a:lvl1pPr marL="342900" indent="-342900">
              <a:buFont typeface="Arial" panose="020B0604020202020204" pitchFamily="34" charset="0"/>
              <a:buChar char="•"/>
              <a:defRPr lang="en-US" dirty="0" smtClean="0"/>
            </a:lvl1pPr>
            <a:lvl2pPr marL="520700" indent="-285750">
              <a:buFont typeface="Arial" panose="020B0604020202020204" pitchFamily="34" charset="0"/>
              <a:buChar char="•"/>
              <a:defRPr lang="en-US" dirty="0" smtClean="0"/>
            </a:lvl2pPr>
            <a:lvl3pPr marL="749300" indent="-285750">
              <a:buFont typeface="Arial" panose="020B0604020202020204" pitchFamily="34" charset="0"/>
              <a:buChar char="•"/>
              <a:defRPr lang="en-US" dirty="0" smtClean="0"/>
            </a:lvl3pPr>
            <a:lvl4pPr marL="862013" indent="-171450">
              <a:buFont typeface="Arial" panose="020B0604020202020204" pitchFamily="34" charset="0"/>
              <a:buChar char="•"/>
              <a:defRPr lang="en-US" dirty="0" smtClean="0"/>
            </a:lvl4pPr>
            <a:lvl5pPr marL="1093787" indent="-171450">
              <a:buFont typeface="Arial" panose="020B0604020202020204" pitchFamily="34" charset="0"/>
              <a:buChar cha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Picture Placeholder 3">
            <a:extLst>
              <a:ext uri="{FF2B5EF4-FFF2-40B4-BE49-F238E27FC236}">
                <a16:creationId xmlns:a16="http://schemas.microsoft.com/office/drawing/2014/main" id="{21A45530-6C50-AD46-A233-590ADD356A0F}"/>
              </a:ext>
            </a:extLst>
          </p:cNvPr>
          <p:cNvSpPr>
            <a:spLocks noGrp="1"/>
          </p:cNvSpPr>
          <p:nvPr>
            <p:ph type="pic" sz="quarter" idx="22" hasCustomPrompt="1"/>
          </p:nvPr>
        </p:nvSpPr>
        <p:spPr>
          <a:xfrm>
            <a:off x="300226" y="1466405"/>
            <a:ext cx="3662174" cy="1947672"/>
          </a:xfrm>
          <a:prstGeom prst="rect">
            <a:avLst/>
          </a:prstGeom>
          <a:pattFill prst="pct5">
            <a:fgClr>
              <a:schemeClr val="bg1"/>
            </a:fgClr>
            <a:bgClr>
              <a:schemeClr val="bg2"/>
            </a:bgClr>
          </a:pattFill>
        </p:spPr>
        <p:txBody>
          <a:bodyPr anchor="ctr"/>
          <a:lstStyle>
            <a:lvl1pPr marL="0" indent="0" algn="ctr">
              <a:buNone/>
              <a:defRPr/>
            </a:lvl1pPr>
          </a:lstStyle>
          <a:p>
            <a:r>
              <a:rPr lang="en-US" dirty="0"/>
              <a:t>Add photo</a:t>
            </a:r>
          </a:p>
        </p:txBody>
      </p:sp>
      <p:sp>
        <p:nvSpPr>
          <p:cNvPr id="14" name="Picture Placeholder 3">
            <a:extLst>
              <a:ext uri="{FF2B5EF4-FFF2-40B4-BE49-F238E27FC236}">
                <a16:creationId xmlns:a16="http://schemas.microsoft.com/office/drawing/2014/main" id="{93FDE34D-91F9-6E47-BC02-8A5F8FCC0810}"/>
              </a:ext>
            </a:extLst>
          </p:cNvPr>
          <p:cNvSpPr>
            <a:spLocks noGrp="1"/>
          </p:cNvSpPr>
          <p:nvPr>
            <p:ph type="pic" sz="quarter" idx="23" hasCustomPrompt="1"/>
          </p:nvPr>
        </p:nvSpPr>
        <p:spPr>
          <a:xfrm>
            <a:off x="4262626" y="1459723"/>
            <a:ext cx="3662174" cy="1947672"/>
          </a:xfrm>
          <a:prstGeom prst="rect">
            <a:avLst/>
          </a:prstGeom>
          <a:pattFill prst="pct5">
            <a:fgClr>
              <a:schemeClr val="bg1"/>
            </a:fgClr>
            <a:bgClr>
              <a:schemeClr val="bg2"/>
            </a:bgClr>
          </a:pattFill>
        </p:spPr>
        <p:txBody>
          <a:bodyPr anchor="ctr"/>
          <a:lstStyle>
            <a:lvl1pPr marL="0" indent="0" algn="ctr">
              <a:buNone/>
              <a:defRPr/>
            </a:lvl1pPr>
          </a:lstStyle>
          <a:p>
            <a:r>
              <a:rPr lang="en-US" dirty="0"/>
              <a:t>Add photo</a:t>
            </a:r>
          </a:p>
        </p:txBody>
      </p:sp>
      <p:sp>
        <p:nvSpPr>
          <p:cNvPr id="15" name="Picture Placeholder 3">
            <a:extLst>
              <a:ext uri="{FF2B5EF4-FFF2-40B4-BE49-F238E27FC236}">
                <a16:creationId xmlns:a16="http://schemas.microsoft.com/office/drawing/2014/main" id="{918389EF-8958-AA48-B23D-A8082E0D8EAF}"/>
              </a:ext>
            </a:extLst>
          </p:cNvPr>
          <p:cNvSpPr>
            <a:spLocks noGrp="1"/>
          </p:cNvSpPr>
          <p:nvPr>
            <p:ph type="pic" sz="quarter" idx="24" hasCustomPrompt="1"/>
          </p:nvPr>
        </p:nvSpPr>
        <p:spPr>
          <a:xfrm>
            <a:off x="8227308" y="1466404"/>
            <a:ext cx="3662174" cy="1947672"/>
          </a:xfrm>
          <a:prstGeom prst="rect">
            <a:avLst/>
          </a:prstGeom>
          <a:pattFill prst="pct5">
            <a:fgClr>
              <a:schemeClr val="bg1"/>
            </a:fgClr>
            <a:bgClr>
              <a:schemeClr val="bg2"/>
            </a:bgClr>
          </a:pattFill>
        </p:spPr>
        <p:txBody>
          <a:bodyPr anchor="ctr"/>
          <a:lstStyle>
            <a:lvl1pPr marL="0" indent="0" algn="ctr">
              <a:buNone/>
              <a:defRPr/>
            </a:lvl1pPr>
          </a:lstStyle>
          <a:p>
            <a:r>
              <a:rPr lang="en-US" dirty="0"/>
              <a:t>Add photo</a:t>
            </a:r>
          </a:p>
        </p:txBody>
      </p:sp>
      <p:grpSp>
        <p:nvGrpSpPr>
          <p:cNvPr id="16" name="Group 15">
            <a:extLst>
              <a:ext uri="{FF2B5EF4-FFF2-40B4-BE49-F238E27FC236}">
                <a16:creationId xmlns:a16="http://schemas.microsoft.com/office/drawing/2014/main" id="{954AA7D1-4A71-E04D-B394-33DE0DAB98E5}"/>
              </a:ext>
            </a:extLst>
          </p:cNvPr>
          <p:cNvGrpSpPr/>
          <p:nvPr userDrawn="1"/>
        </p:nvGrpSpPr>
        <p:grpSpPr>
          <a:xfrm>
            <a:off x="4114800" y="1474646"/>
            <a:ext cx="3968496" cy="4581107"/>
            <a:chOff x="4105421" y="1377388"/>
            <a:chExt cx="3964795" cy="2233914"/>
          </a:xfrm>
        </p:grpSpPr>
        <p:cxnSp>
          <p:nvCxnSpPr>
            <p:cNvPr id="20" name="Straight Connector 19">
              <a:extLst>
                <a:ext uri="{FF2B5EF4-FFF2-40B4-BE49-F238E27FC236}">
                  <a16:creationId xmlns:a16="http://schemas.microsoft.com/office/drawing/2014/main" id="{D653AB18-4CCB-094A-BBCE-63E28B9E9480}"/>
                </a:ext>
              </a:extLst>
            </p:cNvPr>
            <p:cNvCxnSpPr>
              <a:cxnSpLocks/>
            </p:cNvCxnSpPr>
            <p:nvPr/>
          </p:nvCxnSpPr>
          <p:spPr>
            <a:xfrm>
              <a:off x="4105421" y="1377388"/>
              <a:ext cx="0" cy="2233914"/>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629B770-7DAA-DE43-8441-3B367C83F5D4}"/>
                </a:ext>
              </a:extLst>
            </p:cNvPr>
            <p:cNvCxnSpPr>
              <a:cxnSpLocks/>
            </p:cNvCxnSpPr>
            <p:nvPr/>
          </p:nvCxnSpPr>
          <p:spPr>
            <a:xfrm>
              <a:off x="8070216" y="1377388"/>
              <a:ext cx="0" cy="2233914"/>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81551518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 column with full width image">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558D3FC8-B671-4D4F-A345-B5E3B9CB827C}"/>
              </a:ext>
            </a:extLst>
          </p:cNvPr>
          <p:cNvSpPr>
            <a:spLocks noGrp="1"/>
          </p:cNvSpPr>
          <p:nvPr>
            <p:ph type="pic" sz="quarter" idx="13" hasCustomPrompt="1"/>
          </p:nvPr>
        </p:nvSpPr>
        <p:spPr>
          <a:xfrm>
            <a:off x="-1" y="4083050"/>
            <a:ext cx="12191999" cy="2774950"/>
          </a:xfrm>
          <a:prstGeom prst="rect">
            <a:avLst/>
          </a:prstGeom>
          <a:pattFill prst="pct5">
            <a:fgClr>
              <a:schemeClr val="bg1"/>
            </a:fgClr>
            <a:bgClr>
              <a:schemeClr val="bg2"/>
            </a:bgClr>
          </a:pattFill>
        </p:spPr>
        <p:txBody>
          <a:bodyPr vert="horz" wrap="square" lIns="0" tIns="0" rIns="0" bIns="0" rtlCol="0" anchor="ctr">
            <a:noAutofit/>
          </a:bodyPr>
          <a:lstStyle>
            <a:lvl1pPr marL="0" marR="0" indent="0" algn="ctr" defTabSz="914400" rtl="0" eaLnBrk="1" fontAlgn="auto" latinLnBrk="0" hangingPunct="1">
              <a:lnSpc>
                <a:spcPct val="120000"/>
              </a:lnSpc>
              <a:spcBef>
                <a:spcPts val="600"/>
              </a:spcBef>
              <a:spcAft>
                <a:spcPts val="0"/>
              </a:spcAft>
              <a:buClrTx/>
              <a:buSzTx/>
              <a:buFontTx/>
              <a:buNone/>
              <a:tabLst/>
              <a:defRPr lang="en-US" sz="1400">
                <a:solidFill>
                  <a:schemeClr val="tx1"/>
                </a:solidFill>
              </a:defRPr>
            </a:lvl1pPr>
          </a:lstStyle>
          <a:p>
            <a:pPr marL="411480" marR="0" lvl="0" indent="-411480" algn="ctr" defTabSz="914400" rtl="0" eaLnBrk="1" fontAlgn="auto" latinLnBrk="0" hangingPunct="1">
              <a:lnSpc>
                <a:spcPct val="120000"/>
              </a:lnSpc>
              <a:spcBef>
                <a:spcPts val="600"/>
              </a:spcBef>
              <a:spcAft>
                <a:spcPts val="0"/>
              </a:spcAft>
              <a:buClrTx/>
              <a:buSzTx/>
              <a:buFontTx/>
              <a:buNone/>
              <a:tabLst/>
              <a:defRPr/>
            </a:pPr>
            <a:r>
              <a:rPr lang="en-US" dirty="0"/>
              <a:t>Add photo</a:t>
            </a:r>
          </a:p>
        </p:txBody>
      </p:sp>
      <p:sp>
        <p:nvSpPr>
          <p:cNvPr id="11" name="Title 10">
            <a:extLst>
              <a:ext uri="{FF2B5EF4-FFF2-40B4-BE49-F238E27FC236}">
                <a16:creationId xmlns:a16="http://schemas.microsoft.com/office/drawing/2014/main" id="{06EA3E0F-6952-8B44-89C5-3A7230D81F97}"/>
              </a:ext>
            </a:extLst>
          </p:cNvPr>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6" name="Slide Number Placeholder 2">
            <a:extLst>
              <a:ext uri="{FF2B5EF4-FFF2-40B4-BE49-F238E27FC236}">
                <a16:creationId xmlns:a16="http://schemas.microsoft.com/office/drawing/2014/main" id="{5DFF6035-90FF-3D47-AC34-F7AD5C37C983}"/>
              </a:ext>
            </a:extLst>
          </p:cNvPr>
          <p:cNvSpPr>
            <a:spLocks noGrp="1"/>
          </p:cNvSpPr>
          <p:nvPr>
            <p:ph type="sldNum" sz="quarter" idx="10"/>
          </p:nvPr>
        </p:nvSpPr>
        <p:spPr>
          <a:xfrm>
            <a:off x="1" y="6553200"/>
            <a:ext cx="304799" cy="304799"/>
          </a:xfrm>
        </p:spPr>
        <p:txBody>
          <a:bodyPr/>
          <a:lstStyle>
            <a:lvl1pPr>
              <a:defRPr>
                <a:solidFill>
                  <a:schemeClr val="bg1"/>
                </a:solidFill>
              </a:defRPr>
            </a:lvl1pPr>
          </a:lstStyle>
          <a:p>
            <a:fld id="{89006F1E-66CD-4A4B-9370-B4A3080F0E6C}" type="slidenum">
              <a:rPr lang="en-US" smtClean="0"/>
              <a:pPr/>
              <a:t>‹#›</a:t>
            </a:fld>
            <a:endParaRPr lang="en-US" dirty="0"/>
          </a:p>
        </p:txBody>
      </p:sp>
      <p:sp>
        <p:nvSpPr>
          <p:cNvPr id="7" name="Footer Placeholder 1">
            <a:extLst>
              <a:ext uri="{FF2B5EF4-FFF2-40B4-BE49-F238E27FC236}">
                <a16:creationId xmlns:a16="http://schemas.microsoft.com/office/drawing/2014/main" id="{9089E539-E9D2-AE4B-B72F-91FBD9A90964}"/>
              </a:ext>
            </a:extLst>
          </p:cNvPr>
          <p:cNvSpPr>
            <a:spLocks noGrp="1"/>
          </p:cNvSpPr>
          <p:nvPr>
            <p:ph type="ftr" sz="quarter" idx="14"/>
          </p:nvPr>
        </p:nvSpPr>
        <p:spPr>
          <a:xfrm>
            <a:off x="304799" y="6553201"/>
            <a:ext cx="7620001" cy="304800"/>
          </a:xfrm>
          <a:prstGeom prst="rect">
            <a:avLst/>
          </a:prstGeom>
        </p:spPr>
        <p:txBody>
          <a:bodyPr/>
          <a:lstStyle>
            <a:lvl1pPr>
              <a:defRPr>
                <a:solidFill>
                  <a:schemeClr val="bg1"/>
                </a:solidFill>
              </a:defRPr>
            </a:lvl1pPr>
          </a:lstStyle>
          <a:p>
            <a:endParaRPr lang="en-US" dirty="0">
              <a:ea typeface="MS PGothic" panose="020B0600070205080204" pitchFamily="34" charset="-128"/>
            </a:endParaRPr>
          </a:p>
        </p:txBody>
      </p:sp>
      <p:sp>
        <p:nvSpPr>
          <p:cNvPr id="8" name="Text Placeholder 7">
            <a:extLst>
              <a:ext uri="{FF2B5EF4-FFF2-40B4-BE49-F238E27FC236}">
                <a16:creationId xmlns:a16="http://schemas.microsoft.com/office/drawing/2014/main" id="{E5AA936C-79E4-0048-8C63-B027C15A3EF6}"/>
              </a:ext>
            </a:extLst>
          </p:cNvPr>
          <p:cNvSpPr>
            <a:spLocks noGrp="1"/>
          </p:cNvSpPr>
          <p:nvPr>
            <p:ph type="body" sz="quarter" idx="11" hasCustomPrompt="1"/>
          </p:nvPr>
        </p:nvSpPr>
        <p:spPr>
          <a:xfrm>
            <a:off x="300226" y="893063"/>
            <a:ext cx="11591547" cy="381001"/>
          </a:xfrm>
          <a:prstGeom prst="rect">
            <a:avLst/>
          </a:prstGeom>
        </p:spPr>
        <p:txBody>
          <a:bodyPr lIns="0" tIns="0" rIns="0" bIns="0" anchor="t">
            <a:noAutofit/>
          </a:bodyPr>
          <a:lstStyle>
            <a:lvl1pPr marL="0" indent="0">
              <a:buNone/>
              <a:defRPr sz="2000">
                <a:solidFill>
                  <a:schemeClr val="tx1"/>
                </a:solidFill>
              </a:defRPr>
            </a:lvl1pPr>
          </a:lstStyle>
          <a:p>
            <a:pPr lvl="0"/>
            <a:r>
              <a:rPr lang="en-US" dirty="0"/>
              <a:t>Click to add </a:t>
            </a:r>
            <a:r>
              <a:rPr lang="en-US" dirty="0" err="1"/>
              <a:t>subheader</a:t>
            </a:r>
            <a:endParaRPr lang="en-US" dirty="0"/>
          </a:p>
        </p:txBody>
      </p:sp>
      <p:sp>
        <p:nvSpPr>
          <p:cNvPr id="9" name="Content Placeholder 3">
            <a:extLst>
              <a:ext uri="{FF2B5EF4-FFF2-40B4-BE49-F238E27FC236}">
                <a16:creationId xmlns:a16="http://schemas.microsoft.com/office/drawing/2014/main" id="{EFA71095-3F77-7F45-9E43-E80587323ACE}"/>
              </a:ext>
            </a:extLst>
          </p:cNvPr>
          <p:cNvSpPr>
            <a:spLocks noGrp="1"/>
          </p:cNvSpPr>
          <p:nvPr>
            <p:ph sz="quarter" idx="18"/>
          </p:nvPr>
        </p:nvSpPr>
        <p:spPr>
          <a:xfrm>
            <a:off x="304800" y="1447800"/>
            <a:ext cx="3657600" cy="2334768"/>
          </a:xfrm>
          <a:prstGeom prst="rect">
            <a:avLst/>
          </a:prstGeom>
        </p:spPr>
        <p:txBody>
          <a:bodyPr vert="horz" lIns="0" tIns="0" rIns="0" bIns="0" rtlCol="0">
            <a:normAutofit/>
          </a:bodyPr>
          <a:lstStyle>
            <a:lvl1pPr marL="342900" indent="-342900">
              <a:buFont typeface="Arial" panose="020B0604020202020204" pitchFamily="34" charset="0"/>
              <a:buChar char="•"/>
              <a:defRPr lang="en-US" dirty="0" smtClean="0"/>
            </a:lvl1pPr>
            <a:lvl2pPr marL="520700" indent="-285750">
              <a:buFont typeface="Arial" panose="020B0604020202020204" pitchFamily="34" charset="0"/>
              <a:buChar char="•"/>
              <a:defRPr lang="en-US" dirty="0" smtClean="0"/>
            </a:lvl2pPr>
            <a:lvl3pPr marL="749300" indent="-285750">
              <a:buFont typeface="Arial" panose="020B0604020202020204" pitchFamily="34" charset="0"/>
              <a:buChar char="•"/>
              <a:defRPr lang="en-US" dirty="0" smtClean="0"/>
            </a:lvl3pPr>
            <a:lvl4pPr marL="862013" indent="-171450">
              <a:buFont typeface="Arial" panose="020B0604020202020204" pitchFamily="34" charset="0"/>
              <a:buChar char="•"/>
              <a:defRPr lang="en-US" dirty="0" smtClean="0"/>
            </a:lvl4pPr>
            <a:lvl5pPr marL="1093787" indent="-171450">
              <a:buFont typeface="Arial" panose="020B0604020202020204" pitchFamily="34" charset="0"/>
              <a:buChar cha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3">
            <a:extLst>
              <a:ext uri="{FF2B5EF4-FFF2-40B4-BE49-F238E27FC236}">
                <a16:creationId xmlns:a16="http://schemas.microsoft.com/office/drawing/2014/main" id="{B8762543-398C-384C-8B6E-8572E8FDC8D3}"/>
              </a:ext>
            </a:extLst>
          </p:cNvPr>
          <p:cNvSpPr>
            <a:spLocks noGrp="1"/>
          </p:cNvSpPr>
          <p:nvPr>
            <p:ph sz="quarter" idx="19"/>
          </p:nvPr>
        </p:nvSpPr>
        <p:spPr>
          <a:xfrm>
            <a:off x="4267201" y="1447800"/>
            <a:ext cx="3657600" cy="2334768"/>
          </a:xfrm>
          <a:prstGeom prst="rect">
            <a:avLst/>
          </a:prstGeom>
        </p:spPr>
        <p:txBody>
          <a:bodyPr vert="horz" lIns="0" tIns="0" rIns="0" bIns="0" rtlCol="0">
            <a:normAutofit/>
          </a:bodyPr>
          <a:lstStyle>
            <a:lvl1pPr marL="342900" indent="-342900">
              <a:buFont typeface="Arial" panose="020B0604020202020204" pitchFamily="34" charset="0"/>
              <a:buChar char="•"/>
              <a:defRPr lang="en-US" dirty="0" smtClean="0"/>
            </a:lvl1pPr>
            <a:lvl2pPr marL="520700" indent="-285750">
              <a:buFont typeface="Arial" panose="020B0604020202020204" pitchFamily="34" charset="0"/>
              <a:buChar char="•"/>
              <a:defRPr lang="en-US" dirty="0" smtClean="0"/>
            </a:lvl2pPr>
            <a:lvl3pPr marL="749300" indent="-285750">
              <a:buFont typeface="Arial" panose="020B0604020202020204" pitchFamily="34" charset="0"/>
              <a:buChar char="•"/>
              <a:defRPr lang="en-US" dirty="0" smtClean="0"/>
            </a:lvl3pPr>
            <a:lvl4pPr marL="862013" indent="-171450">
              <a:buFont typeface="Arial" panose="020B0604020202020204" pitchFamily="34" charset="0"/>
              <a:buChar char="•"/>
              <a:defRPr lang="en-US" dirty="0" smtClean="0"/>
            </a:lvl4pPr>
            <a:lvl5pPr marL="1093787" indent="-171450">
              <a:buFont typeface="Arial" panose="020B0604020202020204" pitchFamily="34" charset="0"/>
              <a:buChar cha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3">
            <a:extLst>
              <a:ext uri="{FF2B5EF4-FFF2-40B4-BE49-F238E27FC236}">
                <a16:creationId xmlns:a16="http://schemas.microsoft.com/office/drawing/2014/main" id="{C8CD3A37-ECA5-0F43-995E-663D6AC132E5}"/>
              </a:ext>
            </a:extLst>
          </p:cNvPr>
          <p:cNvSpPr>
            <a:spLocks noGrp="1"/>
          </p:cNvSpPr>
          <p:nvPr>
            <p:ph sz="quarter" idx="21"/>
          </p:nvPr>
        </p:nvSpPr>
        <p:spPr>
          <a:xfrm>
            <a:off x="8229594" y="1447800"/>
            <a:ext cx="3657603" cy="2334768"/>
          </a:xfrm>
          <a:prstGeom prst="rect">
            <a:avLst/>
          </a:prstGeom>
        </p:spPr>
        <p:txBody>
          <a:bodyPr vert="horz" lIns="0" tIns="0" rIns="0" bIns="0" rtlCol="0">
            <a:normAutofit/>
          </a:bodyPr>
          <a:lstStyle>
            <a:lvl1pPr marL="342900" indent="-342900">
              <a:buFont typeface="Arial" panose="020B0604020202020204" pitchFamily="34" charset="0"/>
              <a:buChar char="•"/>
              <a:defRPr lang="en-US" dirty="0" smtClean="0"/>
            </a:lvl1pPr>
            <a:lvl2pPr marL="520700" indent="-285750">
              <a:buFont typeface="Arial" panose="020B0604020202020204" pitchFamily="34" charset="0"/>
              <a:buChar char="•"/>
              <a:defRPr lang="en-US" dirty="0" smtClean="0"/>
            </a:lvl2pPr>
            <a:lvl3pPr marL="749300" indent="-285750">
              <a:buFont typeface="Arial" panose="020B0604020202020204" pitchFamily="34" charset="0"/>
              <a:buChar char="•"/>
              <a:defRPr lang="en-US" dirty="0" smtClean="0"/>
            </a:lvl3pPr>
            <a:lvl4pPr marL="862013" indent="-171450">
              <a:buFont typeface="Arial" panose="020B0604020202020204" pitchFamily="34" charset="0"/>
              <a:buChar char="•"/>
              <a:defRPr lang="en-US" dirty="0" smtClean="0"/>
            </a:lvl4pPr>
            <a:lvl5pPr marL="1093787" indent="-171450">
              <a:buFont typeface="Arial" panose="020B0604020202020204" pitchFamily="34" charset="0"/>
              <a:buChar cha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071119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image">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6AE08B2E-D136-8942-AB0C-32CBAFB45A4D}"/>
              </a:ext>
            </a:extLst>
          </p:cNvPr>
          <p:cNvSpPr>
            <a:spLocks noGrp="1"/>
          </p:cNvSpPr>
          <p:nvPr>
            <p:ph type="pic" sz="quarter" idx="11" hasCustomPrompt="1"/>
          </p:nvPr>
        </p:nvSpPr>
        <p:spPr>
          <a:xfrm>
            <a:off x="5560460" y="0"/>
            <a:ext cx="6631541" cy="6858000"/>
          </a:xfrm>
          <a:custGeom>
            <a:avLst/>
            <a:gdLst>
              <a:gd name="connsiteX0" fmla="*/ 4761301 w 6631541"/>
              <a:gd name="connsiteY0" fmla="*/ 1 h 6858000"/>
              <a:gd name="connsiteX1" fmla="*/ 4761301 w 6631541"/>
              <a:gd name="connsiteY1" fmla="*/ 673805 h 6858000"/>
              <a:gd name="connsiteX2" fmla="*/ 6326740 w 6631541"/>
              <a:gd name="connsiteY2" fmla="*/ 673805 h 6858000"/>
              <a:gd name="connsiteX3" fmla="*/ 6326740 w 6631541"/>
              <a:gd name="connsiteY3" fmla="*/ 1 h 6858000"/>
              <a:gd name="connsiteX4" fmla="*/ 2183862 w 6631541"/>
              <a:gd name="connsiteY4" fmla="*/ 0 h 6858000"/>
              <a:gd name="connsiteX5" fmla="*/ 6631541 w 6631541"/>
              <a:gd name="connsiteY5" fmla="*/ 0 h 6858000"/>
              <a:gd name="connsiteX6" fmla="*/ 6631541 w 6631541"/>
              <a:gd name="connsiteY6" fmla="*/ 6858000 h 6858000"/>
              <a:gd name="connsiteX7" fmla="*/ 0 w 6631541"/>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31541" h="6858000">
                <a:moveTo>
                  <a:pt x="4761301" y="1"/>
                </a:moveTo>
                <a:lnTo>
                  <a:pt x="4761301" y="673805"/>
                </a:lnTo>
                <a:lnTo>
                  <a:pt x="6326740" y="673805"/>
                </a:lnTo>
                <a:lnTo>
                  <a:pt x="6326740" y="1"/>
                </a:lnTo>
                <a:close/>
                <a:moveTo>
                  <a:pt x="2183862" y="0"/>
                </a:moveTo>
                <a:lnTo>
                  <a:pt x="6631541" y="0"/>
                </a:lnTo>
                <a:lnTo>
                  <a:pt x="6631541" y="6858000"/>
                </a:lnTo>
                <a:lnTo>
                  <a:pt x="0" y="6858000"/>
                </a:lnTo>
                <a:close/>
              </a:path>
            </a:pathLst>
          </a:custGeom>
          <a:pattFill prst="pct5">
            <a:fgClr>
              <a:schemeClr val="bg1"/>
            </a:fgClr>
            <a:bgClr>
              <a:schemeClr val="bg2"/>
            </a:bgClr>
          </a:pattFill>
        </p:spPr>
        <p:txBody>
          <a:bodyPr vert="horz" wrap="square" lIns="0" tIns="0" rIns="0" bIns="0" rtlCol="0" anchor="ctr">
            <a:noAutofit/>
          </a:bodyPr>
          <a:lstStyle>
            <a:lvl1pPr marL="0" indent="0" algn="ctr">
              <a:buFontTx/>
              <a:buNone/>
              <a:defRPr lang="en-US" sz="1050" dirty="0"/>
            </a:lvl1pPr>
          </a:lstStyle>
          <a:p>
            <a:pPr marR="0" lvl="0" algn="ctr" fontAlgn="auto">
              <a:spcAft>
                <a:spcPts val="0"/>
              </a:spcAft>
              <a:buClrTx/>
              <a:buSzTx/>
              <a:buNone/>
              <a:tabLst/>
            </a:pPr>
            <a:r>
              <a:rPr lang="en-US"/>
              <a:t>Add photo</a:t>
            </a:r>
          </a:p>
        </p:txBody>
      </p:sp>
      <p:sp>
        <p:nvSpPr>
          <p:cNvPr id="12" name="Slide Number Placeholder 11">
            <a:extLst>
              <a:ext uri="{FF2B5EF4-FFF2-40B4-BE49-F238E27FC236}">
                <a16:creationId xmlns:a16="http://schemas.microsoft.com/office/drawing/2014/main" id="{47161BDA-83E9-E143-BE27-DC11E94DC4B5}"/>
              </a:ext>
            </a:extLst>
          </p:cNvPr>
          <p:cNvSpPr>
            <a:spLocks noGrp="1"/>
          </p:cNvSpPr>
          <p:nvPr>
            <p:ph type="sldNum" sz="quarter" idx="10"/>
          </p:nvPr>
        </p:nvSpPr>
        <p:spPr/>
        <p:txBody>
          <a:bodyPr lIns="0" tIns="0" rIns="0" bIns="0"/>
          <a:lstStyle/>
          <a:p>
            <a:fld id="{89006F1E-66CD-4A4B-9370-B4A3080F0E6C}" type="slidenum">
              <a:rPr lang="en-US" smtClean="0"/>
              <a:pPr/>
              <a:t>‹#›</a:t>
            </a:fld>
            <a:endParaRPr lang="en-US"/>
          </a:p>
        </p:txBody>
      </p:sp>
      <p:sp>
        <p:nvSpPr>
          <p:cNvPr id="17" name="Title 16">
            <a:extLst>
              <a:ext uri="{FF2B5EF4-FFF2-40B4-BE49-F238E27FC236}">
                <a16:creationId xmlns:a16="http://schemas.microsoft.com/office/drawing/2014/main" id="{FB477BD4-B3C4-0245-87E7-210A11A609FB}"/>
              </a:ext>
            </a:extLst>
          </p:cNvPr>
          <p:cNvSpPr>
            <a:spLocks noGrp="1"/>
          </p:cNvSpPr>
          <p:nvPr>
            <p:ph type="title"/>
          </p:nvPr>
        </p:nvSpPr>
        <p:spPr/>
        <p:txBody>
          <a:bodyPr/>
          <a:lstStyle/>
          <a:p>
            <a:r>
              <a:rPr lang="en-US"/>
              <a:t>Click to edit Master title style</a:t>
            </a:r>
          </a:p>
        </p:txBody>
      </p:sp>
      <p:sp>
        <p:nvSpPr>
          <p:cNvPr id="2" name="Footer Placeholder 1">
            <a:extLst>
              <a:ext uri="{FF2B5EF4-FFF2-40B4-BE49-F238E27FC236}">
                <a16:creationId xmlns:a16="http://schemas.microsoft.com/office/drawing/2014/main" id="{A45E3DEE-D37C-1D48-B059-905D05A3A480}"/>
              </a:ext>
            </a:extLst>
          </p:cNvPr>
          <p:cNvSpPr>
            <a:spLocks noGrp="1"/>
          </p:cNvSpPr>
          <p:nvPr>
            <p:ph type="ftr" sz="quarter" idx="12"/>
          </p:nvPr>
        </p:nvSpPr>
        <p:spPr>
          <a:xfrm>
            <a:off x="304802" y="6553201"/>
            <a:ext cx="3657601" cy="304800"/>
          </a:xfrm>
          <a:prstGeom prst="rect">
            <a:avLst/>
          </a:prstGeom>
        </p:spPr>
        <p:txBody>
          <a:bodyPr/>
          <a:lstStyle>
            <a:lvl1pPr>
              <a:defRPr>
                <a:solidFill>
                  <a:schemeClr val="accent5"/>
                </a:solidFill>
              </a:defRPr>
            </a:lvl1pPr>
          </a:lstStyle>
          <a:p>
            <a:r>
              <a:rPr lang="en-US">
                <a:ea typeface="MS PGothic" panose="020B0600070205080204" pitchFamily="34" charset="-128"/>
              </a:rPr>
              <a:t>Proprietary &amp; Confidential |  authoremail@thermofisher.com | 5-August-2020</a:t>
            </a:r>
          </a:p>
        </p:txBody>
      </p:sp>
      <p:sp>
        <p:nvSpPr>
          <p:cNvPr id="8" name="Content Placeholder 3">
            <a:extLst>
              <a:ext uri="{FF2B5EF4-FFF2-40B4-BE49-F238E27FC236}">
                <a16:creationId xmlns:a16="http://schemas.microsoft.com/office/drawing/2014/main" id="{E78B1B2E-3D55-0E40-BE78-DE19E0E78115}"/>
              </a:ext>
            </a:extLst>
          </p:cNvPr>
          <p:cNvSpPr>
            <a:spLocks noGrp="1"/>
          </p:cNvSpPr>
          <p:nvPr>
            <p:ph sz="quarter" idx="14"/>
          </p:nvPr>
        </p:nvSpPr>
        <p:spPr>
          <a:xfrm>
            <a:off x="304801" y="1447801"/>
            <a:ext cx="5791200" cy="4607954"/>
          </a:xfrm>
          <a:prstGeom prst="rect">
            <a:avLst/>
          </a:prstGeom>
        </p:spPr>
        <p:txBody>
          <a:bodyPr vert="horz" lIns="0" tIns="0" rIns="0" bIns="0" rtlCol="0" anchor="ctr" anchorCtr="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a:extLst>
              <a:ext uri="{FF2B5EF4-FFF2-40B4-BE49-F238E27FC236}">
                <a16:creationId xmlns:a16="http://schemas.microsoft.com/office/drawing/2014/main" id="{913AD51C-A540-614E-BCCA-04DD383D383F}"/>
              </a:ext>
            </a:extLst>
          </p:cNvPr>
          <p:cNvSpPr>
            <a:spLocks noGrp="1"/>
          </p:cNvSpPr>
          <p:nvPr>
            <p:ph type="body" sz="quarter" idx="15" hasCustomPrompt="1"/>
          </p:nvPr>
        </p:nvSpPr>
        <p:spPr>
          <a:xfrm>
            <a:off x="304797" y="6055756"/>
            <a:ext cx="5255663" cy="489204"/>
          </a:xfrm>
          <a:prstGeom prst="rect">
            <a:avLst/>
          </a:prstGeom>
        </p:spPr>
        <p:txBody>
          <a:bodyPr anchor="b">
            <a:normAutofit/>
          </a:bodyPr>
          <a:lstStyle>
            <a:lvl1pPr marL="0" indent="0">
              <a:spcBef>
                <a:spcPts val="75"/>
              </a:spcBef>
              <a:buNone/>
              <a:defRPr sz="750">
                <a:solidFill>
                  <a:schemeClr val="accent5"/>
                </a:solidFill>
              </a:defRPr>
            </a:lvl1pPr>
          </a:lstStyle>
          <a:p>
            <a:pPr lvl="0"/>
            <a:r>
              <a:rPr lang="en-US"/>
              <a:t>Source notes</a:t>
            </a:r>
          </a:p>
        </p:txBody>
      </p:sp>
      <p:sp>
        <p:nvSpPr>
          <p:cNvPr id="10" name="Text Placeholder 7">
            <a:extLst>
              <a:ext uri="{FF2B5EF4-FFF2-40B4-BE49-F238E27FC236}">
                <a16:creationId xmlns:a16="http://schemas.microsoft.com/office/drawing/2014/main" id="{C408A322-1049-7D40-BE0C-3E8E57A90330}"/>
              </a:ext>
            </a:extLst>
          </p:cNvPr>
          <p:cNvSpPr>
            <a:spLocks noGrp="1"/>
          </p:cNvSpPr>
          <p:nvPr>
            <p:ph type="body" sz="quarter" idx="16" hasCustomPrompt="1"/>
          </p:nvPr>
        </p:nvSpPr>
        <p:spPr>
          <a:xfrm>
            <a:off x="300227" y="893065"/>
            <a:ext cx="11591546" cy="381001"/>
          </a:xfrm>
          <a:prstGeom prst="rect">
            <a:avLst/>
          </a:prstGeom>
        </p:spPr>
        <p:txBody>
          <a:bodyPr lIns="0" tIns="0" rIns="0" bIns="0" anchor="t">
            <a:noAutofit/>
          </a:bodyPr>
          <a:lstStyle>
            <a:lvl1pPr marL="0" indent="0">
              <a:buNone/>
              <a:defRPr sz="1500">
                <a:solidFill>
                  <a:schemeClr val="tx1"/>
                </a:solidFill>
              </a:defRPr>
            </a:lvl1pPr>
          </a:lstStyle>
          <a:p>
            <a:pPr lvl="0"/>
            <a:r>
              <a:rPr lang="en-US"/>
              <a:t>Click to add </a:t>
            </a:r>
            <a:r>
              <a:rPr lang="en-US" err="1"/>
              <a:t>subheader</a:t>
            </a:r>
            <a:endParaRPr lang="en-US"/>
          </a:p>
        </p:txBody>
      </p:sp>
    </p:spTree>
    <p:extLst>
      <p:ext uri="{BB962C8B-B14F-4D97-AF65-F5344CB8AC3E}">
        <p14:creationId xmlns:p14="http://schemas.microsoft.com/office/powerpoint/2010/main" val="1177941211"/>
      </p:ext>
    </p:extLst>
  </p:cSld>
  <p:clrMapOvr>
    <a:masterClrMapping/>
  </p:clrMapOvr>
  <p:extLst>
    <p:ext uri="{DCECCB84-F9BA-43D5-87BE-67443E8EF086}">
      <p15:sldGuideLst xmlns:p15="http://schemas.microsoft.com/office/powerpoint/2012/main">
        <p15:guide id="1" pos="192">
          <p15:clr>
            <a:srgbClr val="CCCCCC"/>
          </p15:clr>
        </p15:guide>
        <p15:guide id="2" pos="7488">
          <p15:clr>
            <a:srgbClr val="CCCCCC"/>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Section divider with photo">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FE7B338-1383-7843-9E8D-F295A0DFF59D}"/>
              </a:ext>
            </a:extLst>
          </p:cNvPr>
          <p:cNvSpPr>
            <a:spLocks noGrp="1"/>
          </p:cNvSpPr>
          <p:nvPr>
            <p:ph type="pic" sz="quarter" idx="13" hasCustomPrompt="1"/>
          </p:nvPr>
        </p:nvSpPr>
        <p:spPr>
          <a:xfrm>
            <a:off x="-1" y="0"/>
            <a:ext cx="12191999" cy="6858000"/>
          </a:xfrm>
          <a:custGeom>
            <a:avLst/>
            <a:gdLst>
              <a:gd name="connsiteX0" fmla="*/ 0 w 12191999"/>
              <a:gd name="connsiteY0" fmla="*/ 0 h 6858000"/>
              <a:gd name="connsiteX1" fmla="*/ 10321761 w 12191999"/>
              <a:gd name="connsiteY1" fmla="*/ 0 h 6858000"/>
              <a:gd name="connsiteX2" fmla="*/ 10321761 w 12191999"/>
              <a:gd name="connsiteY2" fmla="*/ 673804 h 6858000"/>
              <a:gd name="connsiteX3" fmla="*/ 11887200 w 12191999"/>
              <a:gd name="connsiteY3" fmla="*/ 673804 h 6858000"/>
              <a:gd name="connsiteX4" fmla="*/ 11887200 w 12191999"/>
              <a:gd name="connsiteY4" fmla="*/ 0 h 6858000"/>
              <a:gd name="connsiteX5" fmla="*/ 12191999 w 12191999"/>
              <a:gd name="connsiteY5" fmla="*/ 0 h 6858000"/>
              <a:gd name="connsiteX6" fmla="*/ 12191999 w 12191999"/>
              <a:gd name="connsiteY6" fmla="*/ 6858000 h 6858000"/>
              <a:gd name="connsiteX7" fmla="*/ 0 w 12191999"/>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1999" h="6858000">
                <a:moveTo>
                  <a:pt x="0" y="0"/>
                </a:moveTo>
                <a:lnTo>
                  <a:pt x="10321761" y="0"/>
                </a:lnTo>
                <a:lnTo>
                  <a:pt x="10321761" y="673804"/>
                </a:lnTo>
                <a:lnTo>
                  <a:pt x="11887200" y="673804"/>
                </a:lnTo>
                <a:lnTo>
                  <a:pt x="11887200" y="0"/>
                </a:lnTo>
                <a:lnTo>
                  <a:pt x="12191999" y="0"/>
                </a:lnTo>
                <a:lnTo>
                  <a:pt x="12191999" y="6858000"/>
                </a:lnTo>
                <a:lnTo>
                  <a:pt x="0" y="6858000"/>
                </a:lnTo>
                <a:close/>
              </a:path>
            </a:pathLst>
          </a:custGeom>
          <a:pattFill prst="pct5">
            <a:fgClr>
              <a:schemeClr val="bg1"/>
            </a:fgClr>
            <a:bgClr>
              <a:schemeClr val="bg2"/>
            </a:bgClr>
          </a:pattFill>
        </p:spPr>
        <p:txBody>
          <a:bodyPr vert="horz" wrap="square" lIns="0" tIns="0" rIns="0" bIns="0" rtlCol="0" anchor="ctr">
            <a:noAutofit/>
          </a:bodyPr>
          <a:lstStyle>
            <a:lvl1pPr marL="0" indent="0" algn="ctr">
              <a:buFontTx/>
              <a:buNone/>
              <a:defRPr lang="en-US" sz="1400">
                <a:solidFill>
                  <a:schemeClr val="tx1"/>
                </a:solidFill>
              </a:defRPr>
            </a:lvl1pPr>
          </a:lstStyle>
          <a:p>
            <a:pPr lvl="0" algn="ctr">
              <a:buNone/>
            </a:pPr>
            <a:r>
              <a:rPr lang="en-US" dirty="0"/>
              <a:t>Add photo</a:t>
            </a:r>
          </a:p>
        </p:txBody>
      </p:sp>
      <p:sp>
        <p:nvSpPr>
          <p:cNvPr id="5" name="Slide Number Placeholder 2">
            <a:extLst>
              <a:ext uri="{FF2B5EF4-FFF2-40B4-BE49-F238E27FC236}">
                <a16:creationId xmlns:a16="http://schemas.microsoft.com/office/drawing/2014/main" id="{A634E9F6-D24E-5141-81EF-69349B9658EA}"/>
              </a:ext>
            </a:extLst>
          </p:cNvPr>
          <p:cNvSpPr>
            <a:spLocks noGrp="1"/>
          </p:cNvSpPr>
          <p:nvPr>
            <p:ph type="sldNum" sz="quarter" idx="10"/>
          </p:nvPr>
        </p:nvSpPr>
        <p:spPr>
          <a:xfrm>
            <a:off x="1" y="6553200"/>
            <a:ext cx="304799" cy="304799"/>
          </a:xfrm>
        </p:spPr>
        <p:txBody>
          <a:bodyPr/>
          <a:lstStyle>
            <a:lvl1pPr>
              <a:defRPr>
                <a:solidFill>
                  <a:schemeClr val="bg1"/>
                </a:solidFill>
              </a:defRPr>
            </a:lvl1pPr>
          </a:lstStyle>
          <a:p>
            <a:fld id="{89006F1E-66CD-4A4B-9370-B4A3080F0E6C}" type="slidenum">
              <a:rPr lang="en-US" smtClean="0"/>
              <a:pPr/>
              <a:t>‹#›</a:t>
            </a:fld>
            <a:endParaRPr lang="en-US" dirty="0"/>
          </a:p>
        </p:txBody>
      </p:sp>
      <p:sp>
        <p:nvSpPr>
          <p:cNvPr id="6" name="Footer Placeholder 1">
            <a:extLst>
              <a:ext uri="{FF2B5EF4-FFF2-40B4-BE49-F238E27FC236}">
                <a16:creationId xmlns:a16="http://schemas.microsoft.com/office/drawing/2014/main" id="{B41A9DDB-F5FB-5046-B179-F07475B09908}"/>
              </a:ext>
            </a:extLst>
          </p:cNvPr>
          <p:cNvSpPr>
            <a:spLocks noGrp="1"/>
          </p:cNvSpPr>
          <p:nvPr>
            <p:ph type="ftr" sz="quarter" idx="14"/>
          </p:nvPr>
        </p:nvSpPr>
        <p:spPr>
          <a:xfrm>
            <a:off x="304799" y="6553201"/>
            <a:ext cx="7620001" cy="304800"/>
          </a:xfrm>
          <a:prstGeom prst="rect">
            <a:avLst/>
          </a:prstGeom>
        </p:spPr>
        <p:txBody>
          <a:bodyPr/>
          <a:lstStyle>
            <a:lvl1pPr>
              <a:defRPr>
                <a:solidFill>
                  <a:schemeClr val="bg1"/>
                </a:solidFill>
              </a:defRPr>
            </a:lvl1pPr>
          </a:lstStyle>
          <a:p>
            <a:endParaRPr lang="en-US" dirty="0">
              <a:ea typeface="MS PGothic" panose="020B0600070205080204" pitchFamily="34" charset="-128"/>
            </a:endParaRPr>
          </a:p>
        </p:txBody>
      </p:sp>
      <p:sp>
        <p:nvSpPr>
          <p:cNvPr id="8" name="Content Placeholder 2">
            <a:extLst>
              <a:ext uri="{FF2B5EF4-FFF2-40B4-BE49-F238E27FC236}">
                <a16:creationId xmlns:a16="http://schemas.microsoft.com/office/drawing/2014/main" id="{5DC4D9F1-5E1A-DD4A-946F-32414E026F44}"/>
              </a:ext>
            </a:extLst>
          </p:cNvPr>
          <p:cNvSpPr>
            <a:spLocks noGrp="1"/>
          </p:cNvSpPr>
          <p:nvPr>
            <p:ph sz="quarter" idx="15" hasCustomPrompt="1"/>
          </p:nvPr>
        </p:nvSpPr>
        <p:spPr>
          <a:xfrm>
            <a:off x="0" y="3742192"/>
            <a:ext cx="6096000" cy="1071062"/>
          </a:xfrm>
          <a:solidFill>
            <a:schemeClr val="bg1"/>
          </a:solidFill>
        </p:spPr>
        <p:txBody>
          <a:bodyPr wrap="square" lIns="292608" tIns="201168" rIns="292608" bIns="91440" anchor="b">
            <a:spAutoFit/>
          </a:bodyPr>
          <a:lstStyle>
            <a:lvl1pPr marL="0" indent="0">
              <a:lnSpc>
                <a:spcPct val="90000"/>
              </a:lnSpc>
              <a:buNone/>
              <a:defRPr sz="2800" b="1">
                <a:solidFill>
                  <a:schemeClr val="tx2"/>
                </a:solidFill>
              </a:defRPr>
            </a:lvl1pPr>
          </a:lstStyle>
          <a:p>
            <a:pPr lvl="0"/>
            <a:r>
              <a:rPr lang="en-US" dirty="0"/>
              <a:t>Section title with full photo background</a:t>
            </a:r>
          </a:p>
        </p:txBody>
      </p:sp>
      <p:sp>
        <p:nvSpPr>
          <p:cNvPr id="10" name="Content Placeholder 2">
            <a:extLst>
              <a:ext uri="{FF2B5EF4-FFF2-40B4-BE49-F238E27FC236}">
                <a16:creationId xmlns:a16="http://schemas.microsoft.com/office/drawing/2014/main" id="{15406226-911A-D441-8417-8C4961D7AEF2}"/>
              </a:ext>
            </a:extLst>
          </p:cNvPr>
          <p:cNvSpPr>
            <a:spLocks noGrp="1"/>
          </p:cNvSpPr>
          <p:nvPr>
            <p:ph sz="quarter" idx="16" hasCustomPrompt="1"/>
          </p:nvPr>
        </p:nvSpPr>
        <p:spPr>
          <a:xfrm>
            <a:off x="0" y="4813254"/>
            <a:ext cx="6096000" cy="630814"/>
          </a:xfrm>
          <a:solidFill>
            <a:schemeClr val="bg1"/>
          </a:solidFill>
        </p:spPr>
        <p:txBody>
          <a:bodyPr wrap="square" lIns="292608" tIns="91440" rIns="292608" bIns="201168" anchor="t">
            <a:spAutoFit/>
          </a:bodyPr>
          <a:lstStyle>
            <a:lvl1pPr marL="0" marR="0" indent="0" algn="l" defTabSz="914400" rtl="0" eaLnBrk="1" fontAlgn="auto" latinLnBrk="0" hangingPunct="1">
              <a:lnSpc>
                <a:spcPct val="100000"/>
              </a:lnSpc>
              <a:spcBef>
                <a:spcPts val="200"/>
              </a:spcBef>
              <a:spcAft>
                <a:spcPts val="0"/>
              </a:spcAft>
              <a:buClr>
                <a:schemeClr val="tx2"/>
              </a:buClr>
              <a:buSzPct val="100000"/>
              <a:buFont typeface="Arial" panose="020B0604020202020204" pitchFamily="34" charset="0"/>
              <a:buNone/>
              <a:tabLst/>
              <a:defRPr lang="en-US" sz="2000" b="0" kern="1200" dirty="0">
                <a:solidFill>
                  <a:schemeClr val="tx1"/>
                </a:solidFill>
                <a:latin typeface="+mn-lt"/>
                <a:ea typeface="+mn-ea"/>
                <a:cs typeface="+mn-cs"/>
              </a:defRPr>
            </a:lvl1pPr>
          </a:lstStyle>
          <a:p>
            <a:pPr marL="0" marR="0" lvl="0" indent="0" algn="l" defTabSz="914400" rtl="0" eaLnBrk="1" fontAlgn="auto" latinLnBrk="0" hangingPunct="1">
              <a:lnSpc>
                <a:spcPct val="120000"/>
              </a:lnSpc>
              <a:spcBef>
                <a:spcPts val="200"/>
              </a:spcBef>
              <a:spcAft>
                <a:spcPts val="0"/>
              </a:spcAft>
              <a:buClr>
                <a:schemeClr val="tx2"/>
              </a:buClr>
              <a:buSzPct val="100000"/>
              <a:buFont typeface="Arial" panose="020B0604020202020204" pitchFamily="34" charset="0"/>
              <a:buNone/>
              <a:tabLst/>
              <a:defRPr/>
            </a:pPr>
            <a:r>
              <a:rPr lang="en-US" dirty="0"/>
              <a:t>Sub title and or description of next section</a:t>
            </a:r>
          </a:p>
        </p:txBody>
      </p:sp>
    </p:spTree>
    <p:extLst>
      <p:ext uri="{BB962C8B-B14F-4D97-AF65-F5344CB8AC3E}">
        <p14:creationId xmlns:p14="http://schemas.microsoft.com/office/powerpoint/2010/main" val="83780645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Red background">
    <p:bg>
      <p:bgPr>
        <a:gradFill flip="none" rotWithShape="1">
          <a:gsLst>
            <a:gs pos="0">
              <a:schemeClr val="tx2"/>
            </a:gs>
            <a:gs pos="45000">
              <a:schemeClr val="tx2"/>
            </a:gs>
            <a:gs pos="100000">
              <a:schemeClr val="tx2">
                <a:lumMod val="50000"/>
              </a:schemeClr>
            </a:gs>
          </a:gsLst>
          <a:lin ang="1080000" scaled="0"/>
          <a:tileRect/>
        </a:gradFill>
        <a:effectLst/>
      </p:bgPr>
    </p:bg>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BD60394-6B49-3F40-ACB2-84420DAC9383}"/>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Slide Number Placeholder 2">
            <a:extLst>
              <a:ext uri="{FF2B5EF4-FFF2-40B4-BE49-F238E27FC236}">
                <a16:creationId xmlns:a16="http://schemas.microsoft.com/office/drawing/2014/main" id="{6D3BC3C2-2A41-544F-A0F8-7CFF39CCFFAC}"/>
              </a:ext>
            </a:extLst>
          </p:cNvPr>
          <p:cNvSpPr>
            <a:spLocks noGrp="1"/>
          </p:cNvSpPr>
          <p:nvPr>
            <p:ph type="sldNum" sz="quarter" idx="10"/>
          </p:nvPr>
        </p:nvSpPr>
        <p:spPr>
          <a:xfrm>
            <a:off x="1" y="6553200"/>
            <a:ext cx="304799" cy="304799"/>
          </a:xfrm>
        </p:spPr>
        <p:txBody>
          <a:bodyPr/>
          <a:lstStyle>
            <a:lvl1pPr>
              <a:defRPr>
                <a:solidFill>
                  <a:schemeClr val="bg1"/>
                </a:solidFill>
              </a:defRPr>
            </a:lvl1pPr>
          </a:lstStyle>
          <a:p>
            <a:fld id="{89006F1E-66CD-4A4B-9370-B4A3080F0E6C}" type="slidenum">
              <a:rPr lang="en-US" smtClean="0"/>
              <a:pPr/>
              <a:t>‹#›</a:t>
            </a:fld>
            <a:endParaRPr lang="en-US" dirty="0"/>
          </a:p>
        </p:txBody>
      </p:sp>
      <p:sp>
        <p:nvSpPr>
          <p:cNvPr id="5" name="Footer Placeholder 1">
            <a:extLst>
              <a:ext uri="{FF2B5EF4-FFF2-40B4-BE49-F238E27FC236}">
                <a16:creationId xmlns:a16="http://schemas.microsoft.com/office/drawing/2014/main" id="{9BCE1F3E-3D84-364B-BB1F-921E4AA1B217}"/>
              </a:ext>
            </a:extLst>
          </p:cNvPr>
          <p:cNvSpPr>
            <a:spLocks noGrp="1"/>
          </p:cNvSpPr>
          <p:nvPr>
            <p:ph type="ftr" sz="quarter" idx="14"/>
          </p:nvPr>
        </p:nvSpPr>
        <p:spPr>
          <a:xfrm>
            <a:off x="304799" y="6553201"/>
            <a:ext cx="7620001" cy="304800"/>
          </a:xfrm>
          <a:prstGeom prst="rect">
            <a:avLst/>
          </a:prstGeom>
        </p:spPr>
        <p:txBody>
          <a:bodyPr/>
          <a:lstStyle>
            <a:lvl1pPr>
              <a:defRPr>
                <a:solidFill>
                  <a:schemeClr val="bg1"/>
                </a:solidFill>
              </a:defRPr>
            </a:lvl1pPr>
          </a:lstStyle>
          <a:p>
            <a:endParaRPr lang="en-US" dirty="0">
              <a:ea typeface="MS PGothic" panose="020B0600070205080204" pitchFamily="34" charset="-128"/>
            </a:endParaRPr>
          </a:p>
        </p:txBody>
      </p:sp>
      <p:sp>
        <p:nvSpPr>
          <p:cNvPr id="6" name="Text Placeholder 7">
            <a:extLst>
              <a:ext uri="{FF2B5EF4-FFF2-40B4-BE49-F238E27FC236}">
                <a16:creationId xmlns:a16="http://schemas.microsoft.com/office/drawing/2014/main" id="{94199484-7909-9044-9003-EFED90CAC053}"/>
              </a:ext>
            </a:extLst>
          </p:cNvPr>
          <p:cNvSpPr>
            <a:spLocks noGrp="1"/>
          </p:cNvSpPr>
          <p:nvPr>
            <p:ph type="body" sz="quarter" idx="11" hasCustomPrompt="1"/>
          </p:nvPr>
        </p:nvSpPr>
        <p:spPr>
          <a:xfrm>
            <a:off x="300226" y="893063"/>
            <a:ext cx="11591547" cy="381001"/>
          </a:xfrm>
          <a:prstGeom prst="rect">
            <a:avLst/>
          </a:prstGeom>
        </p:spPr>
        <p:txBody>
          <a:bodyPr lIns="0" tIns="0" rIns="0" bIns="0" anchor="t">
            <a:noAutofit/>
          </a:bodyPr>
          <a:lstStyle>
            <a:lvl1pPr marL="0" indent="0">
              <a:buNone/>
              <a:defRPr sz="2000">
                <a:solidFill>
                  <a:schemeClr val="bg1"/>
                </a:solidFill>
              </a:defRPr>
            </a:lvl1pPr>
          </a:lstStyle>
          <a:p>
            <a:pPr lvl="0"/>
            <a:r>
              <a:rPr lang="en-US" dirty="0"/>
              <a:t>Click to add </a:t>
            </a:r>
            <a:r>
              <a:rPr lang="en-US" dirty="0" err="1"/>
              <a:t>subheader</a:t>
            </a:r>
            <a:endParaRPr lang="en-US" dirty="0"/>
          </a:p>
        </p:txBody>
      </p:sp>
    </p:spTree>
    <p:extLst>
      <p:ext uri="{BB962C8B-B14F-4D97-AF65-F5344CB8AC3E}">
        <p14:creationId xmlns:p14="http://schemas.microsoft.com/office/powerpoint/2010/main" val="192477408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resentation Bumper (Photo)">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FE7B338-1383-7843-9E8D-F295A0DFF59D}"/>
              </a:ext>
            </a:extLst>
          </p:cNvPr>
          <p:cNvSpPr>
            <a:spLocks noGrp="1"/>
          </p:cNvSpPr>
          <p:nvPr>
            <p:ph type="pic" sz="quarter" idx="13" hasCustomPrompt="1"/>
          </p:nvPr>
        </p:nvSpPr>
        <p:spPr>
          <a:xfrm>
            <a:off x="-1" y="0"/>
            <a:ext cx="12191999" cy="6858000"/>
          </a:xfrm>
          <a:custGeom>
            <a:avLst/>
            <a:gdLst>
              <a:gd name="connsiteX0" fmla="*/ 0 w 12191999"/>
              <a:gd name="connsiteY0" fmla="*/ 0 h 6858000"/>
              <a:gd name="connsiteX1" fmla="*/ 10321761 w 12191999"/>
              <a:gd name="connsiteY1" fmla="*/ 0 h 6858000"/>
              <a:gd name="connsiteX2" fmla="*/ 10321761 w 12191999"/>
              <a:gd name="connsiteY2" fmla="*/ 673804 h 6858000"/>
              <a:gd name="connsiteX3" fmla="*/ 11887200 w 12191999"/>
              <a:gd name="connsiteY3" fmla="*/ 673804 h 6858000"/>
              <a:gd name="connsiteX4" fmla="*/ 11887200 w 12191999"/>
              <a:gd name="connsiteY4" fmla="*/ 0 h 6858000"/>
              <a:gd name="connsiteX5" fmla="*/ 12191999 w 12191999"/>
              <a:gd name="connsiteY5" fmla="*/ 0 h 6858000"/>
              <a:gd name="connsiteX6" fmla="*/ 12191999 w 12191999"/>
              <a:gd name="connsiteY6" fmla="*/ 6858000 h 6858000"/>
              <a:gd name="connsiteX7" fmla="*/ 0 w 12191999"/>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1999" h="6858000">
                <a:moveTo>
                  <a:pt x="0" y="0"/>
                </a:moveTo>
                <a:lnTo>
                  <a:pt x="10321761" y="0"/>
                </a:lnTo>
                <a:lnTo>
                  <a:pt x="10321761" y="673804"/>
                </a:lnTo>
                <a:lnTo>
                  <a:pt x="11887200" y="673804"/>
                </a:lnTo>
                <a:lnTo>
                  <a:pt x="11887200" y="0"/>
                </a:lnTo>
                <a:lnTo>
                  <a:pt x="12191999" y="0"/>
                </a:lnTo>
                <a:lnTo>
                  <a:pt x="12191999" y="6858000"/>
                </a:lnTo>
                <a:lnTo>
                  <a:pt x="0" y="6858000"/>
                </a:lnTo>
                <a:close/>
              </a:path>
            </a:pathLst>
          </a:custGeom>
          <a:pattFill prst="pct5">
            <a:fgClr>
              <a:schemeClr val="bg1"/>
            </a:fgClr>
            <a:bgClr>
              <a:schemeClr val="bg2"/>
            </a:bgClr>
          </a:pattFill>
        </p:spPr>
        <p:txBody>
          <a:bodyPr vert="horz" wrap="square" lIns="0" tIns="0" rIns="0" bIns="0" rtlCol="0" anchor="ctr">
            <a:noAutofit/>
          </a:bodyPr>
          <a:lstStyle>
            <a:lvl1pPr marL="0" indent="0" algn="ctr">
              <a:buFontTx/>
              <a:buNone/>
              <a:defRPr lang="en-US" sz="1400">
                <a:solidFill>
                  <a:schemeClr val="tx1"/>
                </a:solidFill>
              </a:defRPr>
            </a:lvl1pPr>
          </a:lstStyle>
          <a:p>
            <a:pPr lvl="0" algn="ctr">
              <a:buNone/>
            </a:pPr>
            <a:r>
              <a:rPr lang="en-US" dirty="0"/>
              <a:t>Add photo</a:t>
            </a:r>
          </a:p>
        </p:txBody>
      </p:sp>
      <p:sp>
        <p:nvSpPr>
          <p:cNvPr id="5" name="Slide Number Placeholder 2">
            <a:extLst>
              <a:ext uri="{FF2B5EF4-FFF2-40B4-BE49-F238E27FC236}">
                <a16:creationId xmlns:a16="http://schemas.microsoft.com/office/drawing/2014/main" id="{A634E9F6-D24E-5141-81EF-69349B9658EA}"/>
              </a:ext>
            </a:extLst>
          </p:cNvPr>
          <p:cNvSpPr>
            <a:spLocks noGrp="1"/>
          </p:cNvSpPr>
          <p:nvPr>
            <p:ph type="sldNum" sz="quarter" idx="10"/>
          </p:nvPr>
        </p:nvSpPr>
        <p:spPr>
          <a:xfrm>
            <a:off x="1" y="6553200"/>
            <a:ext cx="304799" cy="304799"/>
          </a:xfrm>
        </p:spPr>
        <p:txBody>
          <a:bodyPr/>
          <a:lstStyle>
            <a:lvl1pPr>
              <a:defRPr>
                <a:solidFill>
                  <a:schemeClr val="bg1"/>
                </a:solidFill>
              </a:defRPr>
            </a:lvl1pPr>
          </a:lstStyle>
          <a:p>
            <a:fld id="{89006F1E-66CD-4A4B-9370-B4A3080F0E6C}" type="slidenum">
              <a:rPr lang="en-US" smtClean="0"/>
              <a:pPr/>
              <a:t>‹#›</a:t>
            </a:fld>
            <a:endParaRPr lang="en-US" dirty="0"/>
          </a:p>
        </p:txBody>
      </p:sp>
      <p:sp>
        <p:nvSpPr>
          <p:cNvPr id="6" name="Footer Placeholder 1">
            <a:extLst>
              <a:ext uri="{FF2B5EF4-FFF2-40B4-BE49-F238E27FC236}">
                <a16:creationId xmlns:a16="http://schemas.microsoft.com/office/drawing/2014/main" id="{B41A9DDB-F5FB-5046-B179-F07475B09908}"/>
              </a:ext>
            </a:extLst>
          </p:cNvPr>
          <p:cNvSpPr>
            <a:spLocks noGrp="1"/>
          </p:cNvSpPr>
          <p:nvPr>
            <p:ph type="ftr" sz="quarter" idx="14"/>
          </p:nvPr>
        </p:nvSpPr>
        <p:spPr>
          <a:xfrm>
            <a:off x="304799" y="6553201"/>
            <a:ext cx="7620001" cy="304800"/>
          </a:xfrm>
          <a:prstGeom prst="rect">
            <a:avLst/>
          </a:prstGeom>
        </p:spPr>
        <p:txBody>
          <a:bodyPr/>
          <a:lstStyle>
            <a:lvl1pPr>
              <a:defRPr>
                <a:solidFill>
                  <a:schemeClr val="bg1"/>
                </a:solidFill>
              </a:defRPr>
            </a:lvl1pPr>
          </a:lstStyle>
          <a:p>
            <a:endParaRPr lang="en-US" dirty="0">
              <a:ea typeface="MS PGothic" panose="020B0600070205080204" pitchFamily="34" charset="-128"/>
            </a:endParaRPr>
          </a:p>
        </p:txBody>
      </p:sp>
      <p:sp>
        <p:nvSpPr>
          <p:cNvPr id="11" name="Content Placeholder 4">
            <a:extLst>
              <a:ext uri="{FF2B5EF4-FFF2-40B4-BE49-F238E27FC236}">
                <a16:creationId xmlns:a16="http://schemas.microsoft.com/office/drawing/2014/main" id="{5E675396-361D-4C4F-961B-32575A28C59F}"/>
              </a:ext>
            </a:extLst>
          </p:cNvPr>
          <p:cNvSpPr>
            <a:spLocks noGrp="1"/>
          </p:cNvSpPr>
          <p:nvPr>
            <p:ph sz="quarter" idx="16" hasCustomPrompt="1"/>
          </p:nvPr>
        </p:nvSpPr>
        <p:spPr>
          <a:xfrm>
            <a:off x="318656" y="5268999"/>
            <a:ext cx="7691658" cy="489250"/>
          </a:xfrm>
        </p:spPr>
        <p:txBody>
          <a:bodyPr/>
          <a:lstStyle>
            <a:lvl1pPr marL="0" marR="0" indent="0" algn="l" defTabSz="914400" rtl="0" eaLnBrk="1" fontAlgn="auto" latinLnBrk="0" hangingPunct="1">
              <a:lnSpc>
                <a:spcPct val="120000"/>
              </a:lnSpc>
              <a:spcBef>
                <a:spcPts val="200"/>
              </a:spcBef>
              <a:spcAft>
                <a:spcPts val="0"/>
              </a:spcAft>
              <a:buClr>
                <a:schemeClr val="tx2"/>
              </a:buClr>
              <a:buSzPct val="100000"/>
              <a:buFont typeface="Arial" panose="020B0604020202020204" pitchFamily="34" charset="0"/>
              <a:buNone/>
              <a:tabLst/>
              <a:defRPr>
                <a:solidFill>
                  <a:schemeClr val="bg1"/>
                </a:solidFill>
              </a:defRPr>
            </a:lvl1pPr>
          </a:lstStyle>
          <a:p>
            <a:pPr marL="0" marR="0" lvl="0" indent="0" algn="l" defTabSz="914400" rtl="0" eaLnBrk="1" fontAlgn="auto" latinLnBrk="0" hangingPunct="1">
              <a:lnSpc>
                <a:spcPct val="120000"/>
              </a:lnSpc>
              <a:spcBef>
                <a:spcPts val="200"/>
              </a:spcBef>
              <a:spcAft>
                <a:spcPts val="0"/>
              </a:spcAft>
              <a:buClr>
                <a:schemeClr val="tx2"/>
              </a:buClr>
              <a:buSzPct val="100000"/>
              <a:buFont typeface="Arial" panose="020B0604020202020204" pitchFamily="34" charset="0"/>
              <a:buNone/>
              <a:tabLst/>
              <a:defRPr/>
            </a:pPr>
            <a:r>
              <a:rPr lang="en-US" sz="2000" b="0" dirty="0">
                <a:solidFill>
                  <a:schemeClr val="bg1"/>
                </a:solidFill>
              </a:rPr>
              <a:t>Custom message…</a:t>
            </a:r>
            <a:endParaRPr lang="en-US" sz="2000" dirty="0">
              <a:solidFill>
                <a:schemeClr val="bg1"/>
              </a:solidFill>
            </a:endParaRPr>
          </a:p>
        </p:txBody>
      </p:sp>
      <p:sp>
        <p:nvSpPr>
          <p:cNvPr id="3" name="Text Placeholder 2">
            <a:extLst>
              <a:ext uri="{FF2B5EF4-FFF2-40B4-BE49-F238E27FC236}">
                <a16:creationId xmlns:a16="http://schemas.microsoft.com/office/drawing/2014/main" id="{DDAE7E53-8C39-DD45-A216-C6791770FA49}"/>
              </a:ext>
            </a:extLst>
          </p:cNvPr>
          <p:cNvSpPr>
            <a:spLocks noGrp="1"/>
          </p:cNvSpPr>
          <p:nvPr>
            <p:ph type="body" sz="quarter" idx="17" hasCustomPrompt="1"/>
          </p:nvPr>
        </p:nvSpPr>
        <p:spPr>
          <a:xfrm>
            <a:off x="255104" y="3792585"/>
            <a:ext cx="7755210" cy="1476413"/>
          </a:xfrm>
        </p:spPr>
        <p:txBody>
          <a:bodyPr/>
          <a:lstStyle>
            <a:lvl1pPr>
              <a:buNone/>
              <a:defRPr lang="en-US" sz="9600" b="1" kern="1200" dirty="0">
                <a:solidFill>
                  <a:schemeClr val="bg1"/>
                </a:solidFill>
                <a:latin typeface="+mn-lt"/>
                <a:ea typeface="+mn-ea"/>
                <a:cs typeface="+mn-cs"/>
              </a:defRPr>
            </a:lvl1pPr>
          </a:lstStyle>
          <a:p>
            <a:pPr lvl="0"/>
            <a:r>
              <a:rPr lang="en-US" dirty="0"/>
              <a:t>Custom…</a:t>
            </a:r>
          </a:p>
        </p:txBody>
      </p:sp>
    </p:spTree>
    <p:extLst>
      <p:ext uri="{BB962C8B-B14F-4D97-AF65-F5344CB8AC3E}">
        <p14:creationId xmlns:p14="http://schemas.microsoft.com/office/powerpoint/2010/main" val="359585543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resentation Bumper (Red)">
    <p:bg>
      <p:bgPr>
        <a:gradFill flip="none" rotWithShape="1">
          <a:gsLst>
            <a:gs pos="0">
              <a:schemeClr val="tx2"/>
            </a:gs>
            <a:gs pos="45000">
              <a:schemeClr val="tx2"/>
            </a:gs>
            <a:gs pos="100000">
              <a:schemeClr val="tx2">
                <a:lumMod val="50000"/>
              </a:schemeClr>
            </a:gs>
          </a:gsLst>
          <a:lin ang="1080000" scaled="0"/>
          <a:tileRect/>
        </a:gra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1B3035E9-1E30-4A65-87BF-D87723B7387D}"/>
              </a:ext>
            </a:extLst>
          </p:cNvPr>
          <p:cNvGrpSpPr/>
          <p:nvPr userDrawn="1"/>
        </p:nvGrpSpPr>
        <p:grpSpPr>
          <a:xfrm>
            <a:off x="9662260" y="818784"/>
            <a:ext cx="2529740" cy="6039216"/>
            <a:chOff x="9662260" y="818784"/>
            <a:chExt cx="2529740" cy="6039216"/>
          </a:xfrm>
        </p:grpSpPr>
        <p:pic>
          <p:nvPicPr>
            <p:cNvPr id="10" name="Picture 9">
              <a:extLst>
                <a:ext uri="{FF2B5EF4-FFF2-40B4-BE49-F238E27FC236}">
                  <a16:creationId xmlns:a16="http://schemas.microsoft.com/office/drawing/2014/main" id="{9DFE8F35-3478-4D36-AE61-9902FA9E571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662260" y="1471202"/>
              <a:ext cx="2529740" cy="5386798"/>
            </a:xfrm>
            <a:prstGeom prst="rect">
              <a:avLst/>
            </a:prstGeom>
          </p:spPr>
        </p:pic>
        <p:pic>
          <p:nvPicPr>
            <p:cNvPr id="12" name="Picture 11">
              <a:extLst>
                <a:ext uri="{FF2B5EF4-FFF2-40B4-BE49-F238E27FC236}">
                  <a16:creationId xmlns:a16="http://schemas.microsoft.com/office/drawing/2014/main" id="{A63CB1BA-AEDB-454F-BBF3-A9613807210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0539851" y="4300794"/>
              <a:ext cx="1652148" cy="2095226"/>
            </a:xfrm>
            <a:prstGeom prst="rect">
              <a:avLst/>
            </a:prstGeom>
          </p:spPr>
        </p:pic>
        <p:pic>
          <p:nvPicPr>
            <p:cNvPr id="13" name="Picture 12">
              <a:extLst>
                <a:ext uri="{FF2B5EF4-FFF2-40B4-BE49-F238E27FC236}">
                  <a16:creationId xmlns:a16="http://schemas.microsoft.com/office/drawing/2014/main" id="{28BB9361-2245-45C7-85B1-98F75F74B97B}"/>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rot="20585276">
              <a:off x="10888776" y="3404437"/>
              <a:ext cx="841085" cy="888470"/>
            </a:xfrm>
            <a:prstGeom prst="rect">
              <a:avLst/>
            </a:prstGeom>
          </p:spPr>
        </p:pic>
        <p:pic>
          <p:nvPicPr>
            <p:cNvPr id="14" name="Picture 13">
              <a:extLst>
                <a:ext uri="{FF2B5EF4-FFF2-40B4-BE49-F238E27FC236}">
                  <a16:creationId xmlns:a16="http://schemas.microsoft.com/office/drawing/2014/main" id="{266621D9-C1BE-4A88-B2E8-40BCC4E56DF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839843" y="4683251"/>
              <a:ext cx="608076" cy="626643"/>
            </a:xfrm>
            <a:prstGeom prst="rect">
              <a:avLst/>
            </a:prstGeom>
          </p:spPr>
        </p:pic>
        <p:pic>
          <p:nvPicPr>
            <p:cNvPr id="15" name="Picture 14">
              <a:extLst>
                <a:ext uri="{FF2B5EF4-FFF2-40B4-BE49-F238E27FC236}">
                  <a16:creationId xmlns:a16="http://schemas.microsoft.com/office/drawing/2014/main" id="{98F6AB9F-8570-461E-BBA2-E013A3DA14E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rot="19848158">
              <a:off x="10621861" y="5789703"/>
              <a:ext cx="593846" cy="634660"/>
            </a:xfrm>
            <a:prstGeom prst="rect">
              <a:avLst/>
            </a:prstGeom>
          </p:spPr>
        </p:pic>
        <p:pic>
          <p:nvPicPr>
            <p:cNvPr id="16" name="Picture 15">
              <a:extLst>
                <a:ext uri="{FF2B5EF4-FFF2-40B4-BE49-F238E27FC236}">
                  <a16:creationId xmlns:a16="http://schemas.microsoft.com/office/drawing/2014/main" id="{1EE6F465-A690-4861-87C0-E7A6A65E3377}"/>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11037236" y="818784"/>
              <a:ext cx="1154763" cy="1703758"/>
            </a:xfrm>
            <a:prstGeom prst="rect">
              <a:avLst/>
            </a:prstGeom>
          </p:spPr>
        </p:pic>
      </p:grpSp>
      <p:sp>
        <p:nvSpPr>
          <p:cNvPr id="17" name="Slide Number Placeholder 2">
            <a:extLst>
              <a:ext uri="{FF2B5EF4-FFF2-40B4-BE49-F238E27FC236}">
                <a16:creationId xmlns:a16="http://schemas.microsoft.com/office/drawing/2014/main" id="{8EE24E27-68F9-E941-9584-DF35AA5AA788}"/>
              </a:ext>
            </a:extLst>
          </p:cNvPr>
          <p:cNvSpPr>
            <a:spLocks noGrp="1"/>
          </p:cNvSpPr>
          <p:nvPr>
            <p:ph type="sldNum" sz="quarter" idx="10"/>
          </p:nvPr>
        </p:nvSpPr>
        <p:spPr>
          <a:xfrm>
            <a:off x="1" y="6553200"/>
            <a:ext cx="304799" cy="304799"/>
          </a:xfrm>
        </p:spPr>
        <p:txBody>
          <a:bodyPr/>
          <a:lstStyle>
            <a:lvl1pPr>
              <a:defRPr>
                <a:solidFill>
                  <a:schemeClr val="bg1"/>
                </a:solidFill>
              </a:defRPr>
            </a:lvl1pPr>
          </a:lstStyle>
          <a:p>
            <a:fld id="{89006F1E-66CD-4A4B-9370-B4A3080F0E6C}" type="slidenum">
              <a:rPr lang="en-US" smtClean="0"/>
              <a:pPr/>
              <a:t>‹#›</a:t>
            </a:fld>
            <a:endParaRPr lang="en-US" dirty="0"/>
          </a:p>
        </p:txBody>
      </p:sp>
      <p:sp>
        <p:nvSpPr>
          <p:cNvPr id="18" name="Footer Placeholder 1">
            <a:extLst>
              <a:ext uri="{FF2B5EF4-FFF2-40B4-BE49-F238E27FC236}">
                <a16:creationId xmlns:a16="http://schemas.microsoft.com/office/drawing/2014/main" id="{6380E455-E213-C44A-A7FC-3A9E06997A4C}"/>
              </a:ext>
            </a:extLst>
          </p:cNvPr>
          <p:cNvSpPr>
            <a:spLocks noGrp="1"/>
          </p:cNvSpPr>
          <p:nvPr>
            <p:ph type="ftr" sz="quarter" idx="14"/>
          </p:nvPr>
        </p:nvSpPr>
        <p:spPr>
          <a:xfrm>
            <a:off x="304799" y="6553201"/>
            <a:ext cx="7620001" cy="304800"/>
          </a:xfrm>
          <a:prstGeom prst="rect">
            <a:avLst/>
          </a:prstGeom>
        </p:spPr>
        <p:txBody>
          <a:bodyPr/>
          <a:lstStyle>
            <a:lvl1pPr>
              <a:defRPr>
                <a:solidFill>
                  <a:schemeClr val="bg1"/>
                </a:solidFill>
              </a:defRPr>
            </a:lvl1pPr>
          </a:lstStyle>
          <a:p>
            <a:endParaRPr lang="en-US" dirty="0">
              <a:ea typeface="MS PGothic" panose="020B0600070205080204" pitchFamily="34" charset="-128"/>
            </a:endParaRPr>
          </a:p>
        </p:txBody>
      </p:sp>
      <p:sp>
        <p:nvSpPr>
          <p:cNvPr id="20" name="Content Placeholder 4">
            <a:extLst>
              <a:ext uri="{FF2B5EF4-FFF2-40B4-BE49-F238E27FC236}">
                <a16:creationId xmlns:a16="http://schemas.microsoft.com/office/drawing/2014/main" id="{20350945-012E-8845-8F5F-AD0E66DE7739}"/>
              </a:ext>
            </a:extLst>
          </p:cNvPr>
          <p:cNvSpPr>
            <a:spLocks noGrp="1"/>
          </p:cNvSpPr>
          <p:nvPr>
            <p:ph sz="quarter" idx="16" hasCustomPrompt="1"/>
          </p:nvPr>
        </p:nvSpPr>
        <p:spPr>
          <a:xfrm>
            <a:off x="318656" y="5268999"/>
            <a:ext cx="7691658" cy="489250"/>
          </a:xfrm>
        </p:spPr>
        <p:txBody>
          <a:bodyPr/>
          <a:lstStyle>
            <a:lvl1pPr marL="0" marR="0" indent="0" algn="l" defTabSz="914400" rtl="0" eaLnBrk="1" fontAlgn="auto" latinLnBrk="0" hangingPunct="1">
              <a:lnSpc>
                <a:spcPct val="120000"/>
              </a:lnSpc>
              <a:spcBef>
                <a:spcPts val="200"/>
              </a:spcBef>
              <a:spcAft>
                <a:spcPts val="0"/>
              </a:spcAft>
              <a:buClr>
                <a:schemeClr val="tx2"/>
              </a:buClr>
              <a:buSzPct val="100000"/>
              <a:buFont typeface="Arial" panose="020B0604020202020204" pitchFamily="34" charset="0"/>
              <a:buNone/>
              <a:tabLst/>
              <a:defRPr>
                <a:solidFill>
                  <a:schemeClr val="bg1"/>
                </a:solidFill>
              </a:defRPr>
            </a:lvl1pPr>
          </a:lstStyle>
          <a:p>
            <a:pPr marL="0" marR="0" lvl="0" indent="0" algn="l" defTabSz="914400" rtl="0" eaLnBrk="1" fontAlgn="auto" latinLnBrk="0" hangingPunct="1">
              <a:lnSpc>
                <a:spcPct val="120000"/>
              </a:lnSpc>
              <a:spcBef>
                <a:spcPts val="200"/>
              </a:spcBef>
              <a:spcAft>
                <a:spcPts val="0"/>
              </a:spcAft>
              <a:buClr>
                <a:schemeClr val="tx2"/>
              </a:buClr>
              <a:buSzPct val="100000"/>
              <a:buFont typeface="Arial" panose="020B0604020202020204" pitchFamily="34" charset="0"/>
              <a:buNone/>
              <a:tabLst/>
              <a:defRPr/>
            </a:pPr>
            <a:r>
              <a:rPr lang="en-US" sz="2000" b="0" dirty="0">
                <a:solidFill>
                  <a:schemeClr val="bg1"/>
                </a:solidFill>
              </a:rPr>
              <a:t>Custom message…</a:t>
            </a:r>
            <a:endParaRPr lang="en-US" sz="2000" dirty="0">
              <a:solidFill>
                <a:schemeClr val="bg1"/>
              </a:solidFill>
            </a:endParaRPr>
          </a:p>
        </p:txBody>
      </p:sp>
      <p:sp>
        <p:nvSpPr>
          <p:cNvPr id="21" name="Text Placeholder 2">
            <a:extLst>
              <a:ext uri="{FF2B5EF4-FFF2-40B4-BE49-F238E27FC236}">
                <a16:creationId xmlns:a16="http://schemas.microsoft.com/office/drawing/2014/main" id="{1F2724B9-ABB6-0B48-8CBE-4DC2424568F8}"/>
              </a:ext>
            </a:extLst>
          </p:cNvPr>
          <p:cNvSpPr>
            <a:spLocks noGrp="1"/>
          </p:cNvSpPr>
          <p:nvPr>
            <p:ph type="body" sz="quarter" idx="17" hasCustomPrompt="1"/>
          </p:nvPr>
        </p:nvSpPr>
        <p:spPr>
          <a:xfrm>
            <a:off x="255104" y="3792585"/>
            <a:ext cx="7755210" cy="1476413"/>
          </a:xfrm>
        </p:spPr>
        <p:txBody>
          <a:bodyPr/>
          <a:lstStyle>
            <a:lvl1pPr>
              <a:buNone/>
              <a:defRPr lang="en-US" sz="9600" b="1" kern="1200" dirty="0">
                <a:solidFill>
                  <a:schemeClr val="bg1"/>
                </a:solidFill>
                <a:latin typeface="+mn-lt"/>
                <a:ea typeface="+mn-ea"/>
                <a:cs typeface="+mn-cs"/>
              </a:defRPr>
            </a:lvl1pPr>
          </a:lstStyle>
          <a:p>
            <a:pPr lvl="0"/>
            <a:r>
              <a:rPr lang="en-US" dirty="0"/>
              <a:t>Custom…</a:t>
            </a:r>
          </a:p>
        </p:txBody>
      </p:sp>
    </p:spTree>
    <p:extLst>
      <p:ext uri="{BB962C8B-B14F-4D97-AF65-F5344CB8AC3E}">
        <p14:creationId xmlns:p14="http://schemas.microsoft.com/office/powerpoint/2010/main" val="3544778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ustom Layout">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1AF264-71D4-E14C-8B25-6059E389D1EF}"/>
              </a:ext>
            </a:extLst>
          </p:cNvPr>
          <p:cNvSpPr>
            <a:spLocks noGrp="1"/>
          </p:cNvSpPr>
          <p:nvPr>
            <p:ph type="title" hasCustomPrompt="1"/>
          </p:nvPr>
        </p:nvSpPr>
        <p:spPr/>
        <p:txBody>
          <a:bodyPr/>
          <a:lstStyle>
            <a:lvl1pPr>
              <a:defRPr>
                <a:solidFill>
                  <a:schemeClr val="tx2"/>
                </a:solidFill>
              </a:defRPr>
            </a:lvl1pPr>
          </a:lstStyle>
          <a:p>
            <a:r>
              <a:rPr lang="en-US" dirty="0"/>
              <a:t>Master slide column guide</a:t>
            </a:r>
          </a:p>
        </p:txBody>
      </p:sp>
      <p:sp>
        <p:nvSpPr>
          <p:cNvPr id="347" name="Rectangle 346">
            <a:extLst>
              <a:ext uri="{FF2B5EF4-FFF2-40B4-BE49-F238E27FC236}">
                <a16:creationId xmlns:a16="http://schemas.microsoft.com/office/drawing/2014/main" id="{2A515182-556A-4148-919D-DA6C41B2B82A}"/>
              </a:ext>
            </a:extLst>
          </p:cNvPr>
          <p:cNvSpPr/>
          <p:nvPr userDrawn="1"/>
        </p:nvSpPr>
        <p:spPr>
          <a:xfrm>
            <a:off x="152400" y="5297034"/>
            <a:ext cx="3962400" cy="304800"/>
          </a:xfrm>
          <a:prstGeom prst="rect">
            <a:avLst/>
          </a:prstGeom>
          <a:solidFill>
            <a:schemeClr val="tx2">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348" name="Rectangle 347">
            <a:extLst>
              <a:ext uri="{FF2B5EF4-FFF2-40B4-BE49-F238E27FC236}">
                <a16:creationId xmlns:a16="http://schemas.microsoft.com/office/drawing/2014/main" id="{2D5D4001-8E66-144D-92CA-7D645E8843C3}"/>
              </a:ext>
            </a:extLst>
          </p:cNvPr>
          <p:cNvSpPr/>
          <p:nvPr userDrawn="1"/>
        </p:nvSpPr>
        <p:spPr>
          <a:xfrm>
            <a:off x="4114800" y="5297033"/>
            <a:ext cx="3962400" cy="304800"/>
          </a:xfrm>
          <a:prstGeom prst="rect">
            <a:avLst/>
          </a:prstGeom>
          <a:solidFill>
            <a:schemeClr val="tx2">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349" name="Rectangle 348">
            <a:extLst>
              <a:ext uri="{FF2B5EF4-FFF2-40B4-BE49-F238E27FC236}">
                <a16:creationId xmlns:a16="http://schemas.microsoft.com/office/drawing/2014/main" id="{1F915BF6-6801-F445-8447-829313D55DE1}"/>
              </a:ext>
            </a:extLst>
          </p:cNvPr>
          <p:cNvSpPr/>
          <p:nvPr userDrawn="1"/>
        </p:nvSpPr>
        <p:spPr>
          <a:xfrm>
            <a:off x="8077200" y="5297033"/>
            <a:ext cx="3962400" cy="304800"/>
          </a:xfrm>
          <a:prstGeom prst="rect">
            <a:avLst/>
          </a:prstGeom>
          <a:solidFill>
            <a:schemeClr val="tx2">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377" name="Rectangle 376">
            <a:extLst>
              <a:ext uri="{FF2B5EF4-FFF2-40B4-BE49-F238E27FC236}">
                <a16:creationId xmlns:a16="http://schemas.microsoft.com/office/drawing/2014/main" id="{409746C0-0633-8440-B5CF-DE04D82AFA84}"/>
              </a:ext>
            </a:extLst>
          </p:cNvPr>
          <p:cNvSpPr/>
          <p:nvPr userDrawn="1"/>
        </p:nvSpPr>
        <p:spPr>
          <a:xfrm>
            <a:off x="152400" y="4655679"/>
            <a:ext cx="2971800" cy="304800"/>
          </a:xfrm>
          <a:prstGeom prst="rect">
            <a:avLst/>
          </a:prstGeom>
          <a:solidFill>
            <a:schemeClr val="tx2">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378" name="Rectangle 377">
            <a:extLst>
              <a:ext uri="{FF2B5EF4-FFF2-40B4-BE49-F238E27FC236}">
                <a16:creationId xmlns:a16="http://schemas.microsoft.com/office/drawing/2014/main" id="{EB4B500C-F4AE-FC44-9061-B7345B89902B}"/>
              </a:ext>
            </a:extLst>
          </p:cNvPr>
          <p:cNvSpPr/>
          <p:nvPr userDrawn="1"/>
        </p:nvSpPr>
        <p:spPr>
          <a:xfrm>
            <a:off x="3124200" y="4655678"/>
            <a:ext cx="2971800" cy="304800"/>
          </a:xfrm>
          <a:prstGeom prst="rect">
            <a:avLst/>
          </a:prstGeom>
          <a:solidFill>
            <a:schemeClr val="tx2">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379" name="Rectangle 378">
            <a:extLst>
              <a:ext uri="{FF2B5EF4-FFF2-40B4-BE49-F238E27FC236}">
                <a16:creationId xmlns:a16="http://schemas.microsoft.com/office/drawing/2014/main" id="{0BF1E544-C1F3-ED4B-81EF-A461690F54E8}"/>
              </a:ext>
            </a:extLst>
          </p:cNvPr>
          <p:cNvSpPr/>
          <p:nvPr userDrawn="1"/>
        </p:nvSpPr>
        <p:spPr>
          <a:xfrm>
            <a:off x="6096000" y="4655678"/>
            <a:ext cx="2971800" cy="304800"/>
          </a:xfrm>
          <a:prstGeom prst="rect">
            <a:avLst/>
          </a:prstGeom>
          <a:solidFill>
            <a:schemeClr val="tx2">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380" name="Rectangle 379">
            <a:extLst>
              <a:ext uri="{FF2B5EF4-FFF2-40B4-BE49-F238E27FC236}">
                <a16:creationId xmlns:a16="http://schemas.microsoft.com/office/drawing/2014/main" id="{12BC584E-CCB4-E54D-B49E-9B06C53D232C}"/>
              </a:ext>
            </a:extLst>
          </p:cNvPr>
          <p:cNvSpPr/>
          <p:nvPr userDrawn="1"/>
        </p:nvSpPr>
        <p:spPr>
          <a:xfrm>
            <a:off x="9067800" y="4655678"/>
            <a:ext cx="2971800" cy="304800"/>
          </a:xfrm>
          <a:prstGeom prst="rect">
            <a:avLst/>
          </a:prstGeom>
          <a:solidFill>
            <a:schemeClr val="tx2">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413" name="Rectangle 412">
            <a:extLst>
              <a:ext uri="{FF2B5EF4-FFF2-40B4-BE49-F238E27FC236}">
                <a16:creationId xmlns:a16="http://schemas.microsoft.com/office/drawing/2014/main" id="{3C0DCD00-016C-8249-9E41-079096AFB3A6}"/>
              </a:ext>
            </a:extLst>
          </p:cNvPr>
          <p:cNvSpPr/>
          <p:nvPr userDrawn="1"/>
        </p:nvSpPr>
        <p:spPr>
          <a:xfrm>
            <a:off x="152400" y="4019094"/>
            <a:ext cx="2377440" cy="304800"/>
          </a:xfrm>
          <a:prstGeom prst="rect">
            <a:avLst/>
          </a:prstGeom>
          <a:solidFill>
            <a:schemeClr val="tx2">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414" name="Rectangle 413">
            <a:extLst>
              <a:ext uri="{FF2B5EF4-FFF2-40B4-BE49-F238E27FC236}">
                <a16:creationId xmlns:a16="http://schemas.microsoft.com/office/drawing/2014/main" id="{7D5C5BF9-225C-0945-9BD8-811FED6F7C6C}"/>
              </a:ext>
            </a:extLst>
          </p:cNvPr>
          <p:cNvSpPr/>
          <p:nvPr userDrawn="1"/>
        </p:nvSpPr>
        <p:spPr>
          <a:xfrm>
            <a:off x="2529840" y="4019093"/>
            <a:ext cx="2377440" cy="304800"/>
          </a:xfrm>
          <a:prstGeom prst="rect">
            <a:avLst/>
          </a:prstGeom>
          <a:solidFill>
            <a:schemeClr val="tx2">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415" name="Rectangle 414">
            <a:extLst>
              <a:ext uri="{FF2B5EF4-FFF2-40B4-BE49-F238E27FC236}">
                <a16:creationId xmlns:a16="http://schemas.microsoft.com/office/drawing/2014/main" id="{C63D455F-73BE-A943-8A70-41066037EB15}"/>
              </a:ext>
            </a:extLst>
          </p:cNvPr>
          <p:cNvSpPr/>
          <p:nvPr userDrawn="1"/>
        </p:nvSpPr>
        <p:spPr>
          <a:xfrm>
            <a:off x="4907280" y="4019093"/>
            <a:ext cx="2377440" cy="304800"/>
          </a:xfrm>
          <a:prstGeom prst="rect">
            <a:avLst/>
          </a:prstGeom>
          <a:solidFill>
            <a:schemeClr val="tx2">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416" name="Rectangle 415">
            <a:extLst>
              <a:ext uri="{FF2B5EF4-FFF2-40B4-BE49-F238E27FC236}">
                <a16:creationId xmlns:a16="http://schemas.microsoft.com/office/drawing/2014/main" id="{29C4F461-3408-F24E-93BE-7BE25C21160B}"/>
              </a:ext>
            </a:extLst>
          </p:cNvPr>
          <p:cNvSpPr/>
          <p:nvPr userDrawn="1"/>
        </p:nvSpPr>
        <p:spPr>
          <a:xfrm>
            <a:off x="7284720" y="4019093"/>
            <a:ext cx="2377440" cy="304800"/>
          </a:xfrm>
          <a:prstGeom prst="rect">
            <a:avLst/>
          </a:prstGeom>
          <a:solidFill>
            <a:schemeClr val="tx2">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417" name="Rectangle 416">
            <a:extLst>
              <a:ext uri="{FF2B5EF4-FFF2-40B4-BE49-F238E27FC236}">
                <a16:creationId xmlns:a16="http://schemas.microsoft.com/office/drawing/2014/main" id="{B07E25D9-5575-FA46-AE11-B58FECE45D22}"/>
              </a:ext>
            </a:extLst>
          </p:cNvPr>
          <p:cNvSpPr/>
          <p:nvPr userDrawn="1"/>
        </p:nvSpPr>
        <p:spPr>
          <a:xfrm>
            <a:off x="9662160" y="4019093"/>
            <a:ext cx="2377440" cy="304800"/>
          </a:xfrm>
          <a:prstGeom prst="rect">
            <a:avLst/>
          </a:prstGeom>
          <a:solidFill>
            <a:schemeClr val="tx2">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435" name="Rectangle 434">
            <a:extLst>
              <a:ext uri="{FF2B5EF4-FFF2-40B4-BE49-F238E27FC236}">
                <a16:creationId xmlns:a16="http://schemas.microsoft.com/office/drawing/2014/main" id="{168AE306-A0D3-924E-88F9-CBCC203C5193}"/>
              </a:ext>
            </a:extLst>
          </p:cNvPr>
          <p:cNvSpPr/>
          <p:nvPr userDrawn="1"/>
        </p:nvSpPr>
        <p:spPr>
          <a:xfrm>
            <a:off x="152400" y="5943601"/>
            <a:ext cx="5943600" cy="304800"/>
          </a:xfrm>
          <a:prstGeom prst="rect">
            <a:avLst/>
          </a:prstGeom>
          <a:solidFill>
            <a:schemeClr val="tx2">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436" name="Rectangle 435">
            <a:extLst>
              <a:ext uri="{FF2B5EF4-FFF2-40B4-BE49-F238E27FC236}">
                <a16:creationId xmlns:a16="http://schemas.microsoft.com/office/drawing/2014/main" id="{A3B192E7-794D-C14E-BC0F-394A020FA684}"/>
              </a:ext>
            </a:extLst>
          </p:cNvPr>
          <p:cNvSpPr/>
          <p:nvPr userDrawn="1"/>
        </p:nvSpPr>
        <p:spPr>
          <a:xfrm>
            <a:off x="6096000" y="5943600"/>
            <a:ext cx="5943600" cy="304800"/>
          </a:xfrm>
          <a:prstGeom prst="rect">
            <a:avLst/>
          </a:prstGeom>
          <a:solidFill>
            <a:schemeClr val="tx2">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474" name="Rectangle 473">
            <a:extLst>
              <a:ext uri="{FF2B5EF4-FFF2-40B4-BE49-F238E27FC236}">
                <a16:creationId xmlns:a16="http://schemas.microsoft.com/office/drawing/2014/main" id="{2E39ADA9-047C-064C-B38A-58491F27D38A}"/>
              </a:ext>
            </a:extLst>
          </p:cNvPr>
          <p:cNvSpPr/>
          <p:nvPr userDrawn="1"/>
        </p:nvSpPr>
        <p:spPr>
          <a:xfrm>
            <a:off x="152400" y="3336769"/>
            <a:ext cx="1981200" cy="304800"/>
          </a:xfrm>
          <a:prstGeom prst="rect">
            <a:avLst/>
          </a:prstGeom>
          <a:solidFill>
            <a:schemeClr val="tx2">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475" name="Rectangle 474">
            <a:extLst>
              <a:ext uri="{FF2B5EF4-FFF2-40B4-BE49-F238E27FC236}">
                <a16:creationId xmlns:a16="http://schemas.microsoft.com/office/drawing/2014/main" id="{950CBAF9-139A-444A-99D3-8878A71E1230}"/>
              </a:ext>
            </a:extLst>
          </p:cNvPr>
          <p:cNvSpPr/>
          <p:nvPr userDrawn="1"/>
        </p:nvSpPr>
        <p:spPr>
          <a:xfrm>
            <a:off x="2133600" y="3336768"/>
            <a:ext cx="1981200" cy="304800"/>
          </a:xfrm>
          <a:prstGeom prst="rect">
            <a:avLst/>
          </a:prstGeom>
          <a:solidFill>
            <a:schemeClr val="tx2">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476" name="Rectangle 475">
            <a:extLst>
              <a:ext uri="{FF2B5EF4-FFF2-40B4-BE49-F238E27FC236}">
                <a16:creationId xmlns:a16="http://schemas.microsoft.com/office/drawing/2014/main" id="{B5A13F0A-72FA-0D47-801F-47CA60E80C0C}"/>
              </a:ext>
            </a:extLst>
          </p:cNvPr>
          <p:cNvSpPr/>
          <p:nvPr userDrawn="1"/>
        </p:nvSpPr>
        <p:spPr>
          <a:xfrm>
            <a:off x="4114800" y="3336768"/>
            <a:ext cx="1981200" cy="304800"/>
          </a:xfrm>
          <a:prstGeom prst="rect">
            <a:avLst/>
          </a:prstGeom>
          <a:solidFill>
            <a:schemeClr val="tx2">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477" name="Rectangle 476">
            <a:extLst>
              <a:ext uri="{FF2B5EF4-FFF2-40B4-BE49-F238E27FC236}">
                <a16:creationId xmlns:a16="http://schemas.microsoft.com/office/drawing/2014/main" id="{4FEF358F-4817-F64B-8CC4-0FD0C1FABF29}"/>
              </a:ext>
            </a:extLst>
          </p:cNvPr>
          <p:cNvSpPr/>
          <p:nvPr userDrawn="1"/>
        </p:nvSpPr>
        <p:spPr>
          <a:xfrm>
            <a:off x="6096000" y="3336768"/>
            <a:ext cx="1981200" cy="304800"/>
          </a:xfrm>
          <a:prstGeom prst="rect">
            <a:avLst/>
          </a:prstGeom>
          <a:solidFill>
            <a:schemeClr val="tx2">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478" name="Rectangle 477">
            <a:extLst>
              <a:ext uri="{FF2B5EF4-FFF2-40B4-BE49-F238E27FC236}">
                <a16:creationId xmlns:a16="http://schemas.microsoft.com/office/drawing/2014/main" id="{EFF11427-1778-1747-93D7-55F0840A0284}"/>
              </a:ext>
            </a:extLst>
          </p:cNvPr>
          <p:cNvSpPr/>
          <p:nvPr userDrawn="1"/>
        </p:nvSpPr>
        <p:spPr>
          <a:xfrm>
            <a:off x="8077200" y="3336768"/>
            <a:ext cx="1981200" cy="304800"/>
          </a:xfrm>
          <a:prstGeom prst="rect">
            <a:avLst/>
          </a:prstGeom>
          <a:solidFill>
            <a:schemeClr val="tx2">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479" name="Rectangle 478">
            <a:extLst>
              <a:ext uri="{FF2B5EF4-FFF2-40B4-BE49-F238E27FC236}">
                <a16:creationId xmlns:a16="http://schemas.microsoft.com/office/drawing/2014/main" id="{F3D80D4E-21FD-8E4F-BCC2-F182D2FB139B}"/>
              </a:ext>
            </a:extLst>
          </p:cNvPr>
          <p:cNvSpPr/>
          <p:nvPr userDrawn="1"/>
        </p:nvSpPr>
        <p:spPr>
          <a:xfrm>
            <a:off x="10058400" y="3336768"/>
            <a:ext cx="1981200" cy="304800"/>
          </a:xfrm>
          <a:prstGeom prst="rect">
            <a:avLst/>
          </a:prstGeom>
          <a:solidFill>
            <a:schemeClr val="tx2">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grpSp>
        <p:nvGrpSpPr>
          <p:cNvPr id="439" name="Group 438">
            <a:extLst>
              <a:ext uri="{FF2B5EF4-FFF2-40B4-BE49-F238E27FC236}">
                <a16:creationId xmlns:a16="http://schemas.microsoft.com/office/drawing/2014/main" id="{772AB51C-F49A-0A4A-BA0B-000FC84A5867}"/>
              </a:ext>
            </a:extLst>
          </p:cNvPr>
          <p:cNvGrpSpPr/>
          <p:nvPr userDrawn="1"/>
        </p:nvGrpSpPr>
        <p:grpSpPr>
          <a:xfrm>
            <a:off x="0" y="3336768"/>
            <a:ext cx="304800" cy="304800"/>
            <a:chOff x="4748283" y="3386554"/>
            <a:chExt cx="548640" cy="548640"/>
          </a:xfrm>
        </p:grpSpPr>
        <p:sp>
          <p:nvSpPr>
            <p:cNvPr id="470" name="Rectangle 469">
              <a:extLst>
                <a:ext uri="{FF2B5EF4-FFF2-40B4-BE49-F238E27FC236}">
                  <a16:creationId xmlns:a16="http://schemas.microsoft.com/office/drawing/2014/main" id="{E4A75E68-C0BB-4840-B07F-1D82C5547F73}"/>
                </a:ext>
              </a:extLst>
            </p:cNvPr>
            <p:cNvSpPr/>
            <p:nvPr userDrawn="1"/>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471" name="Rectangle 470">
              <a:extLst>
                <a:ext uri="{FF2B5EF4-FFF2-40B4-BE49-F238E27FC236}">
                  <a16:creationId xmlns:a16="http://schemas.microsoft.com/office/drawing/2014/main" id="{8DD8EBE3-10D1-3E44-85FC-03439E297582}"/>
                </a:ext>
              </a:extLst>
            </p:cNvPr>
            <p:cNvSpPr/>
            <p:nvPr userDrawn="1"/>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472" name="Rectangle 471">
              <a:extLst>
                <a:ext uri="{FF2B5EF4-FFF2-40B4-BE49-F238E27FC236}">
                  <a16:creationId xmlns:a16="http://schemas.microsoft.com/office/drawing/2014/main" id="{6AEBDBAB-049C-C94F-BA15-670FE7786BB7}"/>
                </a:ext>
              </a:extLst>
            </p:cNvPr>
            <p:cNvSpPr/>
            <p:nvPr userDrawn="1"/>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473" name="Rectangle 472">
              <a:extLst>
                <a:ext uri="{FF2B5EF4-FFF2-40B4-BE49-F238E27FC236}">
                  <a16:creationId xmlns:a16="http://schemas.microsoft.com/office/drawing/2014/main" id="{1839B25E-E114-E34C-A32D-6D7EC38B1EE9}"/>
                </a:ext>
              </a:extLst>
            </p:cNvPr>
            <p:cNvSpPr/>
            <p:nvPr userDrawn="1"/>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grpSp>
      <p:sp>
        <p:nvSpPr>
          <p:cNvPr id="480" name="TextBox 479">
            <a:extLst>
              <a:ext uri="{FF2B5EF4-FFF2-40B4-BE49-F238E27FC236}">
                <a16:creationId xmlns:a16="http://schemas.microsoft.com/office/drawing/2014/main" id="{342D7EB4-B12F-644A-9E0A-98B8EF09117E}"/>
              </a:ext>
            </a:extLst>
          </p:cNvPr>
          <p:cNvSpPr txBox="1"/>
          <p:nvPr userDrawn="1"/>
        </p:nvSpPr>
        <p:spPr>
          <a:xfrm>
            <a:off x="304800" y="3126887"/>
            <a:ext cx="621965" cy="184666"/>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solidFill>
                <a:effectLst/>
                <a:uLnTx/>
                <a:uFillTx/>
              </a:rPr>
              <a:t>6 column</a:t>
            </a:r>
          </a:p>
        </p:txBody>
      </p:sp>
      <p:sp>
        <p:nvSpPr>
          <p:cNvPr id="481" name="TextBox 480">
            <a:extLst>
              <a:ext uri="{FF2B5EF4-FFF2-40B4-BE49-F238E27FC236}">
                <a16:creationId xmlns:a16="http://schemas.microsoft.com/office/drawing/2014/main" id="{7056B7B5-7702-9842-8ACC-189B0B1EC818}"/>
              </a:ext>
            </a:extLst>
          </p:cNvPr>
          <p:cNvSpPr txBox="1"/>
          <p:nvPr userDrawn="1"/>
        </p:nvSpPr>
        <p:spPr>
          <a:xfrm>
            <a:off x="304800" y="3823113"/>
            <a:ext cx="621965" cy="184666"/>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solidFill>
                <a:effectLst/>
                <a:uLnTx/>
                <a:uFillTx/>
              </a:rPr>
              <a:t>5 column</a:t>
            </a:r>
          </a:p>
        </p:txBody>
      </p:sp>
      <p:sp>
        <p:nvSpPr>
          <p:cNvPr id="482" name="TextBox 481">
            <a:extLst>
              <a:ext uri="{FF2B5EF4-FFF2-40B4-BE49-F238E27FC236}">
                <a16:creationId xmlns:a16="http://schemas.microsoft.com/office/drawing/2014/main" id="{86211BCB-2DF9-6644-8DCD-BC5B31A507D4}"/>
              </a:ext>
            </a:extLst>
          </p:cNvPr>
          <p:cNvSpPr txBox="1"/>
          <p:nvPr userDrawn="1"/>
        </p:nvSpPr>
        <p:spPr>
          <a:xfrm>
            <a:off x="304800" y="4456624"/>
            <a:ext cx="621965" cy="184666"/>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solidFill>
                <a:effectLst/>
                <a:uLnTx/>
                <a:uFillTx/>
              </a:rPr>
              <a:t>4 column</a:t>
            </a:r>
          </a:p>
        </p:txBody>
      </p:sp>
      <p:sp>
        <p:nvSpPr>
          <p:cNvPr id="483" name="TextBox 482">
            <a:extLst>
              <a:ext uri="{FF2B5EF4-FFF2-40B4-BE49-F238E27FC236}">
                <a16:creationId xmlns:a16="http://schemas.microsoft.com/office/drawing/2014/main" id="{480A6B41-B33C-4544-AA80-B05EA7E4F5F8}"/>
              </a:ext>
            </a:extLst>
          </p:cNvPr>
          <p:cNvSpPr txBox="1"/>
          <p:nvPr userDrawn="1"/>
        </p:nvSpPr>
        <p:spPr>
          <a:xfrm>
            <a:off x="304800" y="5094905"/>
            <a:ext cx="621965" cy="184666"/>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solidFill>
                <a:effectLst/>
                <a:uLnTx/>
                <a:uFillTx/>
              </a:rPr>
              <a:t>3 column</a:t>
            </a:r>
          </a:p>
        </p:txBody>
      </p:sp>
      <p:sp>
        <p:nvSpPr>
          <p:cNvPr id="484" name="TextBox 483">
            <a:extLst>
              <a:ext uri="{FF2B5EF4-FFF2-40B4-BE49-F238E27FC236}">
                <a16:creationId xmlns:a16="http://schemas.microsoft.com/office/drawing/2014/main" id="{29F7A788-CE98-6246-ADB3-ACDB5AD10573}"/>
              </a:ext>
            </a:extLst>
          </p:cNvPr>
          <p:cNvSpPr txBox="1"/>
          <p:nvPr userDrawn="1"/>
        </p:nvSpPr>
        <p:spPr>
          <a:xfrm>
            <a:off x="304800" y="5751326"/>
            <a:ext cx="621965" cy="184666"/>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solidFill>
                <a:effectLst/>
                <a:uLnTx/>
                <a:uFillTx/>
              </a:rPr>
              <a:t>2 column</a:t>
            </a:r>
          </a:p>
        </p:txBody>
      </p:sp>
      <p:sp>
        <p:nvSpPr>
          <p:cNvPr id="164" name="Slide Number Placeholder 2">
            <a:extLst>
              <a:ext uri="{FF2B5EF4-FFF2-40B4-BE49-F238E27FC236}">
                <a16:creationId xmlns:a16="http://schemas.microsoft.com/office/drawing/2014/main" id="{F03B75DB-F93B-BB4A-88B7-BC503665EB12}"/>
              </a:ext>
            </a:extLst>
          </p:cNvPr>
          <p:cNvSpPr>
            <a:spLocks noGrp="1"/>
          </p:cNvSpPr>
          <p:nvPr userDrawn="1">
            <p:ph type="sldNum" sz="quarter" idx="10"/>
          </p:nvPr>
        </p:nvSpPr>
        <p:spPr>
          <a:xfrm>
            <a:off x="1" y="6553200"/>
            <a:ext cx="304799" cy="304799"/>
          </a:xfrm>
        </p:spPr>
        <p:txBody>
          <a:bodyPr/>
          <a:lstStyle/>
          <a:p>
            <a:fld id="{89006F1E-66CD-4A4B-9370-B4A3080F0E6C}" type="slidenum">
              <a:rPr lang="en-US" smtClean="0"/>
              <a:pPr/>
              <a:t>‹#›</a:t>
            </a:fld>
            <a:endParaRPr lang="en-US" dirty="0"/>
          </a:p>
        </p:txBody>
      </p:sp>
      <p:sp>
        <p:nvSpPr>
          <p:cNvPr id="165" name="Footer Placeholder 1">
            <a:extLst>
              <a:ext uri="{FF2B5EF4-FFF2-40B4-BE49-F238E27FC236}">
                <a16:creationId xmlns:a16="http://schemas.microsoft.com/office/drawing/2014/main" id="{32024396-8CE7-064A-913E-52749C1A59C6}"/>
              </a:ext>
            </a:extLst>
          </p:cNvPr>
          <p:cNvSpPr>
            <a:spLocks noGrp="1"/>
          </p:cNvSpPr>
          <p:nvPr userDrawn="1">
            <p:ph type="ftr" sz="quarter" idx="14"/>
          </p:nvPr>
        </p:nvSpPr>
        <p:spPr>
          <a:xfrm>
            <a:off x="304799" y="6553201"/>
            <a:ext cx="7620001" cy="304800"/>
          </a:xfrm>
          <a:prstGeom prst="rect">
            <a:avLst/>
          </a:prstGeom>
        </p:spPr>
        <p:txBody>
          <a:bodyPr/>
          <a:lstStyle>
            <a:lvl1pPr>
              <a:defRPr>
                <a:solidFill>
                  <a:schemeClr val="accent5"/>
                </a:solidFill>
              </a:defRPr>
            </a:lvl1pPr>
          </a:lstStyle>
          <a:p>
            <a:endParaRPr lang="en-US" dirty="0">
              <a:ea typeface="MS PGothic" panose="020B0600070205080204" pitchFamily="34" charset="-128"/>
            </a:endParaRPr>
          </a:p>
        </p:txBody>
      </p:sp>
      <p:grpSp>
        <p:nvGrpSpPr>
          <p:cNvPr id="12" name="Group 11">
            <a:extLst>
              <a:ext uri="{FF2B5EF4-FFF2-40B4-BE49-F238E27FC236}">
                <a16:creationId xmlns:a16="http://schemas.microsoft.com/office/drawing/2014/main" id="{6F86E547-682A-6B4F-B0EC-65D336F3A540}"/>
              </a:ext>
            </a:extLst>
          </p:cNvPr>
          <p:cNvGrpSpPr/>
          <p:nvPr userDrawn="1"/>
        </p:nvGrpSpPr>
        <p:grpSpPr>
          <a:xfrm>
            <a:off x="300227" y="876301"/>
            <a:ext cx="11586972" cy="5676899"/>
            <a:chOff x="300227" y="876301"/>
            <a:chExt cx="11586972" cy="5676899"/>
          </a:xfrm>
        </p:grpSpPr>
        <p:sp>
          <p:nvSpPr>
            <p:cNvPr id="3" name="Rectangle 2">
              <a:extLst>
                <a:ext uri="{FF2B5EF4-FFF2-40B4-BE49-F238E27FC236}">
                  <a16:creationId xmlns:a16="http://schemas.microsoft.com/office/drawing/2014/main" id="{8EE04DA2-78B1-A642-A2C2-0873783B7B9C}"/>
                </a:ext>
              </a:extLst>
            </p:cNvPr>
            <p:cNvSpPr/>
            <p:nvPr userDrawn="1"/>
          </p:nvSpPr>
          <p:spPr>
            <a:xfrm>
              <a:off x="300227" y="876301"/>
              <a:ext cx="11586972" cy="5676899"/>
            </a:xfrm>
            <a:prstGeom prst="rect">
              <a:avLst/>
            </a:prstGeom>
            <a:noFill/>
            <a:ln>
              <a:solidFill>
                <a:schemeClr val="accent5">
                  <a:lumMod val="60000"/>
                  <a:lumOff val="40000"/>
                </a:schemeClr>
              </a:solidFill>
              <a:prstDash val="dash"/>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dirty="0"/>
            </a:p>
          </p:txBody>
        </p:sp>
        <p:cxnSp>
          <p:nvCxnSpPr>
            <p:cNvPr id="5" name="Straight Arrow Connector 4">
              <a:extLst>
                <a:ext uri="{FF2B5EF4-FFF2-40B4-BE49-F238E27FC236}">
                  <a16:creationId xmlns:a16="http://schemas.microsoft.com/office/drawing/2014/main" id="{73EED049-4AD2-0B49-BBEA-A4247ECC89A5}"/>
                </a:ext>
              </a:extLst>
            </p:cNvPr>
            <p:cNvCxnSpPr/>
            <p:nvPr userDrawn="1"/>
          </p:nvCxnSpPr>
          <p:spPr>
            <a:xfrm>
              <a:off x="474651" y="876301"/>
              <a:ext cx="0" cy="174504"/>
            </a:xfrm>
            <a:prstGeom prst="straightConnector1">
              <a:avLst/>
            </a:prstGeom>
            <a:ln w="12700">
              <a:solidFill>
                <a:schemeClr val="accent5"/>
              </a:solidFill>
              <a:tailEnd type="arrow"/>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1BA01FDD-B887-5D48-9BCC-AB3E59DA8C44}"/>
                </a:ext>
              </a:extLst>
            </p:cNvPr>
            <p:cNvSpPr txBox="1"/>
            <p:nvPr userDrawn="1"/>
          </p:nvSpPr>
          <p:spPr>
            <a:xfrm>
              <a:off x="579276" y="905884"/>
              <a:ext cx="3517997" cy="174504"/>
            </a:xfrm>
            <a:prstGeom prst="rect">
              <a:avLst/>
            </a:prstGeom>
            <a:noFill/>
          </p:spPr>
          <p:txBody>
            <a:bodyPr wrap="none" lIns="0" tIns="0" rIns="0" bIns="0" rtlCol="0">
              <a:normAutofit/>
            </a:bodyPr>
            <a:lstStyle/>
            <a:p>
              <a:pPr marL="0" indent="0" algn="l" defTabSz="914400">
                <a:lnSpc>
                  <a:spcPct val="120000"/>
                </a:lnSpc>
                <a:spcBef>
                  <a:spcPts val="200"/>
                </a:spcBef>
                <a:buClr>
                  <a:schemeClr val="tx2"/>
                </a:buClr>
                <a:buSzPct val="100000"/>
                <a:buFont typeface="Arial" panose="020B0604020202020204" pitchFamily="34" charset="0"/>
                <a:buNone/>
              </a:pPr>
              <a:r>
                <a:rPr lang="en-US" sz="1050" dirty="0"/>
                <a:t>Safe zone</a:t>
              </a:r>
            </a:p>
          </p:txBody>
        </p:sp>
        <p:cxnSp>
          <p:nvCxnSpPr>
            <p:cNvPr id="171" name="Straight Arrow Connector 170">
              <a:extLst>
                <a:ext uri="{FF2B5EF4-FFF2-40B4-BE49-F238E27FC236}">
                  <a16:creationId xmlns:a16="http://schemas.microsoft.com/office/drawing/2014/main" id="{9BD67516-3606-FF42-BF2C-613E58799753}"/>
                </a:ext>
              </a:extLst>
            </p:cNvPr>
            <p:cNvCxnSpPr/>
            <p:nvPr userDrawn="1"/>
          </p:nvCxnSpPr>
          <p:spPr>
            <a:xfrm>
              <a:off x="474651" y="1455311"/>
              <a:ext cx="0" cy="174504"/>
            </a:xfrm>
            <a:prstGeom prst="straightConnector1">
              <a:avLst/>
            </a:prstGeom>
            <a:ln w="12700">
              <a:solidFill>
                <a:schemeClr val="accent5"/>
              </a:solidFill>
              <a:tailEnd type="arrow"/>
            </a:ln>
          </p:spPr>
          <p:style>
            <a:lnRef idx="1">
              <a:schemeClr val="accent1"/>
            </a:lnRef>
            <a:fillRef idx="0">
              <a:schemeClr val="accent1"/>
            </a:fillRef>
            <a:effectRef idx="0">
              <a:schemeClr val="accent1"/>
            </a:effectRef>
            <a:fontRef idx="minor">
              <a:schemeClr val="tx1"/>
            </a:fontRef>
          </p:style>
        </p:cxnSp>
        <p:sp>
          <p:nvSpPr>
            <p:cNvPr id="172" name="TextBox 171">
              <a:extLst>
                <a:ext uri="{FF2B5EF4-FFF2-40B4-BE49-F238E27FC236}">
                  <a16:creationId xmlns:a16="http://schemas.microsoft.com/office/drawing/2014/main" id="{4E864EDE-9D5F-984C-A44E-2B8534B762A2}"/>
                </a:ext>
              </a:extLst>
            </p:cNvPr>
            <p:cNvSpPr txBox="1"/>
            <p:nvPr userDrawn="1"/>
          </p:nvSpPr>
          <p:spPr>
            <a:xfrm>
              <a:off x="579276" y="1484894"/>
              <a:ext cx="3517997" cy="174504"/>
            </a:xfrm>
            <a:prstGeom prst="rect">
              <a:avLst/>
            </a:prstGeom>
            <a:noFill/>
          </p:spPr>
          <p:txBody>
            <a:bodyPr wrap="none" lIns="0" tIns="0" rIns="0" bIns="0" rtlCol="0">
              <a:normAutofit/>
            </a:bodyPr>
            <a:lstStyle/>
            <a:p>
              <a:pPr marL="0" indent="0" algn="l" defTabSz="914400">
                <a:lnSpc>
                  <a:spcPct val="120000"/>
                </a:lnSpc>
                <a:spcBef>
                  <a:spcPts val="200"/>
                </a:spcBef>
                <a:buClr>
                  <a:schemeClr val="tx2"/>
                </a:buClr>
                <a:buSzPct val="100000"/>
                <a:buFont typeface="Arial" panose="020B0604020202020204" pitchFamily="34" charset="0"/>
                <a:buNone/>
              </a:pPr>
              <a:r>
                <a:rPr lang="en-US" sz="1050" dirty="0"/>
                <a:t>Safe zone with sub-title</a:t>
              </a:r>
            </a:p>
          </p:txBody>
        </p:sp>
        <p:cxnSp>
          <p:nvCxnSpPr>
            <p:cNvPr id="8" name="Straight Connector 7">
              <a:extLst>
                <a:ext uri="{FF2B5EF4-FFF2-40B4-BE49-F238E27FC236}">
                  <a16:creationId xmlns:a16="http://schemas.microsoft.com/office/drawing/2014/main" id="{11BD3366-59E4-7A48-9F82-4F24D0C736CB}"/>
                </a:ext>
              </a:extLst>
            </p:cNvPr>
            <p:cNvCxnSpPr>
              <a:cxnSpLocks/>
            </p:cNvCxnSpPr>
            <p:nvPr userDrawn="1"/>
          </p:nvCxnSpPr>
          <p:spPr>
            <a:xfrm>
              <a:off x="300227" y="1455311"/>
              <a:ext cx="11586972" cy="0"/>
            </a:xfrm>
            <a:prstGeom prst="line">
              <a:avLst/>
            </a:prstGeom>
            <a:noFill/>
            <a:ln>
              <a:solidFill>
                <a:schemeClr val="accent5">
                  <a:lumMod val="60000"/>
                  <a:lumOff val="40000"/>
                </a:schemeClr>
              </a:solidFill>
              <a:prstDash val="dash"/>
            </a:ln>
          </p:spPr>
          <p:style>
            <a:lnRef idx="2">
              <a:schemeClr val="accent6"/>
            </a:lnRef>
            <a:fillRef idx="1">
              <a:schemeClr val="lt1"/>
            </a:fillRef>
            <a:effectRef idx="0">
              <a:schemeClr val="accent6"/>
            </a:effectRef>
            <a:fontRef idx="minor">
              <a:schemeClr val="dk1"/>
            </a:fontRef>
          </p:style>
        </p:cxnSp>
      </p:grpSp>
      <p:grpSp>
        <p:nvGrpSpPr>
          <p:cNvPr id="16" name="Group 15">
            <a:extLst>
              <a:ext uri="{FF2B5EF4-FFF2-40B4-BE49-F238E27FC236}">
                <a16:creationId xmlns:a16="http://schemas.microsoft.com/office/drawing/2014/main" id="{69B2DC8A-7A6F-9644-8D71-F808322A48E6}"/>
              </a:ext>
            </a:extLst>
          </p:cNvPr>
          <p:cNvGrpSpPr/>
          <p:nvPr userDrawn="1"/>
        </p:nvGrpSpPr>
        <p:grpSpPr>
          <a:xfrm>
            <a:off x="2083982" y="1584073"/>
            <a:ext cx="8024037" cy="1628059"/>
            <a:chOff x="2105247" y="1591161"/>
            <a:chExt cx="8024037" cy="1628059"/>
          </a:xfrm>
        </p:grpSpPr>
        <p:pic>
          <p:nvPicPr>
            <p:cNvPr id="180" name="Picture 179">
              <a:extLst>
                <a:ext uri="{FF2B5EF4-FFF2-40B4-BE49-F238E27FC236}">
                  <a16:creationId xmlns:a16="http://schemas.microsoft.com/office/drawing/2014/main" id="{7DE60FB9-62FE-9C46-B40B-0229DBC6F0D9}"/>
                </a:ext>
              </a:extLst>
            </p:cNvPr>
            <p:cNvPicPr>
              <a:picLocks noChangeAspect="1"/>
            </p:cNvPicPr>
            <p:nvPr userDrawn="1"/>
          </p:nvPicPr>
          <p:blipFill>
            <a:blip r:embed="rId2" cstate="screen">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a:off x="3874331" y="1591161"/>
              <a:ext cx="4443338" cy="1542319"/>
            </a:xfrm>
            <a:prstGeom prst="rect">
              <a:avLst/>
            </a:prstGeom>
          </p:spPr>
        </p:pic>
        <p:sp>
          <p:nvSpPr>
            <p:cNvPr id="179" name="Parallelogram 178">
              <a:extLst>
                <a:ext uri="{FF2B5EF4-FFF2-40B4-BE49-F238E27FC236}">
                  <a16:creationId xmlns:a16="http://schemas.microsoft.com/office/drawing/2014/main" id="{C604ECB2-C049-5D43-9BEB-15DEE7EE1A1E}"/>
                </a:ext>
              </a:extLst>
            </p:cNvPr>
            <p:cNvSpPr>
              <a:spLocks/>
            </p:cNvSpPr>
            <p:nvPr userDrawn="1"/>
          </p:nvSpPr>
          <p:spPr bwMode="auto">
            <a:xfrm>
              <a:off x="2105247" y="1611455"/>
              <a:ext cx="8024037" cy="1607765"/>
            </a:xfrm>
            <a:prstGeom prst="parallelogram">
              <a:avLst>
                <a:gd name="adj" fmla="val 31844"/>
              </a:avLst>
            </a:prstGeom>
            <a:noFill/>
            <a:ln w="6350" cap="flat" cmpd="sng" algn="ctr">
              <a:solidFill>
                <a:schemeClr val="accent5">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r>
                <a:rPr lang="en-US" sz="1800" dirty="0">
                  <a:latin typeface="Arial" pitchFamily="124" charset="0"/>
                </a:rPr>
                <a:t> </a:t>
              </a:r>
            </a:p>
          </p:txBody>
        </p:sp>
        <p:cxnSp>
          <p:nvCxnSpPr>
            <p:cNvPr id="14" name="Straight Connector 13">
              <a:extLst>
                <a:ext uri="{FF2B5EF4-FFF2-40B4-BE49-F238E27FC236}">
                  <a16:creationId xmlns:a16="http://schemas.microsoft.com/office/drawing/2014/main" id="{995298F5-F7FE-A248-809C-3B79A412B130}"/>
                </a:ext>
              </a:extLst>
            </p:cNvPr>
            <p:cNvCxnSpPr/>
            <p:nvPr userDrawn="1"/>
          </p:nvCxnSpPr>
          <p:spPr>
            <a:xfrm flipV="1">
              <a:off x="6265284" y="1611455"/>
              <a:ext cx="516531" cy="1607765"/>
            </a:xfrm>
            <a:prstGeom prst="line">
              <a:avLst/>
            </a:prstGeom>
            <a:noFill/>
            <a:ln w="6350" cap="flat" cmpd="sng" algn="ctr">
              <a:solidFill>
                <a:schemeClr val="accent5">
                  <a:lumMod val="60000"/>
                  <a:lumOff val="40000"/>
                </a:schemeClr>
              </a:solidFill>
              <a:prstDash val="solid"/>
              <a:round/>
              <a:headEnd type="none" w="med" len="med"/>
              <a:tailEnd type="none" w="med" len="med"/>
            </a:ln>
            <a:effectLst/>
          </p:spPr>
        </p:cxnSp>
        <p:sp>
          <p:nvSpPr>
            <p:cNvPr id="186" name="TextBox 185">
              <a:extLst>
                <a:ext uri="{FF2B5EF4-FFF2-40B4-BE49-F238E27FC236}">
                  <a16:creationId xmlns:a16="http://schemas.microsoft.com/office/drawing/2014/main" id="{2E915A16-BE94-8648-888A-1C89BAA886EB}"/>
                </a:ext>
              </a:extLst>
            </p:cNvPr>
            <p:cNvSpPr txBox="1"/>
            <p:nvPr userDrawn="1"/>
          </p:nvSpPr>
          <p:spPr>
            <a:xfrm>
              <a:off x="2682698" y="2296374"/>
              <a:ext cx="873729" cy="174504"/>
            </a:xfrm>
            <a:prstGeom prst="rect">
              <a:avLst/>
            </a:prstGeom>
            <a:noFill/>
          </p:spPr>
          <p:txBody>
            <a:bodyPr wrap="none" lIns="0" tIns="0" rIns="0" bIns="0" rtlCol="0">
              <a:normAutofit/>
            </a:bodyPr>
            <a:lstStyle/>
            <a:p>
              <a:pPr marL="0" indent="0" algn="ctr" defTabSz="914400">
                <a:lnSpc>
                  <a:spcPct val="120000"/>
                </a:lnSpc>
                <a:spcBef>
                  <a:spcPts val="200"/>
                </a:spcBef>
                <a:buClr>
                  <a:schemeClr val="tx2"/>
                </a:buClr>
                <a:buSzPct val="100000"/>
                <a:buFont typeface="Arial" panose="020B0604020202020204" pitchFamily="34" charset="0"/>
                <a:buNone/>
              </a:pPr>
              <a:r>
                <a:rPr lang="en-US" sz="1050" dirty="0"/>
                <a:t>Angle Guide</a:t>
              </a:r>
            </a:p>
          </p:txBody>
        </p:sp>
        <p:sp>
          <p:nvSpPr>
            <p:cNvPr id="187" name="TextBox 186">
              <a:extLst>
                <a:ext uri="{FF2B5EF4-FFF2-40B4-BE49-F238E27FC236}">
                  <a16:creationId xmlns:a16="http://schemas.microsoft.com/office/drawing/2014/main" id="{E5BD1D51-69A2-4F40-9366-6263E56C9410}"/>
                </a:ext>
              </a:extLst>
            </p:cNvPr>
            <p:cNvSpPr txBox="1"/>
            <p:nvPr userDrawn="1"/>
          </p:nvSpPr>
          <p:spPr>
            <a:xfrm>
              <a:off x="8580213" y="2296374"/>
              <a:ext cx="873729" cy="174504"/>
            </a:xfrm>
            <a:prstGeom prst="rect">
              <a:avLst/>
            </a:prstGeom>
            <a:noFill/>
          </p:spPr>
          <p:txBody>
            <a:bodyPr wrap="none" lIns="0" tIns="0" rIns="0" bIns="0" rtlCol="0">
              <a:normAutofit/>
            </a:bodyPr>
            <a:lstStyle/>
            <a:p>
              <a:pPr marL="0" indent="0" algn="ctr" defTabSz="914400">
                <a:lnSpc>
                  <a:spcPct val="120000"/>
                </a:lnSpc>
                <a:spcBef>
                  <a:spcPts val="200"/>
                </a:spcBef>
                <a:buClr>
                  <a:schemeClr val="tx2"/>
                </a:buClr>
                <a:buSzPct val="100000"/>
                <a:buFont typeface="Arial" panose="020B0604020202020204" pitchFamily="34" charset="0"/>
                <a:buNone/>
              </a:pPr>
              <a:r>
                <a:rPr lang="en-US" sz="1050" dirty="0"/>
                <a:t>Angle Guide</a:t>
              </a:r>
            </a:p>
          </p:txBody>
        </p:sp>
        <p:cxnSp>
          <p:nvCxnSpPr>
            <p:cNvPr id="189" name="Straight Connector 188">
              <a:extLst>
                <a:ext uri="{FF2B5EF4-FFF2-40B4-BE49-F238E27FC236}">
                  <a16:creationId xmlns:a16="http://schemas.microsoft.com/office/drawing/2014/main" id="{C216DAF5-4369-B241-B946-0ED9F3E7EC5D}"/>
                </a:ext>
              </a:extLst>
            </p:cNvPr>
            <p:cNvCxnSpPr/>
            <p:nvPr userDrawn="1"/>
          </p:nvCxnSpPr>
          <p:spPr>
            <a:xfrm flipV="1">
              <a:off x="3649675" y="1611455"/>
              <a:ext cx="516531" cy="1607765"/>
            </a:xfrm>
            <a:prstGeom prst="line">
              <a:avLst/>
            </a:prstGeom>
            <a:noFill/>
            <a:ln w="6350" cap="flat" cmpd="sng" algn="ctr">
              <a:solidFill>
                <a:schemeClr val="accent5">
                  <a:lumMod val="60000"/>
                  <a:lumOff val="40000"/>
                </a:schemeClr>
              </a:solidFill>
              <a:prstDash val="solid"/>
              <a:round/>
              <a:headEnd type="none" w="med" len="med"/>
              <a:tailEnd type="none" w="med" len="med"/>
            </a:ln>
            <a:effectLst/>
          </p:spPr>
        </p:cxnSp>
        <p:cxnSp>
          <p:nvCxnSpPr>
            <p:cNvPr id="190" name="Straight Connector 189">
              <a:extLst>
                <a:ext uri="{FF2B5EF4-FFF2-40B4-BE49-F238E27FC236}">
                  <a16:creationId xmlns:a16="http://schemas.microsoft.com/office/drawing/2014/main" id="{8E1CD583-1C76-814A-860F-230F9D23AD6A}"/>
                </a:ext>
              </a:extLst>
            </p:cNvPr>
            <p:cNvCxnSpPr/>
            <p:nvPr userDrawn="1"/>
          </p:nvCxnSpPr>
          <p:spPr>
            <a:xfrm flipV="1">
              <a:off x="7921380" y="1611455"/>
              <a:ext cx="516531" cy="1607765"/>
            </a:xfrm>
            <a:prstGeom prst="line">
              <a:avLst/>
            </a:prstGeom>
            <a:noFill/>
            <a:ln w="6350" cap="flat" cmpd="sng" algn="ctr">
              <a:solidFill>
                <a:schemeClr val="accent5">
                  <a:lumMod val="60000"/>
                  <a:lumOff val="40000"/>
                </a:schemeClr>
              </a:solidFill>
              <a:prstDash val="solid"/>
              <a:round/>
              <a:headEnd type="none" w="med" len="med"/>
              <a:tailEnd type="none" w="med" len="med"/>
            </a:ln>
            <a:effectLst/>
          </p:spPr>
        </p:cxnSp>
      </p:grpSp>
      <p:grpSp>
        <p:nvGrpSpPr>
          <p:cNvPr id="181" name="Group 180">
            <a:extLst>
              <a:ext uri="{FF2B5EF4-FFF2-40B4-BE49-F238E27FC236}">
                <a16:creationId xmlns:a16="http://schemas.microsoft.com/office/drawing/2014/main" id="{17B7CBAA-697B-9947-AD1C-C40235244B0F}"/>
              </a:ext>
            </a:extLst>
          </p:cNvPr>
          <p:cNvGrpSpPr/>
          <p:nvPr userDrawn="1"/>
        </p:nvGrpSpPr>
        <p:grpSpPr>
          <a:xfrm>
            <a:off x="3963407" y="3336768"/>
            <a:ext cx="304800" cy="304800"/>
            <a:chOff x="4748283" y="3386554"/>
            <a:chExt cx="548640" cy="548640"/>
          </a:xfrm>
        </p:grpSpPr>
        <p:sp>
          <p:nvSpPr>
            <p:cNvPr id="182" name="Rectangle 181">
              <a:extLst>
                <a:ext uri="{FF2B5EF4-FFF2-40B4-BE49-F238E27FC236}">
                  <a16:creationId xmlns:a16="http://schemas.microsoft.com/office/drawing/2014/main" id="{A88E0141-6287-F149-9F46-2D66A8545A01}"/>
                </a:ext>
              </a:extLst>
            </p:cNvPr>
            <p:cNvSpPr/>
            <p:nvPr userDrawn="1"/>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83" name="Rectangle 182">
              <a:extLst>
                <a:ext uri="{FF2B5EF4-FFF2-40B4-BE49-F238E27FC236}">
                  <a16:creationId xmlns:a16="http://schemas.microsoft.com/office/drawing/2014/main" id="{53551AF9-97A5-3B4E-AA4D-60D4753217F4}"/>
                </a:ext>
              </a:extLst>
            </p:cNvPr>
            <p:cNvSpPr/>
            <p:nvPr userDrawn="1"/>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84" name="Rectangle 183">
              <a:extLst>
                <a:ext uri="{FF2B5EF4-FFF2-40B4-BE49-F238E27FC236}">
                  <a16:creationId xmlns:a16="http://schemas.microsoft.com/office/drawing/2014/main" id="{5985A5AB-159C-6143-9CC0-F93C575653B7}"/>
                </a:ext>
              </a:extLst>
            </p:cNvPr>
            <p:cNvSpPr/>
            <p:nvPr userDrawn="1"/>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85" name="Rectangle 184">
              <a:extLst>
                <a:ext uri="{FF2B5EF4-FFF2-40B4-BE49-F238E27FC236}">
                  <a16:creationId xmlns:a16="http://schemas.microsoft.com/office/drawing/2014/main" id="{298D322F-20C0-4E4A-B870-32AA6455F639}"/>
                </a:ext>
              </a:extLst>
            </p:cNvPr>
            <p:cNvSpPr/>
            <p:nvPr userDrawn="1"/>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grpSp>
      <p:grpSp>
        <p:nvGrpSpPr>
          <p:cNvPr id="188" name="Group 187">
            <a:extLst>
              <a:ext uri="{FF2B5EF4-FFF2-40B4-BE49-F238E27FC236}">
                <a16:creationId xmlns:a16="http://schemas.microsoft.com/office/drawing/2014/main" id="{D2D85B8E-D7B2-0945-9AB6-7468F6721FA3}"/>
              </a:ext>
            </a:extLst>
          </p:cNvPr>
          <p:cNvGrpSpPr/>
          <p:nvPr userDrawn="1"/>
        </p:nvGrpSpPr>
        <p:grpSpPr>
          <a:xfrm>
            <a:off x="7924800" y="3336768"/>
            <a:ext cx="304800" cy="304800"/>
            <a:chOff x="4748283" y="3386554"/>
            <a:chExt cx="548640" cy="548640"/>
          </a:xfrm>
        </p:grpSpPr>
        <p:sp>
          <p:nvSpPr>
            <p:cNvPr id="191" name="Rectangle 190">
              <a:extLst>
                <a:ext uri="{FF2B5EF4-FFF2-40B4-BE49-F238E27FC236}">
                  <a16:creationId xmlns:a16="http://schemas.microsoft.com/office/drawing/2014/main" id="{A975A5EF-01D3-3743-AE47-374A038B61D5}"/>
                </a:ext>
              </a:extLst>
            </p:cNvPr>
            <p:cNvSpPr/>
            <p:nvPr userDrawn="1"/>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92" name="Rectangle 191">
              <a:extLst>
                <a:ext uri="{FF2B5EF4-FFF2-40B4-BE49-F238E27FC236}">
                  <a16:creationId xmlns:a16="http://schemas.microsoft.com/office/drawing/2014/main" id="{E95B4873-B22D-4346-A27E-F0AE11F35C65}"/>
                </a:ext>
              </a:extLst>
            </p:cNvPr>
            <p:cNvSpPr/>
            <p:nvPr userDrawn="1"/>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93" name="Rectangle 192">
              <a:extLst>
                <a:ext uri="{FF2B5EF4-FFF2-40B4-BE49-F238E27FC236}">
                  <a16:creationId xmlns:a16="http://schemas.microsoft.com/office/drawing/2014/main" id="{7316ECA5-361F-174B-9AA1-C6ADA38E62B2}"/>
                </a:ext>
              </a:extLst>
            </p:cNvPr>
            <p:cNvSpPr/>
            <p:nvPr userDrawn="1"/>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94" name="Rectangle 193">
              <a:extLst>
                <a:ext uri="{FF2B5EF4-FFF2-40B4-BE49-F238E27FC236}">
                  <a16:creationId xmlns:a16="http://schemas.microsoft.com/office/drawing/2014/main" id="{7C4536FB-C1EA-B348-A838-B84EFAEBC16E}"/>
                </a:ext>
              </a:extLst>
            </p:cNvPr>
            <p:cNvSpPr/>
            <p:nvPr userDrawn="1"/>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grpSp>
      <p:grpSp>
        <p:nvGrpSpPr>
          <p:cNvPr id="195" name="Group 194">
            <a:extLst>
              <a:ext uri="{FF2B5EF4-FFF2-40B4-BE49-F238E27FC236}">
                <a16:creationId xmlns:a16="http://schemas.microsoft.com/office/drawing/2014/main" id="{E76E31F7-947B-F845-8A9D-EEB5C5547986}"/>
              </a:ext>
            </a:extLst>
          </p:cNvPr>
          <p:cNvGrpSpPr/>
          <p:nvPr userDrawn="1"/>
        </p:nvGrpSpPr>
        <p:grpSpPr>
          <a:xfrm>
            <a:off x="9906000" y="3336768"/>
            <a:ext cx="304800" cy="304800"/>
            <a:chOff x="4748283" y="3386554"/>
            <a:chExt cx="548640" cy="548640"/>
          </a:xfrm>
        </p:grpSpPr>
        <p:sp>
          <p:nvSpPr>
            <p:cNvPr id="196" name="Rectangle 195">
              <a:extLst>
                <a:ext uri="{FF2B5EF4-FFF2-40B4-BE49-F238E27FC236}">
                  <a16:creationId xmlns:a16="http://schemas.microsoft.com/office/drawing/2014/main" id="{316090AB-72DB-D541-B2C2-489BC043E2A5}"/>
                </a:ext>
              </a:extLst>
            </p:cNvPr>
            <p:cNvSpPr/>
            <p:nvPr userDrawn="1"/>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97" name="Rectangle 196">
              <a:extLst>
                <a:ext uri="{FF2B5EF4-FFF2-40B4-BE49-F238E27FC236}">
                  <a16:creationId xmlns:a16="http://schemas.microsoft.com/office/drawing/2014/main" id="{1C58D423-9C9B-0645-8B5E-DFE1512BF945}"/>
                </a:ext>
              </a:extLst>
            </p:cNvPr>
            <p:cNvSpPr/>
            <p:nvPr userDrawn="1"/>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98" name="Rectangle 197">
              <a:extLst>
                <a:ext uri="{FF2B5EF4-FFF2-40B4-BE49-F238E27FC236}">
                  <a16:creationId xmlns:a16="http://schemas.microsoft.com/office/drawing/2014/main" id="{D5D367F0-F94B-C047-BCC6-C662CD0E3116}"/>
                </a:ext>
              </a:extLst>
            </p:cNvPr>
            <p:cNvSpPr/>
            <p:nvPr userDrawn="1"/>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99" name="Rectangle 198">
              <a:extLst>
                <a:ext uri="{FF2B5EF4-FFF2-40B4-BE49-F238E27FC236}">
                  <a16:creationId xmlns:a16="http://schemas.microsoft.com/office/drawing/2014/main" id="{6644CC31-CD99-5148-A6B5-480C5986B28D}"/>
                </a:ext>
              </a:extLst>
            </p:cNvPr>
            <p:cNvSpPr/>
            <p:nvPr userDrawn="1"/>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grpSp>
      <p:grpSp>
        <p:nvGrpSpPr>
          <p:cNvPr id="200" name="Group 199">
            <a:extLst>
              <a:ext uri="{FF2B5EF4-FFF2-40B4-BE49-F238E27FC236}">
                <a16:creationId xmlns:a16="http://schemas.microsoft.com/office/drawing/2014/main" id="{84639A96-D1F9-394C-8893-9264021E1873}"/>
              </a:ext>
            </a:extLst>
          </p:cNvPr>
          <p:cNvGrpSpPr/>
          <p:nvPr userDrawn="1"/>
        </p:nvGrpSpPr>
        <p:grpSpPr>
          <a:xfrm>
            <a:off x="11887200" y="3336768"/>
            <a:ext cx="304800" cy="304800"/>
            <a:chOff x="4748283" y="3386554"/>
            <a:chExt cx="548640" cy="548640"/>
          </a:xfrm>
        </p:grpSpPr>
        <p:sp>
          <p:nvSpPr>
            <p:cNvPr id="201" name="Rectangle 200">
              <a:extLst>
                <a:ext uri="{FF2B5EF4-FFF2-40B4-BE49-F238E27FC236}">
                  <a16:creationId xmlns:a16="http://schemas.microsoft.com/office/drawing/2014/main" id="{26CE27B7-D33C-7C4E-8A41-A84A8332E0EF}"/>
                </a:ext>
              </a:extLst>
            </p:cNvPr>
            <p:cNvSpPr/>
            <p:nvPr userDrawn="1"/>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02" name="Rectangle 201">
              <a:extLst>
                <a:ext uri="{FF2B5EF4-FFF2-40B4-BE49-F238E27FC236}">
                  <a16:creationId xmlns:a16="http://schemas.microsoft.com/office/drawing/2014/main" id="{1B1358A7-AEA5-094F-84EF-501CF65DAA64}"/>
                </a:ext>
              </a:extLst>
            </p:cNvPr>
            <p:cNvSpPr/>
            <p:nvPr userDrawn="1"/>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03" name="Rectangle 202">
              <a:extLst>
                <a:ext uri="{FF2B5EF4-FFF2-40B4-BE49-F238E27FC236}">
                  <a16:creationId xmlns:a16="http://schemas.microsoft.com/office/drawing/2014/main" id="{734C809D-6E20-4C4B-B459-5AE47AD263B1}"/>
                </a:ext>
              </a:extLst>
            </p:cNvPr>
            <p:cNvSpPr/>
            <p:nvPr userDrawn="1"/>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04" name="Rectangle 203">
              <a:extLst>
                <a:ext uri="{FF2B5EF4-FFF2-40B4-BE49-F238E27FC236}">
                  <a16:creationId xmlns:a16="http://schemas.microsoft.com/office/drawing/2014/main" id="{56A56238-E627-0743-8485-6A2EA0E310FB}"/>
                </a:ext>
              </a:extLst>
            </p:cNvPr>
            <p:cNvSpPr/>
            <p:nvPr userDrawn="1"/>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grpSp>
      <p:grpSp>
        <p:nvGrpSpPr>
          <p:cNvPr id="205" name="Group 204">
            <a:extLst>
              <a:ext uri="{FF2B5EF4-FFF2-40B4-BE49-F238E27FC236}">
                <a16:creationId xmlns:a16="http://schemas.microsoft.com/office/drawing/2014/main" id="{04709478-0306-0A4E-9E3D-2285947433B1}"/>
              </a:ext>
            </a:extLst>
          </p:cNvPr>
          <p:cNvGrpSpPr/>
          <p:nvPr userDrawn="1"/>
        </p:nvGrpSpPr>
        <p:grpSpPr>
          <a:xfrm>
            <a:off x="5943600" y="3336768"/>
            <a:ext cx="304800" cy="304800"/>
            <a:chOff x="4748283" y="3386554"/>
            <a:chExt cx="548640" cy="548640"/>
          </a:xfrm>
        </p:grpSpPr>
        <p:sp>
          <p:nvSpPr>
            <p:cNvPr id="206" name="Rectangle 205">
              <a:extLst>
                <a:ext uri="{FF2B5EF4-FFF2-40B4-BE49-F238E27FC236}">
                  <a16:creationId xmlns:a16="http://schemas.microsoft.com/office/drawing/2014/main" id="{4C8FF7EF-2E4F-FD4F-A3A0-75ABC31D9367}"/>
                </a:ext>
              </a:extLst>
            </p:cNvPr>
            <p:cNvSpPr/>
            <p:nvPr userDrawn="1"/>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07" name="Rectangle 206">
              <a:extLst>
                <a:ext uri="{FF2B5EF4-FFF2-40B4-BE49-F238E27FC236}">
                  <a16:creationId xmlns:a16="http://schemas.microsoft.com/office/drawing/2014/main" id="{E4423001-18F4-8747-A453-1E555B4DB433}"/>
                </a:ext>
              </a:extLst>
            </p:cNvPr>
            <p:cNvSpPr/>
            <p:nvPr userDrawn="1"/>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08" name="Rectangle 207">
              <a:extLst>
                <a:ext uri="{FF2B5EF4-FFF2-40B4-BE49-F238E27FC236}">
                  <a16:creationId xmlns:a16="http://schemas.microsoft.com/office/drawing/2014/main" id="{43CFB934-922B-CA44-B4A3-B5D1EBFF6679}"/>
                </a:ext>
              </a:extLst>
            </p:cNvPr>
            <p:cNvSpPr/>
            <p:nvPr userDrawn="1"/>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09" name="Rectangle 208">
              <a:extLst>
                <a:ext uri="{FF2B5EF4-FFF2-40B4-BE49-F238E27FC236}">
                  <a16:creationId xmlns:a16="http://schemas.microsoft.com/office/drawing/2014/main" id="{D3111098-443F-2E42-918A-9F46F3B6FC25}"/>
                </a:ext>
              </a:extLst>
            </p:cNvPr>
            <p:cNvSpPr/>
            <p:nvPr userDrawn="1"/>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grpSp>
      <p:grpSp>
        <p:nvGrpSpPr>
          <p:cNvPr id="210" name="Group 209">
            <a:extLst>
              <a:ext uri="{FF2B5EF4-FFF2-40B4-BE49-F238E27FC236}">
                <a16:creationId xmlns:a16="http://schemas.microsoft.com/office/drawing/2014/main" id="{057BE225-E017-EA44-B680-33434BD63A6F}"/>
              </a:ext>
            </a:extLst>
          </p:cNvPr>
          <p:cNvGrpSpPr/>
          <p:nvPr userDrawn="1"/>
        </p:nvGrpSpPr>
        <p:grpSpPr>
          <a:xfrm>
            <a:off x="1980193" y="3336768"/>
            <a:ext cx="304800" cy="304800"/>
            <a:chOff x="4748283" y="3386554"/>
            <a:chExt cx="548640" cy="548640"/>
          </a:xfrm>
        </p:grpSpPr>
        <p:sp>
          <p:nvSpPr>
            <p:cNvPr id="211" name="Rectangle 210">
              <a:extLst>
                <a:ext uri="{FF2B5EF4-FFF2-40B4-BE49-F238E27FC236}">
                  <a16:creationId xmlns:a16="http://schemas.microsoft.com/office/drawing/2014/main" id="{05058B38-A7D0-B143-8B3C-BEFC28FA8F38}"/>
                </a:ext>
              </a:extLst>
            </p:cNvPr>
            <p:cNvSpPr/>
            <p:nvPr userDrawn="1"/>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12" name="Rectangle 211">
              <a:extLst>
                <a:ext uri="{FF2B5EF4-FFF2-40B4-BE49-F238E27FC236}">
                  <a16:creationId xmlns:a16="http://schemas.microsoft.com/office/drawing/2014/main" id="{77CF3B45-6662-4146-986C-179EC7AFF7CF}"/>
                </a:ext>
              </a:extLst>
            </p:cNvPr>
            <p:cNvSpPr/>
            <p:nvPr userDrawn="1"/>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13" name="Rectangle 212">
              <a:extLst>
                <a:ext uri="{FF2B5EF4-FFF2-40B4-BE49-F238E27FC236}">
                  <a16:creationId xmlns:a16="http://schemas.microsoft.com/office/drawing/2014/main" id="{6FE86D6C-6C45-7848-B1D5-BF0D1DEC280D}"/>
                </a:ext>
              </a:extLst>
            </p:cNvPr>
            <p:cNvSpPr/>
            <p:nvPr userDrawn="1"/>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14" name="Rectangle 213">
              <a:extLst>
                <a:ext uri="{FF2B5EF4-FFF2-40B4-BE49-F238E27FC236}">
                  <a16:creationId xmlns:a16="http://schemas.microsoft.com/office/drawing/2014/main" id="{8CC16F0D-A051-7A49-91A5-5DA02E04F221}"/>
                </a:ext>
              </a:extLst>
            </p:cNvPr>
            <p:cNvSpPr/>
            <p:nvPr userDrawn="1"/>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grpSp>
      <p:grpSp>
        <p:nvGrpSpPr>
          <p:cNvPr id="215" name="Group 214">
            <a:extLst>
              <a:ext uri="{FF2B5EF4-FFF2-40B4-BE49-F238E27FC236}">
                <a16:creationId xmlns:a16="http://schemas.microsoft.com/office/drawing/2014/main" id="{D99BC775-8E39-C444-BCEA-DDA72473D4EC}"/>
              </a:ext>
            </a:extLst>
          </p:cNvPr>
          <p:cNvGrpSpPr/>
          <p:nvPr userDrawn="1"/>
        </p:nvGrpSpPr>
        <p:grpSpPr>
          <a:xfrm>
            <a:off x="0" y="4022568"/>
            <a:ext cx="304800" cy="304800"/>
            <a:chOff x="4748283" y="3386554"/>
            <a:chExt cx="548640" cy="548640"/>
          </a:xfrm>
        </p:grpSpPr>
        <p:sp>
          <p:nvSpPr>
            <p:cNvPr id="216" name="Rectangle 215">
              <a:extLst>
                <a:ext uri="{FF2B5EF4-FFF2-40B4-BE49-F238E27FC236}">
                  <a16:creationId xmlns:a16="http://schemas.microsoft.com/office/drawing/2014/main" id="{F9977F6A-6B9E-1C4E-AAC2-46D0DD34D901}"/>
                </a:ext>
              </a:extLst>
            </p:cNvPr>
            <p:cNvSpPr/>
            <p:nvPr userDrawn="1"/>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17" name="Rectangle 216">
              <a:extLst>
                <a:ext uri="{FF2B5EF4-FFF2-40B4-BE49-F238E27FC236}">
                  <a16:creationId xmlns:a16="http://schemas.microsoft.com/office/drawing/2014/main" id="{72F6DFE7-8D4C-3A47-ABCA-77D6942BC114}"/>
                </a:ext>
              </a:extLst>
            </p:cNvPr>
            <p:cNvSpPr/>
            <p:nvPr userDrawn="1"/>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18" name="Rectangle 217">
              <a:extLst>
                <a:ext uri="{FF2B5EF4-FFF2-40B4-BE49-F238E27FC236}">
                  <a16:creationId xmlns:a16="http://schemas.microsoft.com/office/drawing/2014/main" id="{898CAABC-824D-8B40-81D5-DB5C7B85FBD3}"/>
                </a:ext>
              </a:extLst>
            </p:cNvPr>
            <p:cNvSpPr/>
            <p:nvPr userDrawn="1"/>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19" name="Rectangle 218">
              <a:extLst>
                <a:ext uri="{FF2B5EF4-FFF2-40B4-BE49-F238E27FC236}">
                  <a16:creationId xmlns:a16="http://schemas.microsoft.com/office/drawing/2014/main" id="{401A11D4-F512-4E44-B4EE-35F179DA9F87}"/>
                </a:ext>
              </a:extLst>
            </p:cNvPr>
            <p:cNvSpPr/>
            <p:nvPr userDrawn="1"/>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grpSp>
      <p:grpSp>
        <p:nvGrpSpPr>
          <p:cNvPr id="220" name="Group 219">
            <a:extLst>
              <a:ext uri="{FF2B5EF4-FFF2-40B4-BE49-F238E27FC236}">
                <a16:creationId xmlns:a16="http://schemas.microsoft.com/office/drawing/2014/main" id="{700A9315-40A9-D84F-9AB7-D39B3E5B9A0F}"/>
              </a:ext>
            </a:extLst>
          </p:cNvPr>
          <p:cNvGrpSpPr/>
          <p:nvPr userDrawn="1"/>
        </p:nvGrpSpPr>
        <p:grpSpPr>
          <a:xfrm>
            <a:off x="11887200" y="4022568"/>
            <a:ext cx="304800" cy="304800"/>
            <a:chOff x="4748283" y="3386554"/>
            <a:chExt cx="548640" cy="548640"/>
          </a:xfrm>
        </p:grpSpPr>
        <p:sp>
          <p:nvSpPr>
            <p:cNvPr id="221" name="Rectangle 220">
              <a:extLst>
                <a:ext uri="{FF2B5EF4-FFF2-40B4-BE49-F238E27FC236}">
                  <a16:creationId xmlns:a16="http://schemas.microsoft.com/office/drawing/2014/main" id="{1DDA8EB4-69B8-454B-A0A8-51EB6909CABF}"/>
                </a:ext>
              </a:extLst>
            </p:cNvPr>
            <p:cNvSpPr/>
            <p:nvPr userDrawn="1"/>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22" name="Rectangle 221">
              <a:extLst>
                <a:ext uri="{FF2B5EF4-FFF2-40B4-BE49-F238E27FC236}">
                  <a16:creationId xmlns:a16="http://schemas.microsoft.com/office/drawing/2014/main" id="{C98D2229-52B2-4141-9486-B54FFDBC4976}"/>
                </a:ext>
              </a:extLst>
            </p:cNvPr>
            <p:cNvSpPr/>
            <p:nvPr userDrawn="1"/>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23" name="Rectangle 222">
              <a:extLst>
                <a:ext uri="{FF2B5EF4-FFF2-40B4-BE49-F238E27FC236}">
                  <a16:creationId xmlns:a16="http://schemas.microsoft.com/office/drawing/2014/main" id="{97C4CC21-6416-2143-96C8-F6F25E2B1AC7}"/>
                </a:ext>
              </a:extLst>
            </p:cNvPr>
            <p:cNvSpPr/>
            <p:nvPr userDrawn="1"/>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24" name="Rectangle 223">
              <a:extLst>
                <a:ext uri="{FF2B5EF4-FFF2-40B4-BE49-F238E27FC236}">
                  <a16:creationId xmlns:a16="http://schemas.microsoft.com/office/drawing/2014/main" id="{1C12B847-D2B4-884C-8313-F6C7514ABD4F}"/>
                </a:ext>
              </a:extLst>
            </p:cNvPr>
            <p:cNvSpPr/>
            <p:nvPr userDrawn="1"/>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grpSp>
      <p:grpSp>
        <p:nvGrpSpPr>
          <p:cNvPr id="225" name="Group 224">
            <a:extLst>
              <a:ext uri="{FF2B5EF4-FFF2-40B4-BE49-F238E27FC236}">
                <a16:creationId xmlns:a16="http://schemas.microsoft.com/office/drawing/2014/main" id="{B23162C8-AA87-234C-8BFA-54E95C1CB7D8}"/>
              </a:ext>
            </a:extLst>
          </p:cNvPr>
          <p:cNvGrpSpPr/>
          <p:nvPr userDrawn="1"/>
        </p:nvGrpSpPr>
        <p:grpSpPr>
          <a:xfrm>
            <a:off x="0" y="5942808"/>
            <a:ext cx="304800" cy="304800"/>
            <a:chOff x="4748283" y="3386554"/>
            <a:chExt cx="548640" cy="548640"/>
          </a:xfrm>
        </p:grpSpPr>
        <p:sp>
          <p:nvSpPr>
            <p:cNvPr id="226" name="Rectangle 225">
              <a:extLst>
                <a:ext uri="{FF2B5EF4-FFF2-40B4-BE49-F238E27FC236}">
                  <a16:creationId xmlns:a16="http://schemas.microsoft.com/office/drawing/2014/main" id="{843E3B4D-34D5-464E-ACDC-6FA951C726CF}"/>
                </a:ext>
              </a:extLst>
            </p:cNvPr>
            <p:cNvSpPr/>
            <p:nvPr userDrawn="1"/>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27" name="Rectangle 226">
              <a:extLst>
                <a:ext uri="{FF2B5EF4-FFF2-40B4-BE49-F238E27FC236}">
                  <a16:creationId xmlns:a16="http://schemas.microsoft.com/office/drawing/2014/main" id="{45072EF5-19DE-E444-AAA3-70EA825EF3A6}"/>
                </a:ext>
              </a:extLst>
            </p:cNvPr>
            <p:cNvSpPr/>
            <p:nvPr userDrawn="1"/>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28" name="Rectangle 227">
              <a:extLst>
                <a:ext uri="{FF2B5EF4-FFF2-40B4-BE49-F238E27FC236}">
                  <a16:creationId xmlns:a16="http://schemas.microsoft.com/office/drawing/2014/main" id="{45B8AFE6-D81D-334A-A0DE-108DEC4FE9E4}"/>
                </a:ext>
              </a:extLst>
            </p:cNvPr>
            <p:cNvSpPr/>
            <p:nvPr userDrawn="1"/>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29" name="Rectangle 228">
              <a:extLst>
                <a:ext uri="{FF2B5EF4-FFF2-40B4-BE49-F238E27FC236}">
                  <a16:creationId xmlns:a16="http://schemas.microsoft.com/office/drawing/2014/main" id="{DD7B1247-C4D0-8345-A044-77842C853636}"/>
                </a:ext>
              </a:extLst>
            </p:cNvPr>
            <p:cNvSpPr/>
            <p:nvPr userDrawn="1"/>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grpSp>
      <p:grpSp>
        <p:nvGrpSpPr>
          <p:cNvPr id="230" name="Group 229">
            <a:extLst>
              <a:ext uri="{FF2B5EF4-FFF2-40B4-BE49-F238E27FC236}">
                <a16:creationId xmlns:a16="http://schemas.microsoft.com/office/drawing/2014/main" id="{4FAF1564-23C7-014C-8813-95E58171A851}"/>
              </a:ext>
            </a:extLst>
          </p:cNvPr>
          <p:cNvGrpSpPr/>
          <p:nvPr userDrawn="1"/>
        </p:nvGrpSpPr>
        <p:grpSpPr>
          <a:xfrm>
            <a:off x="11887200" y="5942808"/>
            <a:ext cx="304800" cy="304800"/>
            <a:chOff x="4748283" y="3386554"/>
            <a:chExt cx="548640" cy="548640"/>
          </a:xfrm>
        </p:grpSpPr>
        <p:sp>
          <p:nvSpPr>
            <p:cNvPr id="231" name="Rectangle 230">
              <a:extLst>
                <a:ext uri="{FF2B5EF4-FFF2-40B4-BE49-F238E27FC236}">
                  <a16:creationId xmlns:a16="http://schemas.microsoft.com/office/drawing/2014/main" id="{3B76C84A-88F8-3C45-A239-5651976DD66D}"/>
                </a:ext>
              </a:extLst>
            </p:cNvPr>
            <p:cNvSpPr/>
            <p:nvPr userDrawn="1"/>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32" name="Rectangle 231">
              <a:extLst>
                <a:ext uri="{FF2B5EF4-FFF2-40B4-BE49-F238E27FC236}">
                  <a16:creationId xmlns:a16="http://schemas.microsoft.com/office/drawing/2014/main" id="{845DC494-BE64-A745-8CD0-81E051547230}"/>
                </a:ext>
              </a:extLst>
            </p:cNvPr>
            <p:cNvSpPr/>
            <p:nvPr userDrawn="1"/>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33" name="Rectangle 232">
              <a:extLst>
                <a:ext uri="{FF2B5EF4-FFF2-40B4-BE49-F238E27FC236}">
                  <a16:creationId xmlns:a16="http://schemas.microsoft.com/office/drawing/2014/main" id="{FBD3DA86-F239-BD49-8C62-C34D450A6C60}"/>
                </a:ext>
              </a:extLst>
            </p:cNvPr>
            <p:cNvSpPr/>
            <p:nvPr userDrawn="1"/>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34" name="Rectangle 233">
              <a:extLst>
                <a:ext uri="{FF2B5EF4-FFF2-40B4-BE49-F238E27FC236}">
                  <a16:creationId xmlns:a16="http://schemas.microsoft.com/office/drawing/2014/main" id="{3BCD5E29-B820-2F4C-9158-81957BD5C79F}"/>
                </a:ext>
              </a:extLst>
            </p:cNvPr>
            <p:cNvSpPr/>
            <p:nvPr userDrawn="1"/>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grpSp>
      <p:grpSp>
        <p:nvGrpSpPr>
          <p:cNvPr id="235" name="Group 234">
            <a:extLst>
              <a:ext uri="{FF2B5EF4-FFF2-40B4-BE49-F238E27FC236}">
                <a16:creationId xmlns:a16="http://schemas.microsoft.com/office/drawing/2014/main" id="{BC4339DB-0A78-4D4F-ACC7-B6BCF9BCF895}"/>
              </a:ext>
            </a:extLst>
          </p:cNvPr>
          <p:cNvGrpSpPr/>
          <p:nvPr userDrawn="1"/>
        </p:nvGrpSpPr>
        <p:grpSpPr>
          <a:xfrm>
            <a:off x="5943600" y="5942808"/>
            <a:ext cx="304800" cy="304800"/>
            <a:chOff x="4748283" y="3386554"/>
            <a:chExt cx="548640" cy="548640"/>
          </a:xfrm>
        </p:grpSpPr>
        <p:sp>
          <p:nvSpPr>
            <p:cNvPr id="236" name="Rectangle 235">
              <a:extLst>
                <a:ext uri="{FF2B5EF4-FFF2-40B4-BE49-F238E27FC236}">
                  <a16:creationId xmlns:a16="http://schemas.microsoft.com/office/drawing/2014/main" id="{66EE9A13-5940-B04E-BB5C-B092EBAD5D48}"/>
                </a:ext>
              </a:extLst>
            </p:cNvPr>
            <p:cNvSpPr/>
            <p:nvPr userDrawn="1"/>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37" name="Rectangle 236">
              <a:extLst>
                <a:ext uri="{FF2B5EF4-FFF2-40B4-BE49-F238E27FC236}">
                  <a16:creationId xmlns:a16="http://schemas.microsoft.com/office/drawing/2014/main" id="{28A2D025-B1E2-ED4E-9B87-D697E3816D54}"/>
                </a:ext>
              </a:extLst>
            </p:cNvPr>
            <p:cNvSpPr/>
            <p:nvPr userDrawn="1"/>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38" name="Rectangle 237">
              <a:extLst>
                <a:ext uri="{FF2B5EF4-FFF2-40B4-BE49-F238E27FC236}">
                  <a16:creationId xmlns:a16="http://schemas.microsoft.com/office/drawing/2014/main" id="{0391AC68-8EC3-FA49-9143-A349248317DD}"/>
                </a:ext>
              </a:extLst>
            </p:cNvPr>
            <p:cNvSpPr/>
            <p:nvPr userDrawn="1"/>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39" name="Rectangle 238">
              <a:extLst>
                <a:ext uri="{FF2B5EF4-FFF2-40B4-BE49-F238E27FC236}">
                  <a16:creationId xmlns:a16="http://schemas.microsoft.com/office/drawing/2014/main" id="{E3C4D852-4913-CF46-BC3B-94FA8DC3ED68}"/>
                </a:ext>
              </a:extLst>
            </p:cNvPr>
            <p:cNvSpPr/>
            <p:nvPr userDrawn="1"/>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grpSp>
      <p:grpSp>
        <p:nvGrpSpPr>
          <p:cNvPr id="240" name="Group 239">
            <a:extLst>
              <a:ext uri="{FF2B5EF4-FFF2-40B4-BE49-F238E27FC236}">
                <a16:creationId xmlns:a16="http://schemas.microsoft.com/office/drawing/2014/main" id="{C1C44CFA-8AE5-7C40-B170-B3FC77FAF595}"/>
              </a:ext>
            </a:extLst>
          </p:cNvPr>
          <p:cNvGrpSpPr/>
          <p:nvPr userDrawn="1"/>
        </p:nvGrpSpPr>
        <p:grpSpPr>
          <a:xfrm>
            <a:off x="0" y="4653504"/>
            <a:ext cx="304800" cy="304800"/>
            <a:chOff x="4748283" y="3386554"/>
            <a:chExt cx="548640" cy="548640"/>
          </a:xfrm>
        </p:grpSpPr>
        <p:sp>
          <p:nvSpPr>
            <p:cNvPr id="241" name="Rectangle 240">
              <a:extLst>
                <a:ext uri="{FF2B5EF4-FFF2-40B4-BE49-F238E27FC236}">
                  <a16:creationId xmlns:a16="http://schemas.microsoft.com/office/drawing/2014/main" id="{31B9B98A-2259-5E45-B29F-3130A3054D8B}"/>
                </a:ext>
              </a:extLst>
            </p:cNvPr>
            <p:cNvSpPr/>
            <p:nvPr userDrawn="1"/>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42" name="Rectangle 241">
              <a:extLst>
                <a:ext uri="{FF2B5EF4-FFF2-40B4-BE49-F238E27FC236}">
                  <a16:creationId xmlns:a16="http://schemas.microsoft.com/office/drawing/2014/main" id="{6015B817-B7B4-824C-8B3F-348D0346093A}"/>
                </a:ext>
              </a:extLst>
            </p:cNvPr>
            <p:cNvSpPr/>
            <p:nvPr userDrawn="1"/>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43" name="Rectangle 242">
              <a:extLst>
                <a:ext uri="{FF2B5EF4-FFF2-40B4-BE49-F238E27FC236}">
                  <a16:creationId xmlns:a16="http://schemas.microsoft.com/office/drawing/2014/main" id="{D93EDFDC-3D94-CE4B-B39F-A6DDA54EE3D4}"/>
                </a:ext>
              </a:extLst>
            </p:cNvPr>
            <p:cNvSpPr/>
            <p:nvPr userDrawn="1"/>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44" name="Rectangle 243">
              <a:extLst>
                <a:ext uri="{FF2B5EF4-FFF2-40B4-BE49-F238E27FC236}">
                  <a16:creationId xmlns:a16="http://schemas.microsoft.com/office/drawing/2014/main" id="{435ADABB-6E70-3C41-B0FD-DAA5B1F750F5}"/>
                </a:ext>
              </a:extLst>
            </p:cNvPr>
            <p:cNvSpPr/>
            <p:nvPr userDrawn="1"/>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grpSp>
      <p:grpSp>
        <p:nvGrpSpPr>
          <p:cNvPr id="245" name="Group 244">
            <a:extLst>
              <a:ext uri="{FF2B5EF4-FFF2-40B4-BE49-F238E27FC236}">
                <a16:creationId xmlns:a16="http://schemas.microsoft.com/office/drawing/2014/main" id="{3399A56C-B83E-7643-A12B-4EA65A03C522}"/>
              </a:ext>
            </a:extLst>
          </p:cNvPr>
          <p:cNvGrpSpPr/>
          <p:nvPr userDrawn="1"/>
        </p:nvGrpSpPr>
        <p:grpSpPr>
          <a:xfrm>
            <a:off x="11887200" y="4653504"/>
            <a:ext cx="304800" cy="304800"/>
            <a:chOff x="4748283" y="3386554"/>
            <a:chExt cx="548640" cy="548640"/>
          </a:xfrm>
        </p:grpSpPr>
        <p:sp>
          <p:nvSpPr>
            <p:cNvPr id="246" name="Rectangle 245">
              <a:extLst>
                <a:ext uri="{FF2B5EF4-FFF2-40B4-BE49-F238E27FC236}">
                  <a16:creationId xmlns:a16="http://schemas.microsoft.com/office/drawing/2014/main" id="{FB972310-8E11-5640-81BC-CD5D32201139}"/>
                </a:ext>
              </a:extLst>
            </p:cNvPr>
            <p:cNvSpPr/>
            <p:nvPr userDrawn="1"/>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47" name="Rectangle 246">
              <a:extLst>
                <a:ext uri="{FF2B5EF4-FFF2-40B4-BE49-F238E27FC236}">
                  <a16:creationId xmlns:a16="http://schemas.microsoft.com/office/drawing/2014/main" id="{912CC259-0F2E-E84A-A6A3-85D77CC9D1E0}"/>
                </a:ext>
              </a:extLst>
            </p:cNvPr>
            <p:cNvSpPr/>
            <p:nvPr userDrawn="1"/>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48" name="Rectangle 247">
              <a:extLst>
                <a:ext uri="{FF2B5EF4-FFF2-40B4-BE49-F238E27FC236}">
                  <a16:creationId xmlns:a16="http://schemas.microsoft.com/office/drawing/2014/main" id="{52F77FD8-0431-184A-9695-981B4C5D8544}"/>
                </a:ext>
              </a:extLst>
            </p:cNvPr>
            <p:cNvSpPr/>
            <p:nvPr userDrawn="1"/>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49" name="Rectangle 248">
              <a:extLst>
                <a:ext uri="{FF2B5EF4-FFF2-40B4-BE49-F238E27FC236}">
                  <a16:creationId xmlns:a16="http://schemas.microsoft.com/office/drawing/2014/main" id="{36E6A796-48F0-E043-9031-7E2821EF66B4}"/>
                </a:ext>
              </a:extLst>
            </p:cNvPr>
            <p:cNvSpPr/>
            <p:nvPr userDrawn="1"/>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grpSp>
      <p:grpSp>
        <p:nvGrpSpPr>
          <p:cNvPr id="250" name="Group 249">
            <a:extLst>
              <a:ext uri="{FF2B5EF4-FFF2-40B4-BE49-F238E27FC236}">
                <a16:creationId xmlns:a16="http://schemas.microsoft.com/office/drawing/2014/main" id="{3EDF014D-88EC-1F47-AC20-387EE0C92025}"/>
              </a:ext>
            </a:extLst>
          </p:cNvPr>
          <p:cNvGrpSpPr/>
          <p:nvPr userDrawn="1"/>
        </p:nvGrpSpPr>
        <p:grpSpPr>
          <a:xfrm>
            <a:off x="5943600" y="4653504"/>
            <a:ext cx="304800" cy="304800"/>
            <a:chOff x="4748283" y="3386554"/>
            <a:chExt cx="548640" cy="548640"/>
          </a:xfrm>
        </p:grpSpPr>
        <p:sp>
          <p:nvSpPr>
            <p:cNvPr id="251" name="Rectangle 250">
              <a:extLst>
                <a:ext uri="{FF2B5EF4-FFF2-40B4-BE49-F238E27FC236}">
                  <a16:creationId xmlns:a16="http://schemas.microsoft.com/office/drawing/2014/main" id="{A74667D0-5DDF-9A4B-AB47-D1E4277760AF}"/>
                </a:ext>
              </a:extLst>
            </p:cNvPr>
            <p:cNvSpPr/>
            <p:nvPr userDrawn="1"/>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52" name="Rectangle 251">
              <a:extLst>
                <a:ext uri="{FF2B5EF4-FFF2-40B4-BE49-F238E27FC236}">
                  <a16:creationId xmlns:a16="http://schemas.microsoft.com/office/drawing/2014/main" id="{6C83533B-6095-FB43-B52C-64A467E82A40}"/>
                </a:ext>
              </a:extLst>
            </p:cNvPr>
            <p:cNvSpPr/>
            <p:nvPr userDrawn="1"/>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53" name="Rectangle 252">
              <a:extLst>
                <a:ext uri="{FF2B5EF4-FFF2-40B4-BE49-F238E27FC236}">
                  <a16:creationId xmlns:a16="http://schemas.microsoft.com/office/drawing/2014/main" id="{738327B2-A959-BA4B-86DA-0106C58C404B}"/>
                </a:ext>
              </a:extLst>
            </p:cNvPr>
            <p:cNvSpPr/>
            <p:nvPr userDrawn="1"/>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54" name="Rectangle 253">
              <a:extLst>
                <a:ext uri="{FF2B5EF4-FFF2-40B4-BE49-F238E27FC236}">
                  <a16:creationId xmlns:a16="http://schemas.microsoft.com/office/drawing/2014/main" id="{F4E92AB0-7BFA-2746-B207-200F1CAA027B}"/>
                </a:ext>
              </a:extLst>
            </p:cNvPr>
            <p:cNvSpPr/>
            <p:nvPr userDrawn="1"/>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grpSp>
      <p:grpSp>
        <p:nvGrpSpPr>
          <p:cNvPr id="255" name="Group 254">
            <a:extLst>
              <a:ext uri="{FF2B5EF4-FFF2-40B4-BE49-F238E27FC236}">
                <a16:creationId xmlns:a16="http://schemas.microsoft.com/office/drawing/2014/main" id="{5CA4096E-5973-6A47-B708-CE3BB13BB51A}"/>
              </a:ext>
            </a:extLst>
          </p:cNvPr>
          <p:cNvGrpSpPr/>
          <p:nvPr userDrawn="1"/>
        </p:nvGrpSpPr>
        <p:grpSpPr>
          <a:xfrm>
            <a:off x="0" y="5302728"/>
            <a:ext cx="304800" cy="304800"/>
            <a:chOff x="4748283" y="3386554"/>
            <a:chExt cx="548640" cy="548640"/>
          </a:xfrm>
        </p:grpSpPr>
        <p:sp>
          <p:nvSpPr>
            <p:cNvPr id="256" name="Rectangle 255">
              <a:extLst>
                <a:ext uri="{FF2B5EF4-FFF2-40B4-BE49-F238E27FC236}">
                  <a16:creationId xmlns:a16="http://schemas.microsoft.com/office/drawing/2014/main" id="{498E62DC-BC0A-B04A-84CF-17BFBB579E34}"/>
                </a:ext>
              </a:extLst>
            </p:cNvPr>
            <p:cNvSpPr/>
            <p:nvPr userDrawn="1"/>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57" name="Rectangle 256">
              <a:extLst>
                <a:ext uri="{FF2B5EF4-FFF2-40B4-BE49-F238E27FC236}">
                  <a16:creationId xmlns:a16="http://schemas.microsoft.com/office/drawing/2014/main" id="{89047A1C-E0AC-1847-9DFA-91C547516170}"/>
                </a:ext>
              </a:extLst>
            </p:cNvPr>
            <p:cNvSpPr/>
            <p:nvPr userDrawn="1"/>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58" name="Rectangle 257">
              <a:extLst>
                <a:ext uri="{FF2B5EF4-FFF2-40B4-BE49-F238E27FC236}">
                  <a16:creationId xmlns:a16="http://schemas.microsoft.com/office/drawing/2014/main" id="{E4618B3D-BC20-364E-B6F2-A86023EA0AEA}"/>
                </a:ext>
              </a:extLst>
            </p:cNvPr>
            <p:cNvSpPr/>
            <p:nvPr userDrawn="1"/>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59" name="Rectangle 258">
              <a:extLst>
                <a:ext uri="{FF2B5EF4-FFF2-40B4-BE49-F238E27FC236}">
                  <a16:creationId xmlns:a16="http://schemas.microsoft.com/office/drawing/2014/main" id="{080F8D48-1993-EE43-AA8A-B844279EE18E}"/>
                </a:ext>
              </a:extLst>
            </p:cNvPr>
            <p:cNvSpPr/>
            <p:nvPr userDrawn="1"/>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grpSp>
      <p:grpSp>
        <p:nvGrpSpPr>
          <p:cNvPr id="260" name="Group 259">
            <a:extLst>
              <a:ext uri="{FF2B5EF4-FFF2-40B4-BE49-F238E27FC236}">
                <a16:creationId xmlns:a16="http://schemas.microsoft.com/office/drawing/2014/main" id="{572295DF-BFD7-2844-ACBC-57AF6670E7FC}"/>
              </a:ext>
            </a:extLst>
          </p:cNvPr>
          <p:cNvGrpSpPr/>
          <p:nvPr userDrawn="1"/>
        </p:nvGrpSpPr>
        <p:grpSpPr>
          <a:xfrm>
            <a:off x="3962399" y="5297033"/>
            <a:ext cx="304800" cy="304800"/>
            <a:chOff x="4748283" y="3386554"/>
            <a:chExt cx="548640" cy="548640"/>
          </a:xfrm>
        </p:grpSpPr>
        <p:sp>
          <p:nvSpPr>
            <p:cNvPr id="261" name="Rectangle 260">
              <a:extLst>
                <a:ext uri="{FF2B5EF4-FFF2-40B4-BE49-F238E27FC236}">
                  <a16:creationId xmlns:a16="http://schemas.microsoft.com/office/drawing/2014/main" id="{9531D9D3-9807-2D41-98AF-C233F2A345C4}"/>
                </a:ext>
              </a:extLst>
            </p:cNvPr>
            <p:cNvSpPr/>
            <p:nvPr userDrawn="1"/>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62" name="Rectangle 261">
              <a:extLst>
                <a:ext uri="{FF2B5EF4-FFF2-40B4-BE49-F238E27FC236}">
                  <a16:creationId xmlns:a16="http://schemas.microsoft.com/office/drawing/2014/main" id="{FF063361-13F3-9743-812C-C457478D9E7E}"/>
                </a:ext>
              </a:extLst>
            </p:cNvPr>
            <p:cNvSpPr/>
            <p:nvPr userDrawn="1"/>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63" name="Rectangle 262">
              <a:extLst>
                <a:ext uri="{FF2B5EF4-FFF2-40B4-BE49-F238E27FC236}">
                  <a16:creationId xmlns:a16="http://schemas.microsoft.com/office/drawing/2014/main" id="{F0D5479E-2297-724A-AD87-20AB7317BF5B}"/>
                </a:ext>
              </a:extLst>
            </p:cNvPr>
            <p:cNvSpPr/>
            <p:nvPr userDrawn="1"/>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64" name="Rectangle 263">
              <a:extLst>
                <a:ext uri="{FF2B5EF4-FFF2-40B4-BE49-F238E27FC236}">
                  <a16:creationId xmlns:a16="http://schemas.microsoft.com/office/drawing/2014/main" id="{A39C6D45-EBF9-304D-979C-07284B5D6D96}"/>
                </a:ext>
              </a:extLst>
            </p:cNvPr>
            <p:cNvSpPr/>
            <p:nvPr userDrawn="1"/>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grpSp>
      <p:grpSp>
        <p:nvGrpSpPr>
          <p:cNvPr id="265" name="Group 264">
            <a:extLst>
              <a:ext uri="{FF2B5EF4-FFF2-40B4-BE49-F238E27FC236}">
                <a16:creationId xmlns:a16="http://schemas.microsoft.com/office/drawing/2014/main" id="{4020775E-E0AB-0642-B4D8-AAEF53F6BDED}"/>
              </a:ext>
            </a:extLst>
          </p:cNvPr>
          <p:cNvGrpSpPr/>
          <p:nvPr userDrawn="1"/>
        </p:nvGrpSpPr>
        <p:grpSpPr>
          <a:xfrm>
            <a:off x="7924800" y="5297033"/>
            <a:ext cx="304800" cy="304800"/>
            <a:chOff x="4748283" y="3386554"/>
            <a:chExt cx="548640" cy="548640"/>
          </a:xfrm>
        </p:grpSpPr>
        <p:sp>
          <p:nvSpPr>
            <p:cNvPr id="266" name="Rectangle 265">
              <a:extLst>
                <a:ext uri="{FF2B5EF4-FFF2-40B4-BE49-F238E27FC236}">
                  <a16:creationId xmlns:a16="http://schemas.microsoft.com/office/drawing/2014/main" id="{34D64D5A-03A1-9E4E-8525-EFCF850C87F9}"/>
                </a:ext>
              </a:extLst>
            </p:cNvPr>
            <p:cNvSpPr/>
            <p:nvPr userDrawn="1"/>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67" name="Rectangle 266">
              <a:extLst>
                <a:ext uri="{FF2B5EF4-FFF2-40B4-BE49-F238E27FC236}">
                  <a16:creationId xmlns:a16="http://schemas.microsoft.com/office/drawing/2014/main" id="{853D0987-81A4-F24F-8C13-13357AE58484}"/>
                </a:ext>
              </a:extLst>
            </p:cNvPr>
            <p:cNvSpPr/>
            <p:nvPr userDrawn="1"/>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68" name="Rectangle 267">
              <a:extLst>
                <a:ext uri="{FF2B5EF4-FFF2-40B4-BE49-F238E27FC236}">
                  <a16:creationId xmlns:a16="http://schemas.microsoft.com/office/drawing/2014/main" id="{50958379-F8C2-8F40-8180-29E43012C72B}"/>
                </a:ext>
              </a:extLst>
            </p:cNvPr>
            <p:cNvSpPr/>
            <p:nvPr userDrawn="1"/>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69" name="Rectangle 268">
              <a:extLst>
                <a:ext uri="{FF2B5EF4-FFF2-40B4-BE49-F238E27FC236}">
                  <a16:creationId xmlns:a16="http://schemas.microsoft.com/office/drawing/2014/main" id="{A0538587-EC49-2249-956F-027FCD163C3C}"/>
                </a:ext>
              </a:extLst>
            </p:cNvPr>
            <p:cNvSpPr/>
            <p:nvPr userDrawn="1"/>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grpSp>
      <p:grpSp>
        <p:nvGrpSpPr>
          <p:cNvPr id="270" name="Group 269">
            <a:extLst>
              <a:ext uri="{FF2B5EF4-FFF2-40B4-BE49-F238E27FC236}">
                <a16:creationId xmlns:a16="http://schemas.microsoft.com/office/drawing/2014/main" id="{850696AE-914F-7240-B26D-ABE8A6AA6FCC}"/>
              </a:ext>
            </a:extLst>
          </p:cNvPr>
          <p:cNvGrpSpPr/>
          <p:nvPr userDrawn="1"/>
        </p:nvGrpSpPr>
        <p:grpSpPr>
          <a:xfrm>
            <a:off x="11887200" y="5297033"/>
            <a:ext cx="304800" cy="304800"/>
            <a:chOff x="4748283" y="3386554"/>
            <a:chExt cx="548640" cy="548640"/>
          </a:xfrm>
        </p:grpSpPr>
        <p:sp>
          <p:nvSpPr>
            <p:cNvPr id="271" name="Rectangle 270">
              <a:extLst>
                <a:ext uri="{FF2B5EF4-FFF2-40B4-BE49-F238E27FC236}">
                  <a16:creationId xmlns:a16="http://schemas.microsoft.com/office/drawing/2014/main" id="{1B8E2C2E-369C-8D41-ACAD-0950C62A7FE2}"/>
                </a:ext>
              </a:extLst>
            </p:cNvPr>
            <p:cNvSpPr/>
            <p:nvPr userDrawn="1"/>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72" name="Rectangle 271">
              <a:extLst>
                <a:ext uri="{FF2B5EF4-FFF2-40B4-BE49-F238E27FC236}">
                  <a16:creationId xmlns:a16="http://schemas.microsoft.com/office/drawing/2014/main" id="{C9B33D44-E58A-4246-9893-47FFB6D61815}"/>
                </a:ext>
              </a:extLst>
            </p:cNvPr>
            <p:cNvSpPr/>
            <p:nvPr userDrawn="1"/>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73" name="Rectangle 272">
              <a:extLst>
                <a:ext uri="{FF2B5EF4-FFF2-40B4-BE49-F238E27FC236}">
                  <a16:creationId xmlns:a16="http://schemas.microsoft.com/office/drawing/2014/main" id="{6A5A6A88-23E5-DA43-AC87-60030C15C2DB}"/>
                </a:ext>
              </a:extLst>
            </p:cNvPr>
            <p:cNvSpPr/>
            <p:nvPr userDrawn="1"/>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74" name="Rectangle 273">
              <a:extLst>
                <a:ext uri="{FF2B5EF4-FFF2-40B4-BE49-F238E27FC236}">
                  <a16:creationId xmlns:a16="http://schemas.microsoft.com/office/drawing/2014/main" id="{825EC81F-0A84-3B46-87A3-DEBA90A7D292}"/>
                </a:ext>
              </a:extLst>
            </p:cNvPr>
            <p:cNvSpPr/>
            <p:nvPr userDrawn="1"/>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grpSp>
      <p:grpSp>
        <p:nvGrpSpPr>
          <p:cNvPr id="275" name="Group 274">
            <a:extLst>
              <a:ext uri="{FF2B5EF4-FFF2-40B4-BE49-F238E27FC236}">
                <a16:creationId xmlns:a16="http://schemas.microsoft.com/office/drawing/2014/main" id="{0981C3F5-4084-184F-A7A7-043851635784}"/>
              </a:ext>
            </a:extLst>
          </p:cNvPr>
          <p:cNvGrpSpPr/>
          <p:nvPr userDrawn="1"/>
        </p:nvGrpSpPr>
        <p:grpSpPr>
          <a:xfrm>
            <a:off x="2377440" y="4022568"/>
            <a:ext cx="304800" cy="304800"/>
            <a:chOff x="4748283" y="3386554"/>
            <a:chExt cx="548640" cy="548640"/>
          </a:xfrm>
        </p:grpSpPr>
        <p:sp>
          <p:nvSpPr>
            <p:cNvPr id="276" name="Rectangle 275">
              <a:extLst>
                <a:ext uri="{FF2B5EF4-FFF2-40B4-BE49-F238E27FC236}">
                  <a16:creationId xmlns:a16="http://schemas.microsoft.com/office/drawing/2014/main" id="{16970939-B084-EA40-959C-9BCB17415C25}"/>
                </a:ext>
              </a:extLst>
            </p:cNvPr>
            <p:cNvSpPr/>
            <p:nvPr userDrawn="1"/>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77" name="Rectangle 276">
              <a:extLst>
                <a:ext uri="{FF2B5EF4-FFF2-40B4-BE49-F238E27FC236}">
                  <a16:creationId xmlns:a16="http://schemas.microsoft.com/office/drawing/2014/main" id="{4563899D-79C0-BB42-9BB5-F0FB724E0A29}"/>
                </a:ext>
              </a:extLst>
            </p:cNvPr>
            <p:cNvSpPr/>
            <p:nvPr userDrawn="1"/>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78" name="Rectangle 277">
              <a:extLst>
                <a:ext uri="{FF2B5EF4-FFF2-40B4-BE49-F238E27FC236}">
                  <a16:creationId xmlns:a16="http://schemas.microsoft.com/office/drawing/2014/main" id="{84B38BD6-26C0-514D-8037-ED779AACAFAD}"/>
                </a:ext>
              </a:extLst>
            </p:cNvPr>
            <p:cNvSpPr/>
            <p:nvPr userDrawn="1"/>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79" name="Rectangle 278">
              <a:extLst>
                <a:ext uri="{FF2B5EF4-FFF2-40B4-BE49-F238E27FC236}">
                  <a16:creationId xmlns:a16="http://schemas.microsoft.com/office/drawing/2014/main" id="{A8D6370A-8137-7F4F-AA30-ECFF43FB1BBC}"/>
                </a:ext>
              </a:extLst>
            </p:cNvPr>
            <p:cNvSpPr/>
            <p:nvPr userDrawn="1"/>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grpSp>
      <p:grpSp>
        <p:nvGrpSpPr>
          <p:cNvPr id="280" name="Group 279">
            <a:extLst>
              <a:ext uri="{FF2B5EF4-FFF2-40B4-BE49-F238E27FC236}">
                <a16:creationId xmlns:a16="http://schemas.microsoft.com/office/drawing/2014/main" id="{B01EF6DD-5F1D-2B43-832A-A93A1408CC38}"/>
              </a:ext>
            </a:extLst>
          </p:cNvPr>
          <p:cNvGrpSpPr/>
          <p:nvPr userDrawn="1"/>
        </p:nvGrpSpPr>
        <p:grpSpPr>
          <a:xfrm>
            <a:off x="4754880" y="4022568"/>
            <a:ext cx="304800" cy="304800"/>
            <a:chOff x="4748283" y="3386554"/>
            <a:chExt cx="548640" cy="548640"/>
          </a:xfrm>
        </p:grpSpPr>
        <p:sp>
          <p:nvSpPr>
            <p:cNvPr id="281" name="Rectangle 280">
              <a:extLst>
                <a:ext uri="{FF2B5EF4-FFF2-40B4-BE49-F238E27FC236}">
                  <a16:creationId xmlns:a16="http://schemas.microsoft.com/office/drawing/2014/main" id="{E3450CDA-3FFE-864E-B8DC-5EA790172A47}"/>
                </a:ext>
              </a:extLst>
            </p:cNvPr>
            <p:cNvSpPr/>
            <p:nvPr userDrawn="1"/>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82" name="Rectangle 281">
              <a:extLst>
                <a:ext uri="{FF2B5EF4-FFF2-40B4-BE49-F238E27FC236}">
                  <a16:creationId xmlns:a16="http://schemas.microsoft.com/office/drawing/2014/main" id="{BAFA33DA-5652-FC4E-B0BF-E058340B6B83}"/>
                </a:ext>
              </a:extLst>
            </p:cNvPr>
            <p:cNvSpPr/>
            <p:nvPr userDrawn="1"/>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83" name="Rectangle 282">
              <a:extLst>
                <a:ext uri="{FF2B5EF4-FFF2-40B4-BE49-F238E27FC236}">
                  <a16:creationId xmlns:a16="http://schemas.microsoft.com/office/drawing/2014/main" id="{65304518-B1A6-674E-95CF-C03E4B41C4E7}"/>
                </a:ext>
              </a:extLst>
            </p:cNvPr>
            <p:cNvSpPr/>
            <p:nvPr userDrawn="1"/>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84" name="Rectangle 283">
              <a:extLst>
                <a:ext uri="{FF2B5EF4-FFF2-40B4-BE49-F238E27FC236}">
                  <a16:creationId xmlns:a16="http://schemas.microsoft.com/office/drawing/2014/main" id="{1193FEB8-221F-374A-8DA9-1F6418F61176}"/>
                </a:ext>
              </a:extLst>
            </p:cNvPr>
            <p:cNvSpPr/>
            <p:nvPr userDrawn="1"/>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grpSp>
      <p:grpSp>
        <p:nvGrpSpPr>
          <p:cNvPr id="285" name="Group 284">
            <a:extLst>
              <a:ext uri="{FF2B5EF4-FFF2-40B4-BE49-F238E27FC236}">
                <a16:creationId xmlns:a16="http://schemas.microsoft.com/office/drawing/2014/main" id="{4C0FF9B2-32A0-7446-B44A-A30E93EBA764}"/>
              </a:ext>
            </a:extLst>
          </p:cNvPr>
          <p:cNvGrpSpPr/>
          <p:nvPr userDrawn="1"/>
        </p:nvGrpSpPr>
        <p:grpSpPr>
          <a:xfrm>
            <a:off x="7132320" y="4022568"/>
            <a:ext cx="304800" cy="304800"/>
            <a:chOff x="4748283" y="3386554"/>
            <a:chExt cx="548640" cy="548640"/>
          </a:xfrm>
        </p:grpSpPr>
        <p:sp>
          <p:nvSpPr>
            <p:cNvPr id="286" name="Rectangle 285">
              <a:extLst>
                <a:ext uri="{FF2B5EF4-FFF2-40B4-BE49-F238E27FC236}">
                  <a16:creationId xmlns:a16="http://schemas.microsoft.com/office/drawing/2014/main" id="{79DDF252-792F-D141-9164-5305CBE3CFE8}"/>
                </a:ext>
              </a:extLst>
            </p:cNvPr>
            <p:cNvSpPr/>
            <p:nvPr userDrawn="1"/>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87" name="Rectangle 286">
              <a:extLst>
                <a:ext uri="{FF2B5EF4-FFF2-40B4-BE49-F238E27FC236}">
                  <a16:creationId xmlns:a16="http://schemas.microsoft.com/office/drawing/2014/main" id="{A05803F2-CE5F-B846-878D-C5A7BCF34EF2}"/>
                </a:ext>
              </a:extLst>
            </p:cNvPr>
            <p:cNvSpPr/>
            <p:nvPr userDrawn="1"/>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88" name="Rectangle 287">
              <a:extLst>
                <a:ext uri="{FF2B5EF4-FFF2-40B4-BE49-F238E27FC236}">
                  <a16:creationId xmlns:a16="http://schemas.microsoft.com/office/drawing/2014/main" id="{570DFCA3-0A0A-7949-91E2-25B051A71FA6}"/>
                </a:ext>
              </a:extLst>
            </p:cNvPr>
            <p:cNvSpPr/>
            <p:nvPr userDrawn="1"/>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89" name="Rectangle 288">
              <a:extLst>
                <a:ext uri="{FF2B5EF4-FFF2-40B4-BE49-F238E27FC236}">
                  <a16:creationId xmlns:a16="http://schemas.microsoft.com/office/drawing/2014/main" id="{2BF2C611-54CD-1D47-BFE3-BE450D6B5F77}"/>
                </a:ext>
              </a:extLst>
            </p:cNvPr>
            <p:cNvSpPr/>
            <p:nvPr userDrawn="1"/>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grpSp>
      <p:grpSp>
        <p:nvGrpSpPr>
          <p:cNvPr id="290" name="Group 289">
            <a:extLst>
              <a:ext uri="{FF2B5EF4-FFF2-40B4-BE49-F238E27FC236}">
                <a16:creationId xmlns:a16="http://schemas.microsoft.com/office/drawing/2014/main" id="{0FAF98C5-6AD8-7244-ABCC-FF8DBDFC1869}"/>
              </a:ext>
            </a:extLst>
          </p:cNvPr>
          <p:cNvGrpSpPr/>
          <p:nvPr userDrawn="1"/>
        </p:nvGrpSpPr>
        <p:grpSpPr>
          <a:xfrm>
            <a:off x="9509760" y="4022568"/>
            <a:ext cx="304800" cy="304800"/>
            <a:chOff x="4748283" y="3386554"/>
            <a:chExt cx="548640" cy="548640"/>
          </a:xfrm>
        </p:grpSpPr>
        <p:sp>
          <p:nvSpPr>
            <p:cNvPr id="291" name="Rectangle 290">
              <a:extLst>
                <a:ext uri="{FF2B5EF4-FFF2-40B4-BE49-F238E27FC236}">
                  <a16:creationId xmlns:a16="http://schemas.microsoft.com/office/drawing/2014/main" id="{B09B8B01-D074-AA4E-82C0-885DEE388DE2}"/>
                </a:ext>
              </a:extLst>
            </p:cNvPr>
            <p:cNvSpPr/>
            <p:nvPr userDrawn="1"/>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92" name="Rectangle 291">
              <a:extLst>
                <a:ext uri="{FF2B5EF4-FFF2-40B4-BE49-F238E27FC236}">
                  <a16:creationId xmlns:a16="http://schemas.microsoft.com/office/drawing/2014/main" id="{F204C474-6963-B54C-A1BC-CFDC1FDC7044}"/>
                </a:ext>
              </a:extLst>
            </p:cNvPr>
            <p:cNvSpPr/>
            <p:nvPr userDrawn="1"/>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93" name="Rectangle 292">
              <a:extLst>
                <a:ext uri="{FF2B5EF4-FFF2-40B4-BE49-F238E27FC236}">
                  <a16:creationId xmlns:a16="http://schemas.microsoft.com/office/drawing/2014/main" id="{A47065FD-73A9-9843-8B94-250376C3FB36}"/>
                </a:ext>
              </a:extLst>
            </p:cNvPr>
            <p:cNvSpPr/>
            <p:nvPr userDrawn="1"/>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94" name="Rectangle 293">
              <a:extLst>
                <a:ext uri="{FF2B5EF4-FFF2-40B4-BE49-F238E27FC236}">
                  <a16:creationId xmlns:a16="http://schemas.microsoft.com/office/drawing/2014/main" id="{4143DC2B-E40E-A043-A084-B601C1D25F3B}"/>
                </a:ext>
              </a:extLst>
            </p:cNvPr>
            <p:cNvSpPr/>
            <p:nvPr userDrawn="1"/>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grpSp>
      <p:grpSp>
        <p:nvGrpSpPr>
          <p:cNvPr id="295" name="Group 294">
            <a:extLst>
              <a:ext uri="{FF2B5EF4-FFF2-40B4-BE49-F238E27FC236}">
                <a16:creationId xmlns:a16="http://schemas.microsoft.com/office/drawing/2014/main" id="{29E0A699-6AD5-8F46-BD5E-39D99DC9BE89}"/>
              </a:ext>
            </a:extLst>
          </p:cNvPr>
          <p:cNvGrpSpPr/>
          <p:nvPr userDrawn="1"/>
        </p:nvGrpSpPr>
        <p:grpSpPr>
          <a:xfrm>
            <a:off x="2971800" y="4653504"/>
            <a:ext cx="304800" cy="304800"/>
            <a:chOff x="4748283" y="3386554"/>
            <a:chExt cx="548640" cy="548640"/>
          </a:xfrm>
        </p:grpSpPr>
        <p:sp>
          <p:nvSpPr>
            <p:cNvPr id="296" name="Rectangle 295">
              <a:extLst>
                <a:ext uri="{FF2B5EF4-FFF2-40B4-BE49-F238E27FC236}">
                  <a16:creationId xmlns:a16="http://schemas.microsoft.com/office/drawing/2014/main" id="{9FC9E2B0-E09C-7A43-9945-02E44B917CAF}"/>
                </a:ext>
              </a:extLst>
            </p:cNvPr>
            <p:cNvSpPr/>
            <p:nvPr userDrawn="1"/>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97" name="Rectangle 296">
              <a:extLst>
                <a:ext uri="{FF2B5EF4-FFF2-40B4-BE49-F238E27FC236}">
                  <a16:creationId xmlns:a16="http://schemas.microsoft.com/office/drawing/2014/main" id="{77E6256A-CE6E-DE4E-A7CD-1C6EF1C31E29}"/>
                </a:ext>
              </a:extLst>
            </p:cNvPr>
            <p:cNvSpPr/>
            <p:nvPr userDrawn="1"/>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98" name="Rectangle 297">
              <a:extLst>
                <a:ext uri="{FF2B5EF4-FFF2-40B4-BE49-F238E27FC236}">
                  <a16:creationId xmlns:a16="http://schemas.microsoft.com/office/drawing/2014/main" id="{E5C93033-80B8-7944-B34C-18221A61793A}"/>
                </a:ext>
              </a:extLst>
            </p:cNvPr>
            <p:cNvSpPr/>
            <p:nvPr userDrawn="1"/>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99" name="Rectangle 298">
              <a:extLst>
                <a:ext uri="{FF2B5EF4-FFF2-40B4-BE49-F238E27FC236}">
                  <a16:creationId xmlns:a16="http://schemas.microsoft.com/office/drawing/2014/main" id="{1DA62BC5-03FF-2C49-8D42-D0AC0B48C9D0}"/>
                </a:ext>
              </a:extLst>
            </p:cNvPr>
            <p:cNvSpPr/>
            <p:nvPr userDrawn="1"/>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grpSp>
      <p:grpSp>
        <p:nvGrpSpPr>
          <p:cNvPr id="300" name="Group 299">
            <a:extLst>
              <a:ext uri="{FF2B5EF4-FFF2-40B4-BE49-F238E27FC236}">
                <a16:creationId xmlns:a16="http://schemas.microsoft.com/office/drawing/2014/main" id="{413738E8-2C55-3047-8443-F0A7CD809578}"/>
              </a:ext>
            </a:extLst>
          </p:cNvPr>
          <p:cNvGrpSpPr/>
          <p:nvPr userDrawn="1"/>
        </p:nvGrpSpPr>
        <p:grpSpPr>
          <a:xfrm>
            <a:off x="8915400" y="4653504"/>
            <a:ext cx="304800" cy="304800"/>
            <a:chOff x="4748283" y="3386554"/>
            <a:chExt cx="548640" cy="548640"/>
          </a:xfrm>
        </p:grpSpPr>
        <p:sp>
          <p:nvSpPr>
            <p:cNvPr id="301" name="Rectangle 300">
              <a:extLst>
                <a:ext uri="{FF2B5EF4-FFF2-40B4-BE49-F238E27FC236}">
                  <a16:creationId xmlns:a16="http://schemas.microsoft.com/office/drawing/2014/main" id="{E4BD1A93-3E1B-BB4F-A223-02769F784568}"/>
                </a:ext>
              </a:extLst>
            </p:cNvPr>
            <p:cNvSpPr/>
            <p:nvPr userDrawn="1"/>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302" name="Rectangle 301">
              <a:extLst>
                <a:ext uri="{FF2B5EF4-FFF2-40B4-BE49-F238E27FC236}">
                  <a16:creationId xmlns:a16="http://schemas.microsoft.com/office/drawing/2014/main" id="{F1BDEAE0-847B-8F47-8827-F9568F8D44AB}"/>
                </a:ext>
              </a:extLst>
            </p:cNvPr>
            <p:cNvSpPr/>
            <p:nvPr userDrawn="1"/>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303" name="Rectangle 302">
              <a:extLst>
                <a:ext uri="{FF2B5EF4-FFF2-40B4-BE49-F238E27FC236}">
                  <a16:creationId xmlns:a16="http://schemas.microsoft.com/office/drawing/2014/main" id="{AF8DC815-56D0-AC49-B9C8-FA9335E2EABB}"/>
                </a:ext>
              </a:extLst>
            </p:cNvPr>
            <p:cNvSpPr/>
            <p:nvPr userDrawn="1"/>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304" name="Rectangle 303">
              <a:extLst>
                <a:ext uri="{FF2B5EF4-FFF2-40B4-BE49-F238E27FC236}">
                  <a16:creationId xmlns:a16="http://schemas.microsoft.com/office/drawing/2014/main" id="{043191BE-FBCB-EB41-AA68-DBA4FFEF9362}"/>
                </a:ext>
              </a:extLst>
            </p:cNvPr>
            <p:cNvSpPr/>
            <p:nvPr userDrawn="1"/>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159804310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17/2023</a:t>
            </a:fld>
            <a:endParaRPr lang="en-US"/>
          </a:p>
        </p:txBody>
      </p:sp>
      <p:sp>
        <p:nvSpPr>
          <p:cNvPr id="6" name="Holder 6"/>
          <p:cNvSpPr>
            <a:spLocks noGrp="1"/>
          </p:cNvSpPr>
          <p:nvPr>
            <p:ph type="sldNum" sz="quarter" idx="7"/>
          </p:nvPr>
        </p:nvSpPr>
        <p:spPr/>
        <p:txBody>
          <a:bodyPr lIns="0" tIns="0" rIns="0" bIns="0"/>
          <a:lstStyle>
            <a:lvl1pPr>
              <a:defRPr sz="1000" b="0" i="0">
                <a:solidFill>
                  <a:srgbClr val="535758"/>
                </a:solidFill>
                <a:latin typeface="Arial"/>
                <a:cs typeface="Arial"/>
              </a:defRPr>
            </a:lvl1pPr>
          </a:lstStyle>
          <a:p>
            <a:pPr marL="38100">
              <a:lnSpc>
                <a:spcPct val="100000"/>
              </a:lnSpc>
            </a:pPr>
            <a:fld id="{81D60167-4931-47E6-BA6A-407CBD079E47}" type="slidenum">
              <a:rPr spc="-25" dirty="0"/>
              <a:t>‹#›</a:t>
            </a:fld>
            <a:endParaRPr spc="-25" dirty="0"/>
          </a:p>
        </p:txBody>
      </p:sp>
    </p:spTree>
    <p:extLst>
      <p:ext uri="{BB962C8B-B14F-4D97-AF65-F5344CB8AC3E}">
        <p14:creationId xmlns:p14="http://schemas.microsoft.com/office/powerpoint/2010/main" val="177125438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0" y="0"/>
            <a:ext cx="12192000" cy="6858000"/>
          </a:xfrm>
          <a:prstGeom prst="rect">
            <a:avLst/>
          </a:prstGeom>
        </p:spPr>
      </p:pic>
      <p:sp>
        <p:nvSpPr>
          <p:cNvPr id="17" name="bg object 17"/>
          <p:cNvSpPr/>
          <p:nvPr/>
        </p:nvSpPr>
        <p:spPr>
          <a:xfrm>
            <a:off x="10294620" y="0"/>
            <a:ext cx="1592580" cy="695325"/>
          </a:xfrm>
          <a:custGeom>
            <a:avLst/>
            <a:gdLst/>
            <a:ahLst/>
            <a:cxnLst/>
            <a:rect l="l" t="t" r="r" b="b"/>
            <a:pathLst>
              <a:path w="1592579" h="695325">
                <a:moveTo>
                  <a:pt x="1592579" y="0"/>
                </a:moveTo>
                <a:lnTo>
                  <a:pt x="0" y="0"/>
                </a:lnTo>
                <a:lnTo>
                  <a:pt x="0" y="694944"/>
                </a:lnTo>
                <a:lnTo>
                  <a:pt x="1592579" y="694944"/>
                </a:lnTo>
                <a:lnTo>
                  <a:pt x="1592579" y="0"/>
                </a:lnTo>
                <a:close/>
              </a:path>
            </a:pathLst>
          </a:custGeom>
          <a:solidFill>
            <a:srgbClr val="E61216"/>
          </a:solidFill>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2800" b="1" i="0">
                <a:solidFill>
                  <a:srgbClr val="383939"/>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17/2023</a:t>
            </a:fld>
            <a:endParaRPr lang="en-US"/>
          </a:p>
        </p:txBody>
      </p:sp>
      <p:sp>
        <p:nvSpPr>
          <p:cNvPr id="6" name="Holder 6"/>
          <p:cNvSpPr>
            <a:spLocks noGrp="1"/>
          </p:cNvSpPr>
          <p:nvPr>
            <p:ph type="sldNum" sz="quarter" idx="7"/>
          </p:nvPr>
        </p:nvSpPr>
        <p:spPr/>
        <p:txBody>
          <a:bodyPr lIns="0" tIns="0" rIns="0" bIns="0"/>
          <a:lstStyle>
            <a:lvl1pPr>
              <a:defRPr sz="1000" b="0" i="0">
                <a:solidFill>
                  <a:srgbClr val="535758"/>
                </a:solidFill>
                <a:latin typeface="Arial"/>
                <a:cs typeface="Arial"/>
              </a:defRPr>
            </a:lvl1pPr>
          </a:lstStyle>
          <a:p>
            <a:pPr marL="38100">
              <a:lnSpc>
                <a:spcPct val="100000"/>
              </a:lnSpc>
            </a:pPr>
            <a:fld id="{81D60167-4931-47E6-BA6A-407CBD079E47}" type="slidenum">
              <a:rPr spc="-25" dirty="0"/>
              <a:t>‹#›</a:t>
            </a:fld>
            <a:endParaRPr spc="-25" dirty="0"/>
          </a:p>
        </p:txBody>
      </p:sp>
    </p:spTree>
    <p:extLst>
      <p:ext uri="{BB962C8B-B14F-4D97-AF65-F5344CB8AC3E}">
        <p14:creationId xmlns:p14="http://schemas.microsoft.com/office/powerpoint/2010/main" val="28644892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1" i="0">
                <a:solidFill>
                  <a:srgbClr val="383939"/>
                </a:solidFill>
                <a:latin typeface="Arial"/>
                <a:cs typeface="Arial"/>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17/2023</a:t>
            </a:fld>
            <a:endParaRPr lang="en-US"/>
          </a:p>
        </p:txBody>
      </p:sp>
      <p:sp>
        <p:nvSpPr>
          <p:cNvPr id="7" name="Holder 7"/>
          <p:cNvSpPr>
            <a:spLocks noGrp="1"/>
          </p:cNvSpPr>
          <p:nvPr>
            <p:ph type="sldNum" sz="quarter" idx="7"/>
          </p:nvPr>
        </p:nvSpPr>
        <p:spPr/>
        <p:txBody>
          <a:bodyPr lIns="0" tIns="0" rIns="0" bIns="0"/>
          <a:lstStyle>
            <a:lvl1pPr>
              <a:defRPr sz="1000" b="0" i="0">
                <a:solidFill>
                  <a:srgbClr val="535758"/>
                </a:solidFill>
                <a:latin typeface="Arial"/>
                <a:cs typeface="Arial"/>
              </a:defRPr>
            </a:lvl1pPr>
          </a:lstStyle>
          <a:p>
            <a:pPr marL="38100">
              <a:lnSpc>
                <a:spcPct val="100000"/>
              </a:lnSpc>
            </a:pPr>
            <a:fld id="{81D60167-4931-47E6-BA6A-407CBD079E47}" type="slidenum">
              <a:rPr spc="-25" dirty="0"/>
              <a:t>‹#›</a:t>
            </a:fld>
            <a:endParaRPr spc="-25" dirty="0"/>
          </a:p>
        </p:txBody>
      </p:sp>
    </p:spTree>
    <p:extLst>
      <p:ext uri="{BB962C8B-B14F-4D97-AF65-F5344CB8AC3E}">
        <p14:creationId xmlns:p14="http://schemas.microsoft.com/office/powerpoint/2010/main" val="246239023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1" i="0">
                <a:solidFill>
                  <a:srgbClr val="383939"/>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17/2023</a:t>
            </a:fld>
            <a:endParaRPr lang="en-US"/>
          </a:p>
        </p:txBody>
      </p:sp>
      <p:sp>
        <p:nvSpPr>
          <p:cNvPr id="5" name="Holder 5"/>
          <p:cNvSpPr>
            <a:spLocks noGrp="1"/>
          </p:cNvSpPr>
          <p:nvPr>
            <p:ph type="sldNum" sz="quarter" idx="7"/>
          </p:nvPr>
        </p:nvSpPr>
        <p:spPr/>
        <p:txBody>
          <a:bodyPr lIns="0" tIns="0" rIns="0" bIns="0"/>
          <a:lstStyle>
            <a:lvl1pPr>
              <a:defRPr sz="1000" b="0" i="0">
                <a:solidFill>
                  <a:srgbClr val="535758"/>
                </a:solidFill>
                <a:latin typeface="Arial"/>
                <a:cs typeface="Arial"/>
              </a:defRPr>
            </a:lvl1pPr>
          </a:lstStyle>
          <a:p>
            <a:pPr marL="38100">
              <a:lnSpc>
                <a:spcPct val="100000"/>
              </a:lnSpc>
            </a:pPr>
            <a:fld id="{81D60167-4931-47E6-BA6A-407CBD079E47}" type="slidenum">
              <a:rPr spc="-25" dirty="0"/>
              <a:t>‹#›</a:t>
            </a:fld>
            <a:endParaRPr spc="-25" dirty="0"/>
          </a:p>
        </p:txBody>
      </p:sp>
    </p:spTree>
    <p:extLst>
      <p:ext uri="{BB962C8B-B14F-4D97-AF65-F5344CB8AC3E}">
        <p14:creationId xmlns:p14="http://schemas.microsoft.com/office/powerpoint/2010/main" val="334079014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0" y="0"/>
            <a:ext cx="12192000" cy="6858000"/>
          </a:xfrm>
          <a:prstGeom prst="rect">
            <a:avLst/>
          </a:prstGeom>
        </p:spPr>
      </p:pic>
      <p:sp>
        <p:nvSpPr>
          <p:cNvPr id="17" name="bg object 17"/>
          <p:cNvSpPr/>
          <p:nvPr/>
        </p:nvSpPr>
        <p:spPr>
          <a:xfrm>
            <a:off x="10294619" y="0"/>
            <a:ext cx="1592580" cy="695325"/>
          </a:xfrm>
          <a:custGeom>
            <a:avLst/>
            <a:gdLst/>
            <a:ahLst/>
            <a:cxnLst/>
            <a:rect l="l" t="t" r="r" b="b"/>
            <a:pathLst>
              <a:path w="1592579" h="695325">
                <a:moveTo>
                  <a:pt x="1592579" y="0"/>
                </a:moveTo>
                <a:lnTo>
                  <a:pt x="0" y="0"/>
                </a:lnTo>
                <a:lnTo>
                  <a:pt x="0" y="694944"/>
                </a:lnTo>
                <a:lnTo>
                  <a:pt x="1592579" y="694944"/>
                </a:lnTo>
                <a:lnTo>
                  <a:pt x="1592579" y="0"/>
                </a:lnTo>
                <a:close/>
              </a:path>
            </a:pathLst>
          </a:custGeom>
          <a:solidFill>
            <a:srgbClr val="E61216"/>
          </a:solidFill>
        </p:spPr>
        <p:txBody>
          <a:bodyPr wrap="square" lIns="0" tIns="0" rIns="0" bIns="0" rtlCol="0"/>
          <a:lstStyle/>
          <a:p>
            <a:endParaRPr/>
          </a:p>
        </p:txBody>
      </p:sp>
      <p:pic>
        <p:nvPicPr>
          <p:cNvPr id="18" name="bg object 18"/>
          <p:cNvPicPr/>
          <p:nvPr/>
        </p:nvPicPr>
        <p:blipFill>
          <a:blip r:embed="rId3" cstate="print"/>
          <a:stretch>
            <a:fillRect/>
          </a:stretch>
        </p:blipFill>
        <p:spPr>
          <a:xfrm>
            <a:off x="9662159" y="1470659"/>
            <a:ext cx="2529838" cy="5387338"/>
          </a:xfrm>
          <a:prstGeom prst="rect">
            <a:avLst/>
          </a:prstGeom>
        </p:spPr>
      </p:pic>
      <p:pic>
        <p:nvPicPr>
          <p:cNvPr id="19" name="bg object 19"/>
          <p:cNvPicPr/>
          <p:nvPr/>
        </p:nvPicPr>
        <p:blipFill>
          <a:blip r:embed="rId4" cstate="print"/>
          <a:stretch>
            <a:fillRect/>
          </a:stretch>
        </p:blipFill>
        <p:spPr>
          <a:xfrm>
            <a:off x="10539983" y="4300728"/>
            <a:ext cx="1652015" cy="2095500"/>
          </a:xfrm>
          <a:prstGeom prst="rect">
            <a:avLst/>
          </a:prstGeom>
        </p:spPr>
      </p:pic>
      <p:pic>
        <p:nvPicPr>
          <p:cNvPr id="20" name="bg object 20"/>
          <p:cNvPicPr/>
          <p:nvPr/>
        </p:nvPicPr>
        <p:blipFill>
          <a:blip r:embed="rId5" cstate="print"/>
          <a:stretch>
            <a:fillRect/>
          </a:stretch>
        </p:blipFill>
        <p:spPr>
          <a:xfrm>
            <a:off x="10777715" y="3301250"/>
            <a:ext cx="1063167" cy="1094727"/>
          </a:xfrm>
          <a:prstGeom prst="rect">
            <a:avLst/>
          </a:prstGeom>
        </p:spPr>
      </p:pic>
      <p:pic>
        <p:nvPicPr>
          <p:cNvPr id="21" name="bg object 21"/>
          <p:cNvPicPr/>
          <p:nvPr/>
        </p:nvPicPr>
        <p:blipFill>
          <a:blip r:embed="rId6" cstate="print"/>
          <a:stretch>
            <a:fillRect/>
          </a:stretch>
        </p:blipFill>
        <p:spPr>
          <a:xfrm>
            <a:off x="9840467" y="4683252"/>
            <a:ext cx="608076" cy="626364"/>
          </a:xfrm>
          <a:prstGeom prst="rect">
            <a:avLst/>
          </a:prstGeom>
        </p:spPr>
      </p:pic>
      <p:pic>
        <p:nvPicPr>
          <p:cNvPr id="22" name="bg object 22"/>
          <p:cNvPicPr/>
          <p:nvPr/>
        </p:nvPicPr>
        <p:blipFill>
          <a:blip r:embed="rId7" cstate="print"/>
          <a:stretch>
            <a:fillRect/>
          </a:stretch>
        </p:blipFill>
        <p:spPr>
          <a:xfrm>
            <a:off x="10504830" y="5685180"/>
            <a:ext cx="827989" cy="843711"/>
          </a:xfrm>
          <a:prstGeom prst="rect">
            <a:avLst/>
          </a:prstGeom>
        </p:spPr>
      </p:pic>
      <p:pic>
        <p:nvPicPr>
          <p:cNvPr id="23" name="bg object 23"/>
          <p:cNvPicPr/>
          <p:nvPr/>
        </p:nvPicPr>
        <p:blipFill>
          <a:blip r:embed="rId8" cstate="print"/>
          <a:stretch>
            <a:fillRect/>
          </a:stretch>
        </p:blipFill>
        <p:spPr>
          <a:xfrm>
            <a:off x="11036807" y="818388"/>
            <a:ext cx="1155191" cy="1703831"/>
          </a:xfrm>
          <a:prstGeom prst="rect">
            <a:avLst/>
          </a:prstGeom>
        </p:spPr>
      </p:pic>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17/2023</a:t>
            </a:fld>
            <a:endParaRPr lang="en-US"/>
          </a:p>
        </p:txBody>
      </p:sp>
      <p:sp>
        <p:nvSpPr>
          <p:cNvPr id="4" name="Holder 4"/>
          <p:cNvSpPr>
            <a:spLocks noGrp="1"/>
          </p:cNvSpPr>
          <p:nvPr>
            <p:ph type="sldNum" sz="quarter" idx="7"/>
          </p:nvPr>
        </p:nvSpPr>
        <p:spPr/>
        <p:txBody>
          <a:bodyPr lIns="0" tIns="0" rIns="0" bIns="0"/>
          <a:lstStyle>
            <a:lvl1pPr>
              <a:defRPr sz="1000" b="0" i="0">
                <a:solidFill>
                  <a:srgbClr val="535758"/>
                </a:solidFill>
                <a:latin typeface="Arial"/>
                <a:cs typeface="Arial"/>
              </a:defRPr>
            </a:lvl1pPr>
          </a:lstStyle>
          <a:p>
            <a:pPr marL="38100">
              <a:lnSpc>
                <a:spcPct val="100000"/>
              </a:lnSpc>
            </a:pPr>
            <a:fld id="{81D60167-4931-47E6-BA6A-407CBD079E47}" type="slidenum">
              <a:rPr spc="-25" dirty="0"/>
              <a:t>‹#›</a:t>
            </a:fld>
            <a:endParaRPr spc="-25" dirty="0"/>
          </a:p>
        </p:txBody>
      </p:sp>
    </p:spTree>
    <p:extLst>
      <p:ext uri="{BB962C8B-B14F-4D97-AF65-F5344CB8AC3E}">
        <p14:creationId xmlns:p14="http://schemas.microsoft.com/office/powerpoint/2010/main" val="2613979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A42EC3-BB61-5A42-8BF1-1D2972BB044D}"/>
              </a:ext>
            </a:extLst>
          </p:cNvPr>
          <p:cNvSpPr>
            <a:spLocks noGrp="1"/>
          </p:cNvSpPr>
          <p:nvPr>
            <p:ph type="title"/>
          </p:nvPr>
        </p:nvSpPr>
        <p:spPr/>
        <p:txBody>
          <a:bodyPr/>
          <a:lstStyle/>
          <a:p>
            <a:r>
              <a:rPr lang="en-US"/>
              <a:t>Click to edit Master title style</a:t>
            </a:r>
          </a:p>
        </p:txBody>
      </p:sp>
      <p:sp>
        <p:nvSpPr>
          <p:cNvPr id="5" name="Slide Number Placeholder 11">
            <a:extLst>
              <a:ext uri="{FF2B5EF4-FFF2-40B4-BE49-F238E27FC236}">
                <a16:creationId xmlns:a16="http://schemas.microsoft.com/office/drawing/2014/main" id="{0D25D28A-A5EB-C240-A997-149159566C62}"/>
              </a:ext>
            </a:extLst>
          </p:cNvPr>
          <p:cNvSpPr>
            <a:spLocks noGrp="1"/>
          </p:cNvSpPr>
          <p:nvPr>
            <p:ph type="sldNum" sz="quarter" idx="10"/>
          </p:nvPr>
        </p:nvSpPr>
        <p:spPr>
          <a:xfrm>
            <a:off x="2" y="6553202"/>
            <a:ext cx="304799" cy="304799"/>
          </a:xfrm>
        </p:spPr>
        <p:txBody>
          <a:bodyPr lIns="0" tIns="0" rIns="0" bIns="0"/>
          <a:lstStyle/>
          <a:p>
            <a:fld id="{89006F1E-66CD-4A4B-9370-B4A3080F0E6C}" type="slidenum">
              <a:rPr lang="en-US" smtClean="0"/>
              <a:pPr/>
              <a:t>‹#›</a:t>
            </a:fld>
            <a:endParaRPr lang="en-US"/>
          </a:p>
        </p:txBody>
      </p:sp>
      <p:sp>
        <p:nvSpPr>
          <p:cNvPr id="6" name="Footer Placeholder 1">
            <a:extLst>
              <a:ext uri="{FF2B5EF4-FFF2-40B4-BE49-F238E27FC236}">
                <a16:creationId xmlns:a16="http://schemas.microsoft.com/office/drawing/2014/main" id="{EF39BEC2-E111-4A4B-836F-3D8401524587}"/>
              </a:ext>
            </a:extLst>
          </p:cNvPr>
          <p:cNvSpPr>
            <a:spLocks noGrp="1"/>
          </p:cNvSpPr>
          <p:nvPr>
            <p:ph type="ftr" sz="quarter" idx="12"/>
          </p:nvPr>
        </p:nvSpPr>
        <p:spPr>
          <a:xfrm>
            <a:off x="304802" y="6553201"/>
            <a:ext cx="3657601" cy="304800"/>
          </a:xfrm>
          <a:prstGeom prst="rect">
            <a:avLst/>
          </a:prstGeom>
        </p:spPr>
        <p:txBody>
          <a:bodyPr/>
          <a:lstStyle>
            <a:lvl1pPr>
              <a:defRPr>
                <a:solidFill>
                  <a:schemeClr val="accent5"/>
                </a:solidFill>
              </a:defRPr>
            </a:lvl1pPr>
          </a:lstStyle>
          <a:p>
            <a:r>
              <a:rPr lang="en-US">
                <a:ea typeface="MS PGothic" panose="020B0600070205080204" pitchFamily="34" charset="-128"/>
              </a:rPr>
              <a:t>Proprietary &amp; Confidential |  authoremail@thermofisher.com | 5-August-2020</a:t>
            </a:r>
          </a:p>
        </p:txBody>
      </p:sp>
      <p:sp>
        <p:nvSpPr>
          <p:cNvPr id="8" name="Text Placeholder 7">
            <a:extLst>
              <a:ext uri="{FF2B5EF4-FFF2-40B4-BE49-F238E27FC236}">
                <a16:creationId xmlns:a16="http://schemas.microsoft.com/office/drawing/2014/main" id="{2A4CF7CB-ACF9-2E40-8360-1F09EA0AC0AC}"/>
              </a:ext>
            </a:extLst>
          </p:cNvPr>
          <p:cNvSpPr>
            <a:spLocks noGrp="1"/>
          </p:cNvSpPr>
          <p:nvPr>
            <p:ph type="body" sz="quarter" idx="11" hasCustomPrompt="1"/>
          </p:nvPr>
        </p:nvSpPr>
        <p:spPr>
          <a:xfrm>
            <a:off x="300227" y="893065"/>
            <a:ext cx="11591546" cy="381001"/>
          </a:xfrm>
          <a:prstGeom prst="rect">
            <a:avLst/>
          </a:prstGeom>
        </p:spPr>
        <p:txBody>
          <a:bodyPr lIns="0" tIns="0" rIns="0" bIns="0" anchor="t">
            <a:noAutofit/>
          </a:bodyPr>
          <a:lstStyle>
            <a:lvl1pPr marL="0" indent="0">
              <a:buNone/>
              <a:defRPr sz="1500">
                <a:solidFill>
                  <a:schemeClr val="tx1"/>
                </a:solidFill>
              </a:defRPr>
            </a:lvl1pPr>
          </a:lstStyle>
          <a:p>
            <a:pPr lvl="0"/>
            <a:r>
              <a:rPr lang="en-US"/>
              <a:t>Click to add </a:t>
            </a:r>
            <a:r>
              <a:rPr lang="en-US" err="1"/>
              <a:t>subheader</a:t>
            </a:r>
            <a:endParaRPr lang="en-US"/>
          </a:p>
        </p:txBody>
      </p:sp>
      <p:sp>
        <p:nvSpPr>
          <p:cNvPr id="10" name="Text Placeholder 7">
            <a:extLst>
              <a:ext uri="{FF2B5EF4-FFF2-40B4-BE49-F238E27FC236}">
                <a16:creationId xmlns:a16="http://schemas.microsoft.com/office/drawing/2014/main" id="{EE5F834C-5A08-DA4E-82E7-AC5A7A2CC796}"/>
              </a:ext>
            </a:extLst>
          </p:cNvPr>
          <p:cNvSpPr>
            <a:spLocks noGrp="1"/>
          </p:cNvSpPr>
          <p:nvPr>
            <p:ph type="body" sz="quarter" idx="13" hasCustomPrompt="1"/>
          </p:nvPr>
        </p:nvSpPr>
        <p:spPr>
          <a:xfrm>
            <a:off x="304798" y="6055756"/>
            <a:ext cx="11582401" cy="489204"/>
          </a:xfrm>
          <a:prstGeom prst="rect">
            <a:avLst/>
          </a:prstGeom>
        </p:spPr>
        <p:txBody>
          <a:bodyPr anchor="b">
            <a:normAutofit/>
          </a:bodyPr>
          <a:lstStyle>
            <a:lvl1pPr marL="0" indent="0">
              <a:spcBef>
                <a:spcPts val="75"/>
              </a:spcBef>
              <a:buNone/>
              <a:defRPr sz="750">
                <a:solidFill>
                  <a:schemeClr val="accent5"/>
                </a:solidFill>
              </a:defRPr>
            </a:lvl1pPr>
          </a:lstStyle>
          <a:p>
            <a:pPr lvl="0"/>
            <a:r>
              <a:rPr lang="en-US"/>
              <a:t>Source notes</a:t>
            </a:r>
          </a:p>
        </p:txBody>
      </p:sp>
      <p:sp>
        <p:nvSpPr>
          <p:cNvPr id="7" name="Content Placeholder 6">
            <a:extLst>
              <a:ext uri="{FF2B5EF4-FFF2-40B4-BE49-F238E27FC236}">
                <a16:creationId xmlns:a16="http://schemas.microsoft.com/office/drawing/2014/main" id="{AFD7366D-1388-3D45-9C8A-11D05A5A4315}"/>
              </a:ext>
            </a:extLst>
          </p:cNvPr>
          <p:cNvSpPr>
            <a:spLocks noGrp="1"/>
          </p:cNvSpPr>
          <p:nvPr>
            <p:ph sz="quarter" idx="14"/>
          </p:nvPr>
        </p:nvSpPr>
        <p:spPr>
          <a:xfrm>
            <a:off x="300038" y="1447802"/>
            <a:ext cx="11587162" cy="46085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060067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0" name="Rectangle 9"/>
          <p:cNvSpPr/>
          <p:nvPr/>
        </p:nvSpPr>
        <p:spPr>
          <a:xfrm>
            <a:off x="0" y="0"/>
            <a:ext cx="12192000" cy="457200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Oval 5"/>
          <p:cNvSpPr/>
          <p:nvPr/>
        </p:nvSpPr>
        <p:spPr>
          <a:xfrm>
            <a:off x="-1" y="0"/>
            <a:ext cx="12192000" cy="4572001"/>
          </a:xfrm>
          <a:custGeom>
            <a:avLst/>
            <a:gdLst/>
            <a:ahLst/>
            <a:cxnLst/>
            <a:rect l="l" t="t" r="r" b="b"/>
            <a:pathLst>
              <a:path w="12192000" h="4572001">
                <a:moveTo>
                  <a:pt x="12192000" y="4387986"/>
                </a:moveTo>
                <a:lnTo>
                  <a:pt x="12192000" y="4572001"/>
                </a:lnTo>
                <a:lnTo>
                  <a:pt x="12013927" y="4572001"/>
                </a:lnTo>
                <a:cubicBezTo>
                  <a:pt x="12084901" y="4522707"/>
                  <a:pt x="12145198" y="4460004"/>
                  <a:pt x="12192000" y="4387986"/>
                </a:cubicBezTo>
                <a:close/>
                <a:moveTo>
                  <a:pt x="12192000" y="4041440"/>
                </a:moveTo>
                <a:lnTo>
                  <a:pt x="12192000" y="4174488"/>
                </a:lnTo>
                <a:cubicBezTo>
                  <a:pt x="12005469" y="4244657"/>
                  <a:pt x="11857227" y="4389538"/>
                  <a:pt x="11786673" y="4572001"/>
                </a:cubicBezTo>
                <a:lnTo>
                  <a:pt x="11649784" y="4572001"/>
                </a:lnTo>
                <a:cubicBezTo>
                  <a:pt x="11730542" y="4320085"/>
                  <a:pt x="11933879" y="4121396"/>
                  <a:pt x="12192000" y="4041440"/>
                </a:cubicBezTo>
                <a:close/>
                <a:moveTo>
                  <a:pt x="10767111" y="3999419"/>
                </a:moveTo>
                <a:lnTo>
                  <a:pt x="10784198" y="4001042"/>
                </a:lnTo>
                <a:cubicBezTo>
                  <a:pt x="10816584" y="4001569"/>
                  <a:pt x="10848477" y="4004550"/>
                  <a:pt x="10879660" y="4010107"/>
                </a:cubicBezTo>
                <a:cubicBezTo>
                  <a:pt x="10885236" y="4009688"/>
                  <a:pt x="10890564" y="4010636"/>
                  <a:pt x="10895873" y="4011646"/>
                </a:cubicBezTo>
                <a:lnTo>
                  <a:pt x="10895990" y="4012794"/>
                </a:lnTo>
                <a:cubicBezTo>
                  <a:pt x="11208069" y="4064450"/>
                  <a:pt x="11461298" y="4283539"/>
                  <a:pt x="11554662" y="4572001"/>
                </a:cubicBezTo>
                <a:lnTo>
                  <a:pt x="11417114" y="4572001"/>
                </a:lnTo>
                <a:cubicBezTo>
                  <a:pt x="11333731" y="4357380"/>
                  <a:pt x="11143362" y="4194541"/>
                  <a:pt x="10909360" y="4144250"/>
                </a:cubicBezTo>
                <a:cubicBezTo>
                  <a:pt x="10943854" y="4319651"/>
                  <a:pt x="11046077" y="4471530"/>
                  <a:pt x="11189175" y="4572001"/>
                </a:cubicBezTo>
                <a:lnTo>
                  <a:pt x="10994934" y="4572001"/>
                </a:lnTo>
                <a:cubicBezTo>
                  <a:pt x="10878802" y="4452596"/>
                  <a:pt x="10800240" y="4298519"/>
                  <a:pt x="10775875" y="4127511"/>
                </a:cubicBezTo>
                <a:cubicBezTo>
                  <a:pt x="10775707" y="4127458"/>
                  <a:pt x="10775539" y="4127453"/>
                  <a:pt x="10775369" y="4127448"/>
                </a:cubicBezTo>
                <a:lnTo>
                  <a:pt x="10774831" y="4120772"/>
                </a:lnTo>
                <a:cubicBezTo>
                  <a:pt x="10769772" y="4090522"/>
                  <a:pt x="10767321" y="4059631"/>
                  <a:pt x="10767364" y="4028296"/>
                </a:cubicBezTo>
                <a:cubicBezTo>
                  <a:pt x="10766052" y="4022668"/>
                  <a:pt x="10765993" y="4017001"/>
                  <a:pt x="10765993" y="4011320"/>
                </a:cubicBezTo>
                <a:lnTo>
                  <a:pt x="10766587" y="3999880"/>
                </a:lnTo>
                <a:lnTo>
                  <a:pt x="10767085" y="3999913"/>
                </a:lnTo>
                <a:close/>
                <a:moveTo>
                  <a:pt x="10744358" y="3999419"/>
                </a:moveTo>
                <a:lnTo>
                  <a:pt x="10744384" y="3999913"/>
                </a:lnTo>
                <a:lnTo>
                  <a:pt x="10744882" y="3999880"/>
                </a:lnTo>
                <a:lnTo>
                  <a:pt x="10745476" y="4011320"/>
                </a:lnTo>
                <a:cubicBezTo>
                  <a:pt x="10745476" y="4017001"/>
                  <a:pt x="10745417" y="4022668"/>
                  <a:pt x="10744105" y="4028296"/>
                </a:cubicBezTo>
                <a:cubicBezTo>
                  <a:pt x="10744148" y="4059631"/>
                  <a:pt x="10741697" y="4090522"/>
                  <a:pt x="10736638" y="4120772"/>
                </a:cubicBezTo>
                <a:lnTo>
                  <a:pt x="10736100" y="4127448"/>
                </a:lnTo>
                <a:cubicBezTo>
                  <a:pt x="10735930" y="4127453"/>
                  <a:pt x="10735762" y="4127458"/>
                  <a:pt x="10735594" y="4127511"/>
                </a:cubicBezTo>
                <a:cubicBezTo>
                  <a:pt x="10711229" y="4298519"/>
                  <a:pt x="10632667" y="4452596"/>
                  <a:pt x="10516535" y="4572001"/>
                </a:cubicBezTo>
                <a:lnTo>
                  <a:pt x="10322294" y="4572001"/>
                </a:lnTo>
                <a:cubicBezTo>
                  <a:pt x="10465392" y="4471530"/>
                  <a:pt x="10567615" y="4319650"/>
                  <a:pt x="10602109" y="4144250"/>
                </a:cubicBezTo>
                <a:cubicBezTo>
                  <a:pt x="10368107" y="4194541"/>
                  <a:pt x="10177738" y="4357380"/>
                  <a:pt x="10094355" y="4572001"/>
                </a:cubicBezTo>
                <a:lnTo>
                  <a:pt x="9956808" y="4572001"/>
                </a:lnTo>
                <a:cubicBezTo>
                  <a:pt x="10050171" y="4283539"/>
                  <a:pt x="10303400" y="4064450"/>
                  <a:pt x="10615479" y="4012794"/>
                </a:cubicBezTo>
                <a:lnTo>
                  <a:pt x="10615596" y="4011646"/>
                </a:lnTo>
                <a:cubicBezTo>
                  <a:pt x="10620905" y="4010636"/>
                  <a:pt x="10626233" y="4009688"/>
                  <a:pt x="10631809" y="4010107"/>
                </a:cubicBezTo>
                <a:cubicBezTo>
                  <a:pt x="10662992" y="4004550"/>
                  <a:pt x="10694885" y="4001569"/>
                  <a:pt x="10727271" y="4001042"/>
                </a:cubicBezTo>
                <a:close/>
                <a:moveTo>
                  <a:pt x="9074958" y="3999419"/>
                </a:moveTo>
                <a:lnTo>
                  <a:pt x="9092045" y="4001042"/>
                </a:lnTo>
                <a:cubicBezTo>
                  <a:pt x="9124431" y="4001569"/>
                  <a:pt x="9156324" y="4004550"/>
                  <a:pt x="9187507" y="4010107"/>
                </a:cubicBezTo>
                <a:cubicBezTo>
                  <a:pt x="9193083" y="4009688"/>
                  <a:pt x="9198411" y="4010636"/>
                  <a:pt x="9203720" y="4011646"/>
                </a:cubicBezTo>
                <a:lnTo>
                  <a:pt x="9203837" y="4012794"/>
                </a:lnTo>
                <a:cubicBezTo>
                  <a:pt x="9515916" y="4064450"/>
                  <a:pt x="9769145" y="4283539"/>
                  <a:pt x="9862508" y="4572001"/>
                </a:cubicBezTo>
                <a:lnTo>
                  <a:pt x="9724961" y="4572001"/>
                </a:lnTo>
                <a:cubicBezTo>
                  <a:pt x="9641578" y="4357380"/>
                  <a:pt x="9451209" y="4194541"/>
                  <a:pt x="9217207" y="4144250"/>
                </a:cubicBezTo>
                <a:cubicBezTo>
                  <a:pt x="9251701" y="4319651"/>
                  <a:pt x="9353924" y="4471530"/>
                  <a:pt x="9497022" y="4572001"/>
                </a:cubicBezTo>
                <a:lnTo>
                  <a:pt x="9302781" y="4572001"/>
                </a:lnTo>
                <a:cubicBezTo>
                  <a:pt x="9186649" y="4452596"/>
                  <a:pt x="9108087" y="4298519"/>
                  <a:pt x="9083722" y="4127511"/>
                </a:cubicBezTo>
                <a:cubicBezTo>
                  <a:pt x="9083554" y="4127458"/>
                  <a:pt x="9083386" y="4127453"/>
                  <a:pt x="9083216" y="4127448"/>
                </a:cubicBezTo>
                <a:lnTo>
                  <a:pt x="9082678" y="4120772"/>
                </a:lnTo>
                <a:cubicBezTo>
                  <a:pt x="9077619" y="4090522"/>
                  <a:pt x="9075168" y="4059631"/>
                  <a:pt x="9075211" y="4028296"/>
                </a:cubicBezTo>
                <a:cubicBezTo>
                  <a:pt x="9073899" y="4022668"/>
                  <a:pt x="9073840" y="4017001"/>
                  <a:pt x="9073840" y="4011320"/>
                </a:cubicBezTo>
                <a:lnTo>
                  <a:pt x="9074434" y="3999880"/>
                </a:lnTo>
                <a:lnTo>
                  <a:pt x="9074932" y="3999913"/>
                </a:lnTo>
                <a:close/>
                <a:moveTo>
                  <a:pt x="9052207" y="3999419"/>
                </a:moveTo>
                <a:lnTo>
                  <a:pt x="9052233" y="3999913"/>
                </a:lnTo>
                <a:lnTo>
                  <a:pt x="9052731" y="3999880"/>
                </a:lnTo>
                <a:lnTo>
                  <a:pt x="9053325" y="4011320"/>
                </a:lnTo>
                <a:cubicBezTo>
                  <a:pt x="9053325" y="4017001"/>
                  <a:pt x="9053266" y="4022668"/>
                  <a:pt x="9051954" y="4028296"/>
                </a:cubicBezTo>
                <a:cubicBezTo>
                  <a:pt x="9051997" y="4059631"/>
                  <a:pt x="9049546" y="4090522"/>
                  <a:pt x="9044487" y="4120772"/>
                </a:cubicBezTo>
                <a:lnTo>
                  <a:pt x="9043949" y="4127448"/>
                </a:lnTo>
                <a:cubicBezTo>
                  <a:pt x="9043779" y="4127453"/>
                  <a:pt x="9043611" y="4127458"/>
                  <a:pt x="9043443" y="4127511"/>
                </a:cubicBezTo>
                <a:cubicBezTo>
                  <a:pt x="9019078" y="4298519"/>
                  <a:pt x="8940516" y="4452596"/>
                  <a:pt x="8824384" y="4572001"/>
                </a:cubicBezTo>
                <a:lnTo>
                  <a:pt x="8630143" y="4572001"/>
                </a:lnTo>
                <a:cubicBezTo>
                  <a:pt x="8773241" y="4471530"/>
                  <a:pt x="8875464" y="4319651"/>
                  <a:pt x="8909958" y="4144250"/>
                </a:cubicBezTo>
                <a:cubicBezTo>
                  <a:pt x="8675956" y="4194541"/>
                  <a:pt x="8485587" y="4357380"/>
                  <a:pt x="8402204" y="4572001"/>
                </a:cubicBezTo>
                <a:lnTo>
                  <a:pt x="8264656" y="4572001"/>
                </a:lnTo>
                <a:cubicBezTo>
                  <a:pt x="8358019" y="4283539"/>
                  <a:pt x="8611249" y="4064450"/>
                  <a:pt x="8923328" y="4012794"/>
                </a:cubicBezTo>
                <a:lnTo>
                  <a:pt x="8923445" y="4011646"/>
                </a:lnTo>
                <a:cubicBezTo>
                  <a:pt x="8928754" y="4010636"/>
                  <a:pt x="8934082" y="4009688"/>
                  <a:pt x="8939658" y="4010107"/>
                </a:cubicBezTo>
                <a:cubicBezTo>
                  <a:pt x="8970841" y="4004550"/>
                  <a:pt x="9002734" y="4001569"/>
                  <a:pt x="9035120" y="4001042"/>
                </a:cubicBezTo>
                <a:close/>
                <a:moveTo>
                  <a:pt x="7382807" y="3999419"/>
                </a:moveTo>
                <a:lnTo>
                  <a:pt x="7399895" y="4001042"/>
                </a:lnTo>
                <a:cubicBezTo>
                  <a:pt x="7432280" y="4001569"/>
                  <a:pt x="7464173" y="4004550"/>
                  <a:pt x="7495356" y="4010107"/>
                </a:cubicBezTo>
                <a:cubicBezTo>
                  <a:pt x="7500932" y="4009688"/>
                  <a:pt x="7506260" y="4010636"/>
                  <a:pt x="7511569" y="4011646"/>
                </a:cubicBezTo>
                <a:lnTo>
                  <a:pt x="7511686" y="4012794"/>
                </a:lnTo>
                <a:cubicBezTo>
                  <a:pt x="7823765" y="4064450"/>
                  <a:pt x="8076994" y="4283539"/>
                  <a:pt x="8170358" y="4572001"/>
                </a:cubicBezTo>
                <a:lnTo>
                  <a:pt x="8032809" y="4572001"/>
                </a:lnTo>
                <a:cubicBezTo>
                  <a:pt x="7949426" y="4357380"/>
                  <a:pt x="7759058" y="4194541"/>
                  <a:pt x="7525056" y="4144250"/>
                </a:cubicBezTo>
                <a:cubicBezTo>
                  <a:pt x="7559550" y="4319650"/>
                  <a:pt x="7661773" y="4471530"/>
                  <a:pt x="7804870" y="4572001"/>
                </a:cubicBezTo>
                <a:lnTo>
                  <a:pt x="7610630" y="4572001"/>
                </a:lnTo>
                <a:cubicBezTo>
                  <a:pt x="7494498" y="4452596"/>
                  <a:pt x="7415935" y="4298519"/>
                  <a:pt x="7391571" y="4127511"/>
                </a:cubicBezTo>
                <a:cubicBezTo>
                  <a:pt x="7391403" y="4127458"/>
                  <a:pt x="7391235" y="4127453"/>
                  <a:pt x="7391065" y="4127448"/>
                </a:cubicBezTo>
                <a:lnTo>
                  <a:pt x="7390527" y="4120772"/>
                </a:lnTo>
                <a:cubicBezTo>
                  <a:pt x="7385468" y="4090522"/>
                  <a:pt x="7383018" y="4059631"/>
                  <a:pt x="7383060" y="4028296"/>
                </a:cubicBezTo>
                <a:cubicBezTo>
                  <a:pt x="7381748" y="4022668"/>
                  <a:pt x="7381689" y="4017001"/>
                  <a:pt x="7381689" y="4011320"/>
                </a:cubicBezTo>
                <a:lnTo>
                  <a:pt x="7382283" y="3999880"/>
                </a:lnTo>
                <a:lnTo>
                  <a:pt x="7382781" y="3999913"/>
                </a:lnTo>
                <a:close/>
                <a:moveTo>
                  <a:pt x="7360056" y="3999419"/>
                </a:moveTo>
                <a:lnTo>
                  <a:pt x="7360082" y="3999913"/>
                </a:lnTo>
                <a:lnTo>
                  <a:pt x="7360580" y="3999880"/>
                </a:lnTo>
                <a:lnTo>
                  <a:pt x="7361174" y="4011320"/>
                </a:lnTo>
                <a:cubicBezTo>
                  <a:pt x="7361174" y="4017001"/>
                  <a:pt x="7361115" y="4022668"/>
                  <a:pt x="7359803" y="4028296"/>
                </a:cubicBezTo>
                <a:cubicBezTo>
                  <a:pt x="7359845" y="4059631"/>
                  <a:pt x="7357395" y="4090522"/>
                  <a:pt x="7352336" y="4120772"/>
                </a:cubicBezTo>
                <a:lnTo>
                  <a:pt x="7351798" y="4127448"/>
                </a:lnTo>
                <a:cubicBezTo>
                  <a:pt x="7351628" y="4127453"/>
                  <a:pt x="7351460" y="4127458"/>
                  <a:pt x="7351292" y="4127511"/>
                </a:cubicBezTo>
                <a:cubicBezTo>
                  <a:pt x="7326927" y="4298519"/>
                  <a:pt x="7248364" y="4452596"/>
                  <a:pt x="7132233" y="4572001"/>
                </a:cubicBezTo>
                <a:lnTo>
                  <a:pt x="6937992" y="4572001"/>
                </a:lnTo>
                <a:cubicBezTo>
                  <a:pt x="7081090" y="4471530"/>
                  <a:pt x="7183313" y="4319650"/>
                  <a:pt x="7217807" y="4144250"/>
                </a:cubicBezTo>
                <a:cubicBezTo>
                  <a:pt x="6983804" y="4194541"/>
                  <a:pt x="6793436" y="4357380"/>
                  <a:pt x="6710053" y="4572001"/>
                </a:cubicBezTo>
                <a:lnTo>
                  <a:pt x="6572505" y="4572001"/>
                </a:lnTo>
                <a:cubicBezTo>
                  <a:pt x="6665868" y="4283539"/>
                  <a:pt x="6919098" y="4064450"/>
                  <a:pt x="7231177" y="4012794"/>
                </a:cubicBezTo>
                <a:lnTo>
                  <a:pt x="7231294" y="4011646"/>
                </a:lnTo>
                <a:cubicBezTo>
                  <a:pt x="7236603" y="4010636"/>
                  <a:pt x="7241931" y="4009688"/>
                  <a:pt x="7247507" y="4010107"/>
                </a:cubicBezTo>
                <a:cubicBezTo>
                  <a:pt x="7278690" y="4004550"/>
                  <a:pt x="7310583" y="4001569"/>
                  <a:pt x="7342968" y="4001042"/>
                </a:cubicBezTo>
                <a:close/>
                <a:moveTo>
                  <a:pt x="5690656" y="3999419"/>
                </a:moveTo>
                <a:lnTo>
                  <a:pt x="5707743" y="4001042"/>
                </a:lnTo>
                <a:cubicBezTo>
                  <a:pt x="5740129" y="4001569"/>
                  <a:pt x="5772021" y="4004550"/>
                  <a:pt x="5803205" y="4010107"/>
                </a:cubicBezTo>
                <a:cubicBezTo>
                  <a:pt x="5808781" y="4009688"/>
                  <a:pt x="5814109" y="4010636"/>
                  <a:pt x="5819417" y="4011646"/>
                </a:cubicBezTo>
                <a:lnTo>
                  <a:pt x="5819534" y="4012794"/>
                </a:lnTo>
                <a:cubicBezTo>
                  <a:pt x="6131614" y="4064450"/>
                  <a:pt x="6384843" y="4283539"/>
                  <a:pt x="6478206" y="4572001"/>
                </a:cubicBezTo>
                <a:lnTo>
                  <a:pt x="6340658" y="4572001"/>
                </a:lnTo>
                <a:cubicBezTo>
                  <a:pt x="6257275" y="4357380"/>
                  <a:pt x="6066907" y="4194541"/>
                  <a:pt x="5832905" y="4144250"/>
                </a:cubicBezTo>
                <a:cubicBezTo>
                  <a:pt x="5867399" y="4319651"/>
                  <a:pt x="5969622" y="4471530"/>
                  <a:pt x="6112719" y="4572001"/>
                </a:cubicBezTo>
                <a:lnTo>
                  <a:pt x="5918478" y="4572001"/>
                </a:lnTo>
                <a:cubicBezTo>
                  <a:pt x="5802347" y="4452596"/>
                  <a:pt x="5723784" y="4298519"/>
                  <a:pt x="5699419" y="4127511"/>
                </a:cubicBezTo>
                <a:cubicBezTo>
                  <a:pt x="5699252" y="4127458"/>
                  <a:pt x="5699083" y="4127453"/>
                  <a:pt x="5698914" y="4127448"/>
                </a:cubicBezTo>
                <a:lnTo>
                  <a:pt x="5698375" y="4120772"/>
                </a:lnTo>
                <a:cubicBezTo>
                  <a:pt x="5693317" y="4090522"/>
                  <a:pt x="5690866" y="4059631"/>
                  <a:pt x="5690908" y="4028296"/>
                </a:cubicBezTo>
                <a:cubicBezTo>
                  <a:pt x="5689596" y="4022668"/>
                  <a:pt x="5689538" y="4017001"/>
                  <a:pt x="5689538" y="4011320"/>
                </a:cubicBezTo>
                <a:lnTo>
                  <a:pt x="5690132" y="3999880"/>
                </a:lnTo>
                <a:lnTo>
                  <a:pt x="5690630" y="3999913"/>
                </a:lnTo>
                <a:close/>
                <a:moveTo>
                  <a:pt x="5667905" y="3999419"/>
                </a:moveTo>
                <a:lnTo>
                  <a:pt x="5667931" y="3999913"/>
                </a:lnTo>
                <a:lnTo>
                  <a:pt x="5668429" y="3999880"/>
                </a:lnTo>
                <a:lnTo>
                  <a:pt x="5669023" y="4011320"/>
                </a:lnTo>
                <a:cubicBezTo>
                  <a:pt x="5669023" y="4017001"/>
                  <a:pt x="5668964" y="4022668"/>
                  <a:pt x="5667652" y="4028296"/>
                </a:cubicBezTo>
                <a:cubicBezTo>
                  <a:pt x="5667694" y="4059631"/>
                  <a:pt x="5665244" y="4090522"/>
                  <a:pt x="5660185" y="4120772"/>
                </a:cubicBezTo>
                <a:lnTo>
                  <a:pt x="5659647" y="4127448"/>
                </a:lnTo>
                <a:cubicBezTo>
                  <a:pt x="5659477" y="4127453"/>
                  <a:pt x="5659309" y="4127458"/>
                  <a:pt x="5659141" y="4127511"/>
                </a:cubicBezTo>
                <a:cubicBezTo>
                  <a:pt x="5634776" y="4298519"/>
                  <a:pt x="5556213" y="4452596"/>
                  <a:pt x="5440082" y="4572001"/>
                </a:cubicBezTo>
                <a:lnTo>
                  <a:pt x="5245841" y="4572001"/>
                </a:lnTo>
                <a:cubicBezTo>
                  <a:pt x="5388939" y="4471530"/>
                  <a:pt x="5491162" y="4319651"/>
                  <a:pt x="5525656" y="4144250"/>
                </a:cubicBezTo>
                <a:cubicBezTo>
                  <a:pt x="5291653" y="4194541"/>
                  <a:pt x="5101285" y="4357380"/>
                  <a:pt x="5017902" y="4572001"/>
                </a:cubicBezTo>
                <a:lnTo>
                  <a:pt x="4880354" y="4572001"/>
                </a:lnTo>
                <a:cubicBezTo>
                  <a:pt x="4973717" y="4283539"/>
                  <a:pt x="5226947" y="4064450"/>
                  <a:pt x="5539026" y="4012794"/>
                </a:cubicBezTo>
                <a:lnTo>
                  <a:pt x="5539143" y="4011646"/>
                </a:lnTo>
                <a:cubicBezTo>
                  <a:pt x="5544452" y="4010636"/>
                  <a:pt x="5549780" y="4009688"/>
                  <a:pt x="5555356" y="4010107"/>
                </a:cubicBezTo>
                <a:cubicBezTo>
                  <a:pt x="5586539" y="4004550"/>
                  <a:pt x="5618432" y="4001569"/>
                  <a:pt x="5650817" y="4001042"/>
                </a:cubicBezTo>
                <a:close/>
                <a:moveTo>
                  <a:pt x="3998505" y="3999419"/>
                </a:moveTo>
                <a:lnTo>
                  <a:pt x="4015592" y="4001042"/>
                </a:lnTo>
                <a:cubicBezTo>
                  <a:pt x="4047978" y="4001569"/>
                  <a:pt x="4079870" y="4004550"/>
                  <a:pt x="4111054" y="4010107"/>
                </a:cubicBezTo>
                <a:cubicBezTo>
                  <a:pt x="4116630" y="4009688"/>
                  <a:pt x="4121958" y="4010636"/>
                  <a:pt x="4127266" y="4011646"/>
                </a:cubicBezTo>
                <a:lnTo>
                  <a:pt x="4127384" y="4012794"/>
                </a:lnTo>
                <a:cubicBezTo>
                  <a:pt x="4439463" y="4064450"/>
                  <a:pt x="4692692" y="4283539"/>
                  <a:pt x="4786055" y="4572001"/>
                </a:cubicBezTo>
                <a:lnTo>
                  <a:pt x="4648508" y="4572001"/>
                </a:lnTo>
                <a:cubicBezTo>
                  <a:pt x="4565124" y="4357380"/>
                  <a:pt x="4374756" y="4194541"/>
                  <a:pt x="4140754" y="4144250"/>
                </a:cubicBezTo>
                <a:cubicBezTo>
                  <a:pt x="4175248" y="4319650"/>
                  <a:pt x="4277471" y="4471530"/>
                  <a:pt x="4420568" y="4572001"/>
                </a:cubicBezTo>
                <a:lnTo>
                  <a:pt x="4226327" y="4572001"/>
                </a:lnTo>
                <a:cubicBezTo>
                  <a:pt x="4110196" y="4452596"/>
                  <a:pt x="4031633" y="4298519"/>
                  <a:pt x="4007268" y="4127511"/>
                </a:cubicBezTo>
                <a:cubicBezTo>
                  <a:pt x="4007101" y="4127458"/>
                  <a:pt x="4006932" y="4127453"/>
                  <a:pt x="4006763" y="4127448"/>
                </a:cubicBezTo>
                <a:lnTo>
                  <a:pt x="4006225" y="4120772"/>
                </a:lnTo>
                <a:cubicBezTo>
                  <a:pt x="4001166" y="4090522"/>
                  <a:pt x="3998715" y="4059631"/>
                  <a:pt x="3998757" y="4028296"/>
                </a:cubicBezTo>
                <a:cubicBezTo>
                  <a:pt x="3997445" y="4022668"/>
                  <a:pt x="3997387" y="4017001"/>
                  <a:pt x="3997387" y="4011320"/>
                </a:cubicBezTo>
                <a:lnTo>
                  <a:pt x="3997981" y="3999880"/>
                </a:lnTo>
                <a:lnTo>
                  <a:pt x="3998479" y="3999913"/>
                </a:lnTo>
                <a:close/>
                <a:moveTo>
                  <a:pt x="3975754" y="3999419"/>
                </a:moveTo>
                <a:lnTo>
                  <a:pt x="3975780" y="3999913"/>
                </a:lnTo>
                <a:lnTo>
                  <a:pt x="3976278" y="3999880"/>
                </a:lnTo>
                <a:lnTo>
                  <a:pt x="3976872" y="4011320"/>
                </a:lnTo>
                <a:cubicBezTo>
                  <a:pt x="3976872" y="4017001"/>
                  <a:pt x="3976813" y="4022668"/>
                  <a:pt x="3975501" y="4028296"/>
                </a:cubicBezTo>
                <a:cubicBezTo>
                  <a:pt x="3975543" y="4059631"/>
                  <a:pt x="3973093" y="4090522"/>
                  <a:pt x="3968034" y="4120772"/>
                </a:cubicBezTo>
                <a:lnTo>
                  <a:pt x="3967496" y="4127448"/>
                </a:lnTo>
                <a:cubicBezTo>
                  <a:pt x="3967326" y="4127453"/>
                  <a:pt x="3967158" y="4127458"/>
                  <a:pt x="3966990" y="4127511"/>
                </a:cubicBezTo>
                <a:cubicBezTo>
                  <a:pt x="3942625" y="4298519"/>
                  <a:pt x="3864063" y="4452596"/>
                  <a:pt x="3747931" y="4572001"/>
                </a:cubicBezTo>
                <a:lnTo>
                  <a:pt x="3553690" y="4572001"/>
                </a:lnTo>
                <a:cubicBezTo>
                  <a:pt x="3696788" y="4471530"/>
                  <a:pt x="3799011" y="4319651"/>
                  <a:pt x="3833505" y="4144250"/>
                </a:cubicBezTo>
                <a:cubicBezTo>
                  <a:pt x="3599503" y="4194541"/>
                  <a:pt x="3409134" y="4357380"/>
                  <a:pt x="3325751" y="4572001"/>
                </a:cubicBezTo>
                <a:lnTo>
                  <a:pt x="3188203" y="4572001"/>
                </a:lnTo>
                <a:cubicBezTo>
                  <a:pt x="3281566" y="4283539"/>
                  <a:pt x="3534796" y="4064450"/>
                  <a:pt x="3846875" y="4012794"/>
                </a:cubicBezTo>
                <a:lnTo>
                  <a:pt x="3846992" y="4011646"/>
                </a:lnTo>
                <a:cubicBezTo>
                  <a:pt x="3852301" y="4010636"/>
                  <a:pt x="3857629" y="4009688"/>
                  <a:pt x="3863205" y="4010107"/>
                </a:cubicBezTo>
                <a:cubicBezTo>
                  <a:pt x="3894388" y="4004550"/>
                  <a:pt x="3926281" y="4001569"/>
                  <a:pt x="3958666" y="4001042"/>
                </a:cubicBezTo>
                <a:close/>
                <a:moveTo>
                  <a:pt x="2306354" y="3999419"/>
                </a:moveTo>
                <a:lnTo>
                  <a:pt x="2323441" y="4001042"/>
                </a:lnTo>
                <a:cubicBezTo>
                  <a:pt x="2355827" y="4001569"/>
                  <a:pt x="2387719" y="4004550"/>
                  <a:pt x="2418903" y="4010107"/>
                </a:cubicBezTo>
                <a:cubicBezTo>
                  <a:pt x="2424479" y="4009688"/>
                  <a:pt x="2429807" y="4010636"/>
                  <a:pt x="2435115" y="4011646"/>
                </a:cubicBezTo>
                <a:lnTo>
                  <a:pt x="2435233" y="4012794"/>
                </a:lnTo>
                <a:cubicBezTo>
                  <a:pt x="2747312" y="4064450"/>
                  <a:pt x="3000542" y="4283539"/>
                  <a:pt x="3093904" y="4572001"/>
                </a:cubicBezTo>
                <a:lnTo>
                  <a:pt x="2956357" y="4572001"/>
                </a:lnTo>
                <a:cubicBezTo>
                  <a:pt x="2872974" y="4357380"/>
                  <a:pt x="2682605" y="4194541"/>
                  <a:pt x="2448603" y="4144250"/>
                </a:cubicBezTo>
                <a:cubicBezTo>
                  <a:pt x="2483097" y="4319651"/>
                  <a:pt x="2585320" y="4471530"/>
                  <a:pt x="2728418" y="4572001"/>
                </a:cubicBezTo>
                <a:lnTo>
                  <a:pt x="2534177" y="4572001"/>
                </a:lnTo>
                <a:cubicBezTo>
                  <a:pt x="2418045" y="4452596"/>
                  <a:pt x="2339482" y="4298519"/>
                  <a:pt x="2315117" y="4127511"/>
                </a:cubicBezTo>
                <a:cubicBezTo>
                  <a:pt x="2314950" y="4127458"/>
                  <a:pt x="2314781" y="4127453"/>
                  <a:pt x="2314612" y="4127448"/>
                </a:cubicBezTo>
                <a:lnTo>
                  <a:pt x="2314074" y="4120772"/>
                </a:lnTo>
                <a:cubicBezTo>
                  <a:pt x="2309015" y="4090522"/>
                  <a:pt x="2306564" y="4059631"/>
                  <a:pt x="2306606" y="4028296"/>
                </a:cubicBezTo>
                <a:cubicBezTo>
                  <a:pt x="2305294" y="4022668"/>
                  <a:pt x="2305236" y="4017001"/>
                  <a:pt x="2305236" y="4011320"/>
                </a:cubicBezTo>
                <a:lnTo>
                  <a:pt x="2305830" y="3999880"/>
                </a:lnTo>
                <a:lnTo>
                  <a:pt x="2306328" y="3999913"/>
                </a:lnTo>
                <a:close/>
                <a:moveTo>
                  <a:pt x="2283603" y="3999419"/>
                </a:moveTo>
                <a:lnTo>
                  <a:pt x="2283629" y="3999913"/>
                </a:lnTo>
                <a:lnTo>
                  <a:pt x="2284127" y="3999880"/>
                </a:lnTo>
                <a:lnTo>
                  <a:pt x="2284721" y="4011320"/>
                </a:lnTo>
                <a:cubicBezTo>
                  <a:pt x="2284721" y="4017001"/>
                  <a:pt x="2284662" y="4022668"/>
                  <a:pt x="2283350" y="4028296"/>
                </a:cubicBezTo>
                <a:cubicBezTo>
                  <a:pt x="2283392" y="4059631"/>
                  <a:pt x="2280942" y="4090522"/>
                  <a:pt x="2275883" y="4120772"/>
                </a:cubicBezTo>
                <a:lnTo>
                  <a:pt x="2275345" y="4127448"/>
                </a:lnTo>
                <a:cubicBezTo>
                  <a:pt x="2275175" y="4127453"/>
                  <a:pt x="2275007" y="4127458"/>
                  <a:pt x="2274839" y="4127511"/>
                </a:cubicBezTo>
                <a:cubicBezTo>
                  <a:pt x="2250474" y="4298519"/>
                  <a:pt x="2171912" y="4452596"/>
                  <a:pt x="2055780" y="4572001"/>
                </a:cubicBezTo>
                <a:lnTo>
                  <a:pt x="1861539" y="4572001"/>
                </a:lnTo>
                <a:cubicBezTo>
                  <a:pt x="2004637" y="4471530"/>
                  <a:pt x="2106860" y="4319650"/>
                  <a:pt x="2141354" y="4144250"/>
                </a:cubicBezTo>
                <a:cubicBezTo>
                  <a:pt x="1907352" y="4194541"/>
                  <a:pt x="1716983" y="4357380"/>
                  <a:pt x="1633600" y="4572001"/>
                </a:cubicBezTo>
                <a:lnTo>
                  <a:pt x="1496052" y="4572001"/>
                </a:lnTo>
                <a:cubicBezTo>
                  <a:pt x="1589416" y="4283539"/>
                  <a:pt x="1842645" y="4064450"/>
                  <a:pt x="2154724" y="4012794"/>
                </a:cubicBezTo>
                <a:lnTo>
                  <a:pt x="2154841" y="4011646"/>
                </a:lnTo>
                <a:cubicBezTo>
                  <a:pt x="2160150" y="4010636"/>
                  <a:pt x="2165478" y="4009688"/>
                  <a:pt x="2171054" y="4010107"/>
                </a:cubicBezTo>
                <a:cubicBezTo>
                  <a:pt x="2202237" y="4004550"/>
                  <a:pt x="2234130" y="4001569"/>
                  <a:pt x="2266515" y="4001042"/>
                </a:cubicBezTo>
                <a:close/>
                <a:moveTo>
                  <a:pt x="614203" y="3999419"/>
                </a:moveTo>
                <a:lnTo>
                  <a:pt x="631290" y="4001042"/>
                </a:lnTo>
                <a:cubicBezTo>
                  <a:pt x="663676" y="4001569"/>
                  <a:pt x="695568" y="4004550"/>
                  <a:pt x="726752" y="4010107"/>
                </a:cubicBezTo>
                <a:cubicBezTo>
                  <a:pt x="732328" y="4009688"/>
                  <a:pt x="737656" y="4010636"/>
                  <a:pt x="742964" y="4011646"/>
                </a:cubicBezTo>
                <a:lnTo>
                  <a:pt x="743081" y="4012794"/>
                </a:lnTo>
                <a:cubicBezTo>
                  <a:pt x="1055161" y="4064450"/>
                  <a:pt x="1308390" y="4283539"/>
                  <a:pt x="1401754" y="4572001"/>
                </a:cubicBezTo>
                <a:lnTo>
                  <a:pt x="1264205" y="4572001"/>
                </a:lnTo>
                <a:cubicBezTo>
                  <a:pt x="1180823" y="4357380"/>
                  <a:pt x="990454" y="4194541"/>
                  <a:pt x="756452" y="4144250"/>
                </a:cubicBezTo>
                <a:cubicBezTo>
                  <a:pt x="790946" y="4319651"/>
                  <a:pt x="893169" y="4471530"/>
                  <a:pt x="1036266" y="4572001"/>
                </a:cubicBezTo>
                <a:lnTo>
                  <a:pt x="842026" y="4572001"/>
                </a:lnTo>
                <a:cubicBezTo>
                  <a:pt x="725894" y="4452596"/>
                  <a:pt x="647331" y="4298519"/>
                  <a:pt x="622966" y="4127511"/>
                </a:cubicBezTo>
                <a:cubicBezTo>
                  <a:pt x="622799" y="4127458"/>
                  <a:pt x="622630" y="4127453"/>
                  <a:pt x="622461" y="4127448"/>
                </a:cubicBezTo>
                <a:lnTo>
                  <a:pt x="621923" y="4120772"/>
                </a:lnTo>
                <a:cubicBezTo>
                  <a:pt x="616864" y="4090522"/>
                  <a:pt x="614413" y="4059631"/>
                  <a:pt x="614455" y="4028296"/>
                </a:cubicBezTo>
                <a:cubicBezTo>
                  <a:pt x="613143" y="4022668"/>
                  <a:pt x="613085" y="4017001"/>
                  <a:pt x="613085" y="4011320"/>
                </a:cubicBezTo>
                <a:lnTo>
                  <a:pt x="613679" y="3999880"/>
                </a:lnTo>
                <a:lnTo>
                  <a:pt x="614177" y="3999913"/>
                </a:lnTo>
                <a:close/>
                <a:moveTo>
                  <a:pt x="591452" y="3999419"/>
                </a:moveTo>
                <a:lnTo>
                  <a:pt x="591478" y="3999913"/>
                </a:lnTo>
                <a:lnTo>
                  <a:pt x="591976" y="3999880"/>
                </a:lnTo>
                <a:lnTo>
                  <a:pt x="592570" y="4011320"/>
                </a:lnTo>
                <a:cubicBezTo>
                  <a:pt x="592570" y="4017001"/>
                  <a:pt x="592511" y="4022668"/>
                  <a:pt x="591199" y="4028296"/>
                </a:cubicBezTo>
                <a:cubicBezTo>
                  <a:pt x="591242" y="4059631"/>
                  <a:pt x="588791" y="4090522"/>
                  <a:pt x="583732" y="4120772"/>
                </a:cubicBezTo>
                <a:lnTo>
                  <a:pt x="583194" y="4127448"/>
                </a:lnTo>
                <a:cubicBezTo>
                  <a:pt x="583024" y="4127453"/>
                  <a:pt x="582856" y="4127458"/>
                  <a:pt x="582689" y="4127511"/>
                </a:cubicBezTo>
                <a:cubicBezTo>
                  <a:pt x="558275" y="4298863"/>
                  <a:pt x="479445" y="4453216"/>
                  <a:pt x="362360" y="4572001"/>
                </a:cubicBezTo>
                <a:lnTo>
                  <a:pt x="169811" y="4572001"/>
                </a:lnTo>
                <a:cubicBezTo>
                  <a:pt x="312603" y="4471357"/>
                  <a:pt x="414729" y="4319551"/>
                  <a:pt x="449203" y="4144250"/>
                </a:cubicBezTo>
                <a:cubicBezTo>
                  <a:pt x="258971" y="4185134"/>
                  <a:pt x="97576" y="4300399"/>
                  <a:pt x="0" y="4458139"/>
                </a:cubicBezTo>
                <a:lnTo>
                  <a:pt x="0" y="4251345"/>
                </a:lnTo>
                <a:cubicBezTo>
                  <a:pt x="121484" y="4128438"/>
                  <a:pt x="282199" y="4042650"/>
                  <a:pt x="462573" y="4012794"/>
                </a:cubicBezTo>
                <a:lnTo>
                  <a:pt x="462690" y="4011646"/>
                </a:lnTo>
                <a:cubicBezTo>
                  <a:pt x="467999" y="4010636"/>
                  <a:pt x="473327" y="4009688"/>
                  <a:pt x="478903" y="4010107"/>
                </a:cubicBezTo>
                <a:cubicBezTo>
                  <a:pt x="510086" y="4004550"/>
                  <a:pt x="541979" y="4001569"/>
                  <a:pt x="574365" y="4001042"/>
                </a:cubicBezTo>
                <a:close/>
                <a:moveTo>
                  <a:pt x="11452667" y="3304913"/>
                </a:moveTo>
                <a:cubicBezTo>
                  <a:pt x="11177477" y="3363591"/>
                  <a:pt x="10962633" y="3576701"/>
                  <a:pt x="10909358" y="3845480"/>
                </a:cubicBezTo>
                <a:cubicBezTo>
                  <a:pt x="11184548" y="3786801"/>
                  <a:pt x="11399391" y="3573691"/>
                  <a:pt x="11452667" y="3304913"/>
                </a:cubicBezTo>
                <a:close/>
                <a:moveTo>
                  <a:pt x="10058800" y="3304913"/>
                </a:moveTo>
                <a:cubicBezTo>
                  <a:pt x="10112076" y="3573691"/>
                  <a:pt x="10326919" y="3786801"/>
                  <a:pt x="10602109" y="3845480"/>
                </a:cubicBezTo>
                <a:cubicBezTo>
                  <a:pt x="10548834" y="3576701"/>
                  <a:pt x="10333990" y="3363591"/>
                  <a:pt x="10058800" y="3304913"/>
                </a:cubicBezTo>
                <a:close/>
                <a:moveTo>
                  <a:pt x="9760514" y="3304913"/>
                </a:moveTo>
                <a:cubicBezTo>
                  <a:pt x="9485324" y="3363591"/>
                  <a:pt x="9270480" y="3576701"/>
                  <a:pt x="9217205" y="3845480"/>
                </a:cubicBezTo>
                <a:cubicBezTo>
                  <a:pt x="9492395" y="3786801"/>
                  <a:pt x="9707238" y="3573691"/>
                  <a:pt x="9760514" y="3304913"/>
                </a:cubicBezTo>
                <a:close/>
                <a:moveTo>
                  <a:pt x="8366649" y="3304913"/>
                </a:moveTo>
                <a:cubicBezTo>
                  <a:pt x="8419925" y="3573691"/>
                  <a:pt x="8634768" y="3786801"/>
                  <a:pt x="8909958" y="3845480"/>
                </a:cubicBezTo>
                <a:cubicBezTo>
                  <a:pt x="8856683" y="3576701"/>
                  <a:pt x="8641839" y="3363591"/>
                  <a:pt x="8366649" y="3304913"/>
                </a:cubicBezTo>
                <a:close/>
                <a:moveTo>
                  <a:pt x="8068363" y="3304913"/>
                </a:moveTo>
                <a:cubicBezTo>
                  <a:pt x="7793173" y="3363591"/>
                  <a:pt x="7578329" y="3576701"/>
                  <a:pt x="7525054" y="3845480"/>
                </a:cubicBezTo>
                <a:cubicBezTo>
                  <a:pt x="7800244" y="3786801"/>
                  <a:pt x="8015087" y="3573691"/>
                  <a:pt x="8068363" y="3304913"/>
                </a:cubicBezTo>
                <a:close/>
                <a:moveTo>
                  <a:pt x="6674498" y="3304913"/>
                </a:moveTo>
                <a:cubicBezTo>
                  <a:pt x="6727774" y="3573691"/>
                  <a:pt x="6942617" y="3786801"/>
                  <a:pt x="7217807" y="3845480"/>
                </a:cubicBezTo>
                <a:cubicBezTo>
                  <a:pt x="7164532" y="3576701"/>
                  <a:pt x="6949688" y="3363591"/>
                  <a:pt x="6674498" y="3304913"/>
                </a:cubicBezTo>
                <a:close/>
                <a:moveTo>
                  <a:pt x="6376212" y="3304913"/>
                </a:moveTo>
                <a:cubicBezTo>
                  <a:pt x="6101022" y="3363591"/>
                  <a:pt x="5886178" y="3576701"/>
                  <a:pt x="5832903" y="3845480"/>
                </a:cubicBezTo>
                <a:cubicBezTo>
                  <a:pt x="6108093" y="3786801"/>
                  <a:pt x="6322936" y="3573691"/>
                  <a:pt x="6376212" y="3304913"/>
                </a:cubicBezTo>
                <a:close/>
                <a:moveTo>
                  <a:pt x="4982347" y="3304913"/>
                </a:moveTo>
                <a:cubicBezTo>
                  <a:pt x="5035623" y="3573691"/>
                  <a:pt x="5250466" y="3786801"/>
                  <a:pt x="5525656" y="3845480"/>
                </a:cubicBezTo>
                <a:cubicBezTo>
                  <a:pt x="5472381" y="3576701"/>
                  <a:pt x="5257537" y="3363591"/>
                  <a:pt x="4982347" y="3304913"/>
                </a:cubicBezTo>
                <a:close/>
                <a:moveTo>
                  <a:pt x="4684061" y="3304913"/>
                </a:moveTo>
                <a:cubicBezTo>
                  <a:pt x="4408871" y="3363591"/>
                  <a:pt x="4194027" y="3576701"/>
                  <a:pt x="4140752" y="3845480"/>
                </a:cubicBezTo>
                <a:cubicBezTo>
                  <a:pt x="4415942" y="3786801"/>
                  <a:pt x="4630785" y="3573691"/>
                  <a:pt x="4684061" y="3304913"/>
                </a:cubicBezTo>
                <a:close/>
                <a:moveTo>
                  <a:pt x="3290196" y="3304913"/>
                </a:moveTo>
                <a:cubicBezTo>
                  <a:pt x="3343472" y="3573691"/>
                  <a:pt x="3558315" y="3786801"/>
                  <a:pt x="3833505" y="3845480"/>
                </a:cubicBezTo>
                <a:cubicBezTo>
                  <a:pt x="3780230" y="3576701"/>
                  <a:pt x="3565386" y="3363591"/>
                  <a:pt x="3290196" y="3304913"/>
                </a:cubicBezTo>
                <a:close/>
                <a:moveTo>
                  <a:pt x="2991910" y="3304913"/>
                </a:moveTo>
                <a:cubicBezTo>
                  <a:pt x="2716720" y="3363591"/>
                  <a:pt x="2501876" y="3576701"/>
                  <a:pt x="2448601" y="3845480"/>
                </a:cubicBezTo>
                <a:cubicBezTo>
                  <a:pt x="2723791" y="3786801"/>
                  <a:pt x="2938634" y="3573691"/>
                  <a:pt x="2991910" y="3304913"/>
                </a:cubicBezTo>
                <a:close/>
                <a:moveTo>
                  <a:pt x="1598045" y="3304913"/>
                </a:moveTo>
                <a:cubicBezTo>
                  <a:pt x="1651321" y="3573691"/>
                  <a:pt x="1866164" y="3786801"/>
                  <a:pt x="2141354" y="3845480"/>
                </a:cubicBezTo>
                <a:cubicBezTo>
                  <a:pt x="2088079" y="3576701"/>
                  <a:pt x="1873235" y="3363591"/>
                  <a:pt x="1598045" y="3304913"/>
                </a:cubicBezTo>
                <a:close/>
                <a:moveTo>
                  <a:pt x="1299759" y="3304913"/>
                </a:moveTo>
                <a:cubicBezTo>
                  <a:pt x="1024569" y="3363591"/>
                  <a:pt x="809725" y="3576701"/>
                  <a:pt x="756450" y="3845480"/>
                </a:cubicBezTo>
                <a:cubicBezTo>
                  <a:pt x="1031640" y="3786801"/>
                  <a:pt x="1246483" y="3573691"/>
                  <a:pt x="1299759" y="3304913"/>
                </a:cubicBezTo>
                <a:close/>
                <a:moveTo>
                  <a:pt x="0" y="3200906"/>
                </a:moveTo>
                <a:cubicBezTo>
                  <a:pt x="306658" y="3291386"/>
                  <a:pt x="537576" y="3547942"/>
                  <a:pt x="582690" y="3862087"/>
                </a:cubicBezTo>
                <a:cubicBezTo>
                  <a:pt x="582857" y="3862140"/>
                  <a:pt x="583026" y="3862145"/>
                  <a:pt x="583195" y="3862150"/>
                </a:cubicBezTo>
                <a:lnTo>
                  <a:pt x="583735" y="3868787"/>
                </a:lnTo>
                <a:cubicBezTo>
                  <a:pt x="588792" y="3898794"/>
                  <a:pt x="591242" y="3929436"/>
                  <a:pt x="591199" y="3960518"/>
                </a:cubicBezTo>
                <a:cubicBezTo>
                  <a:pt x="592511" y="3966104"/>
                  <a:pt x="592570" y="3971728"/>
                  <a:pt x="592570" y="3977366"/>
                </a:cubicBezTo>
                <a:cubicBezTo>
                  <a:pt x="592570" y="3981158"/>
                  <a:pt x="592543" y="3984944"/>
                  <a:pt x="591977" y="3988716"/>
                </a:cubicBezTo>
                <a:lnTo>
                  <a:pt x="591478" y="3988683"/>
                </a:lnTo>
                <a:lnTo>
                  <a:pt x="591452" y="3989174"/>
                </a:lnTo>
                <a:lnTo>
                  <a:pt x="574334" y="3987561"/>
                </a:lnTo>
                <a:cubicBezTo>
                  <a:pt x="541959" y="3987038"/>
                  <a:pt x="510079" y="3984080"/>
                  <a:pt x="478907" y="3978570"/>
                </a:cubicBezTo>
                <a:cubicBezTo>
                  <a:pt x="473330" y="3978986"/>
                  <a:pt x="468001" y="3978045"/>
                  <a:pt x="462690" y="3977042"/>
                </a:cubicBezTo>
                <a:lnTo>
                  <a:pt x="462574" y="3975903"/>
                </a:lnTo>
                <a:cubicBezTo>
                  <a:pt x="282200" y="3946281"/>
                  <a:pt x="121485" y="3861168"/>
                  <a:pt x="0" y="3739225"/>
                </a:cubicBezTo>
                <a:lnTo>
                  <a:pt x="0" y="3534056"/>
                </a:lnTo>
                <a:cubicBezTo>
                  <a:pt x="97584" y="3690562"/>
                  <a:pt x="258975" y="3804918"/>
                  <a:pt x="449203" y="3845480"/>
                </a:cubicBezTo>
                <a:cubicBezTo>
                  <a:pt x="402182" y="3608252"/>
                  <a:pt x="229297" y="3414390"/>
                  <a:pt x="0" y="3332205"/>
                </a:cubicBezTo>
                <a:close/>
                <a:moveTo>
                  <a:pt x="11608704" y="3161219"/>
                </a:moveTo>
                <a:lnTo>
                  <a:pt x="11625791" y="3162829"/>
                </a:lnTo>
                <a:cubicBezTo>
                  <a:pt x="11658177" y="3163352"/>
                  <a:pt x="11690070" y="3166310"/>
                  <a:pt x="11721253" y="3171823"/>
                </a:cubicBezTo>
                <a:cubicBezTo>
                  <a:pt x="11726829" y="3171407"/>
                  <a:pt x="11732157" y="3172348"/>
                  <a:pt x="11737466" y="3173350"/>
                </a:cubicBezTo>
                <a:lnTo>
                  <a:pt x="11737583" y="3174489"/>
                </a:lnTo>
                <a:cubicBezTo>
                  <a:pt x="11914088" y="3203476"/>
                  <a:pt x="12071767" y="3285599"/>
                  <a:pt x="12192000" y="3403667"/>
                </a:cubicBezTo>
                <a:lnTo>
                  <a:pt x="12192000" y="3603658"/>
                </a:lnTo>
                <a:cubicBezTo>
                  <a:pt x="12093732" y="3453636"/>
                  <a:pt x="11935983" y="3344367"/>
                  <a:pt x="11750953" y="3304913"/>
                </a:cubicBezTo>
                <a:cubicBezTo>
                  <a:pt x="11797422" y="3539349"/>
                  <a:pt x="11966808" y="3731433"/>
                  <a:pt x="12192000" y="3815480"/>
                </a:cubicBezTo>
                <a:lnTo>
                  <a:pt x="12192000" y="3947482"/>
                </a:lnTo>
                <a:cubicBezTo>
                  <a:pt x="11889465" y="3854506"/>
                  <a:pt x="11662185" y="3599697"/>
                  <a:pt x="11617468" y="3288305"/>
                </a:cubicBezTo>
                <a:cubicBezTo>
                  <a:pt x="11617300" y="3288253"/>
                  <a:pt x="11617132" y="3288248"/>
                  <a:pt x="11616962" y="3288243"/>
                </a:cubicBezTo>
                <a:lnTo>
                  <a:pt x="11616424" y="3281619"/>
                </a:lnTo>
                <a:cubicBezTo>
                  <a:pt x="11611365" y="3251607"/>
                  <a:pt x="11608914" y="3220958"/>
                  <a:pt x="11608957" y="3189869"/>
                </a:cubicBezTo>
                <a:cubicBezTo>
                  <a:pt x="11607645" y="3184286"/>
                  <a:pt x="11607586" y="3178663"/>
                  <a:pt x="11607586" y="3173027"/>
                </a:cubicBezTo>
                <a:lnTo>
                  <a:pt x="11608180" y="3161677"/>
                </a:lnTo>
                <a:lnTo>
                  <a:pt x="11608678" y="3161709"/>
                </a:lnTo>
                <a:close/>
                <a:moveTo>
                  <a:pt x="11594916" y="3161219"/>
                </a:moveTo>
                <a:lnTo>
                  <a:pt x="11594942" y="3161709"/>
                </a:lnTo>
                <a:lnTo>
                  <a:pt x="11595440" y="3161677"/>
                </a:lnTo>
                <a:lnTo>
                  <a:pt x="11596034" y="3173027"/>
                </a:lnTo>
                <a:cubicBezTo>
                  <a:pt x="11596034" y="3178663"/>
                  <a:pt x="11595975" y="3184286"/>
                  <a:pt x="11594663" y="3189869"/>
                </a:cubicBezTo>
                <a:cubicBezTo>
                  <a:pt x="11594706" y="3220958"/>
                  <a:pt x="11592255" y="3251607"/>
                  <a:pt x="11587196" y="3281619"/>
                </a:cubicBezTo>
                <a:lnTo>
                  <a:pt x="11586658" y="3288243"/>
                </a:lnTo>
                <a:cubicBezTo>
                  <a:pt x="11586488" y="3288248"/>
                  <a:pt x="11586320" y="3288253"/>
                  <a:pt x="11586152" y="3288305"/>
                </a:cubicBezTo>
                <a:cubicBezTo>
                  <a:pt x="11535877" y="3638399"/>
                  <a:pt x="11254838" y="3916971"/>
                  <a:pt x="10895987" y="3975903"/>
                </a:cubicBezTo>
                <a:lnTo>
                  <a:pt x="10895871" y="3977042"/>
                </a:lnTo>
                <a:cubicBezTo>
                  <a:pt x="10890560" y="3978045"/>
                  <a:pt x="10885231" y="3978986"/>
                  <a:pt x="10879654" y="3978570"/>
                </a:cubicBezTo>
                <a:cubicBezTo>
                  <a:pt x="10848482" y="3984080"/>
                  <a:pt x="10816602" y="3987038"/>
                  <a:pt x="10784227" y="3987561"/>
                </a:cubicBezTo>
                <a:lnTo>
                  <a:pt x="10767109" y="3989174"/>
                </a:lnTo>
                <a:lnTo>
                  <a:pt x="10767083" y="3988683"/>
                </a:lnTo>
                <a:lnTo>
                  <a:pt x="10766584" y="3988716"/>
                </a:lnTo>
                <a:cubicBezTo>
                  <a:pt x="10766018" y="3984944"/>
                  <a:pt x="10765991" y="3981158"/>
                  <a:pt x="10765991" y="3977366"/>
                </a:cubicBezTo>
                <a:cubicBezTo>
                  <a:pt x="10765991" y="3971728"/>
                  <a:pt x="10766050" y="3966104"/>
                  <a:pt x="10767362" y="3960518"/>
                </a:cubicBezTo>
                <a:cubicBezTo>
                  <a:pt x="10767319" y="3929436"/>
                  <a:pt x="10769769" y="3898794"/>
                  <a:pt x="10774826" y="3868787"/>
                </a:cubicBezTo>
                <a:lnTo>
                  <a:pt x="10775366" y="3862150"/>
                </a:lnTo>
                <a:cubicBezTo>
                  <a:pt x="10775535" y="3862145"/>
                  <a:pt x="10775704" y="3862140"/>
                  <a:pt x="10775872" y="3862087"/>
                </a:cubicBezTo>
                <a:cubicBezTo>
                  <a:pt x="10826148" y="3511992"/>
                  <a:pt x="11107187" y="3233421"/>
                  <a:pt x="11466037" y="3174489"/>
                </a:cubicBezTo>
                <a:lnTo>
                  <a:pt x="11466154" y="3173350"/>
                </a:lnTo>
                <a:cubicBezTo>
                  <a:pt x="11471463" y="3172348"/>
                  <a:pt x="11476791" y="3171407"/>
                  <a:pt x="11482367" y="3171823"/>
                </a:cubicBezTo>
                <a:cubicBezTo>
                  <a:pt x="11513550" y="3166310"/>
                  <a:pt x="11545443" y="3163352"/>
                  <a:pt x="11577829" y="3162829"/>
                </a:cubicBezTo>
                <a:close/>
                <a:moveTo>
                  <a:pt x="9916551" y="3161219"/>
                </a:moveTo>
                <a:lnTo>
                  <a:pt x="9933638" y="3162829"/>
                </a:lnTo>
                <a:cubicBezTo>
                  <a:pt x="9966024" y="3163352"/>
                  <a:pt x="9997917" y="3166310"/>
                  <a:pt x="10029100" y="3171823"/>
                </a:cubicBezTo>
                <a:cubicBezTo>
                  <a:pt x="10034676" y="3171407"/>
                  <a:pt x="10040004" y="3172348"/>
                  <a:pt x="10045313" y="3173350"/>
                </a:cubicBezTo>
                <a:lnTo>
                  <a:pt x="10045430" y="3174489"/>
                </a:lnTo>
                <a:cubicBezTo>
                  <a:pt x="10404280" y="3233421"/>
                  <a:pt x="10685319" y="3511992"/>
                  <a:pt x="10735596" y="3862087"/>
                </a:cubicBezTo>
                <a:cubicBezTo>
                  <a:pt x="10735763" y="3862140"/>
                  <a:pt x="10735932" y="3862145"/>
                  <a:pt x="10736101" y="3862150"/>
                </a:cubicBezTo>
                <a:lnTo>
                  <a:pt x="10736641" y="3868787"/>
                </a:lnTo>
                <a:cubicBezTo>
                  <a:pt x="10741698" y="3898794"/>
                  <a:pt x="10744148" y="3929436"/>
                  <a:pt x="10744105" y="3960518"/>
                </a:cubicBezTo>
                <a:cubicBezTo>
                  <a:pt x="10745417" y="3966104"/>
                  <a:pt x="10745476" y="3971728"/>
                  <a:pt x="10745476" y="3977366"/>
                </a:cubicBezTo>
                <a:cubicBezTo>
                  <a:pt x="10745476" y="3981158"/>
                  <a:pt x="10745449" y="3984944"/>
                  <a:pt x="10744883" y="3988716"/>
                </a:cubicBezTo>
                <a:lnTo>
                  <a:pt x="10744384" y="3988683"/>
                </a:lnTo>
                <a:lnTo>
                  <a:pt x="10744358" y="3989174"/>
                </a:lnTo>
                <a:lnTo>
                  <a:pt x="10727240" y="3987561"/>
                </a:lnTo>
                <a:cubicBezTo>
                  <a:pt x="10694865" y="3987038"/>
                  <a:pt x="10662985" y="3984080"/>
                  <a:pt x="10631813" y="3978570"/>
                </a:cubicBezTo>
                <a:cubicBezTo>
                  <a:pt x="10626236" y="3978986"/>
                  <a:pt x="10620907" y="3978045"/>
                  <a:pt x="10615596" y="3977042"/>
                </a:cubicBezTo>
                <a:lnTo>
                  <a:pt x="10615480" y="3975903"/>
                </a:lnTo>
                <a:cubicBezTo>
                  <a:pt x="10256629" y="3916971"/>
                  <a:pt x="9975590" y="3638399"/>
                  <a:pt x="9925315" y="3288305"/>
                </a:cubicBezTo>
                <a:cubicBezTo>
                  <a:pt x="9925147" y="3288253"/>
                  <a:pt x="9924979" y="3288248"/>
                  <a:pt x="9924809" y="3288243"/>
                </a:cubicBezTo>
                <a:lnTo>
                  <a:pt x="9924271" y="3281619"/>
                </a:lnTo>
                <a:cubicBezTo>
                  <a:pt x="9919212" y="3251607"/>
                  <a:pt x="9916761" y="3220958"/>
                  <a:pt x="9916804" y="3189869"/>
                </a:cubicBezTo>
                <a:cubicBezTo>
                  <a:pt x="9915492" y="3184286"/>
                  <a:pt x="9915433" y="3178663"/>
                  <a:pt x="9915433" y="3173027"/>
                </a:cubicBezTo>
                <a:lnTo>
                  <a:pt x="9916027" y="3161677"/>
                </a:lnTo>
                <a:lnTo>
                  <a:pt x="9916525" y="3161709"/>
                </a:lnTo>
                <a:close/>
                <a:moveTo>
                  <a:pt x="9902763" y="3161219"/>
                </a:moveTo>
                <a:lnTo>
                  <a:pt x="9902789" y="3161709"/>
                </a:lnTo>
                <a:lnTo>
                  <a:pt x="9903287" y="3161677"/>
                </a:lnTo>
                <a:lnTo>
                  <a:pt x="9903881" y="3173027"/>
                </a:lnTo>
                <a:cubicBezTo>
                  <a:pt x="9903881" y="3178663"/>
                  <a:pt x="9903822" y="3184286"/>
                  <a:pt x="9902510" y="3189869"/>
                </a:cubicBezTo>
                <a:cubicBezTo>
                  <a:pt x="9902553" y="3220958"/>
                  <a:pt x="9900102" y="3251607"/>
                  <a:pt x="9895043" y="3281619"/>
                </a:cubicBezTo>
                <a:lnTo>
                  <a:pt x="9894505" y="3288243"/>
                </a:lnTo>
                <a:cubicBezTo>
                  <a:pt x="9894335" y="3288248"/>
                  <a:pt x="9894167" y="3288253"/>
                  <a:pt x="9893999" y="3288305"/>
                </a:cubicBezTo>
                <a:cubicBezTo>
                  <a:pt x="9843724" y="3638399"/>
                  <a:pt x="9562685" y="3916971"/>
                  <a:pt x="9203834" y="3975903"/>
                </a:cubicBezTo>
                <a:lnTo>
                  <a:pt x="9203718" y="3977042"/>
                </a:lnTo>
                <a:cubicBezTo>
                  <a:pt x="9198407" y="3978045"/>
                  <a:pt x="9193078" y="3978986"/>
                  <a:pt x="9187501" y="3978570"/>
                </a:cubicBezTo>
                <a:cubicBezTo>
                  <a:pt x="9156329" y="3984080"/>
                  <a:pt x="9124449" y="3987038"/>
                  <a:pt x="9092074" y="3987561"/>
                </a:cubicBezTo>
                <a:lnTo>
                  <a:pt x="9074956" y="3989174"/>
                </a:lnTo>
                <a:lnTo>
                  <a:pt x="9074930" y="3988683"/>
                </a:lnTo>
                <a:lnTo>
                  <a:pt x="9074431" y="3988716"/>
                </a:lnTo>
                <a:cubicBezTo>
                  <a:pt x="9073865" y="3984944"/>
                  <a:pt x="9073838" y="3981158"/>
                  <a:pt x="9073838" y="3977366"/>
                </a:cubicBezTo>
                <a:cubicBezTo>
                  <a:pt x="9073838" y="3971728"/>
                  <a:pt x="9073897" y="3966104"/>
                  <a:pt x="9075209" y="3960518"/>
                </a:cubicBezTo>
                <a:cubicBezTo>
                  <a:pt x="9075166" y="3929436"/>
                  <a:pt x="9077616" y="3898794"/>
                  <a:pt x="9082673" y="3868787"/>
                </a:cubicBezTo>
                <a:lnTo>
                  <a:pt x="9083213" y="3862150"/>
                </a:lnTo>
                <a:cubicBezTo>
                  <a:pt x="9083382" y="3862145"/>
                  <a:pt x="9083551" y="3862140"/>
                  <a:pt x="9083718" y="3862087"/>
                </a:cubicBezTo>
                <a:cubicBezTo>
                  <a:pt x="9133995" y="3511992"/>
                  <a:pt x="9415034" y="3233421"/>
                  <a:pt x="9773884" y="3174489"/>
                </a:cubicBezTo>
                <a:lnTo>
                  <a:pt x="9774001" y="3173350"/>
                </a:lnTo>
                <a:cubicBezTo>
                  <a:pt x="9779310" y="3172348"/>
                  <a:pt x="9784638" y="3171407"/>
                  <a:pt x="9790214" y="3171823"/>
                </a:cubicBezTo>
                <a:cubicBezTo>
                  <a:pt x="9821397" y="3166310"/>
                  <a:pt x="9853290" y="3163352"/>
                  <a:pt x="9885676" y="3162829"/>
                </a:cubicBezTo>
                <a:close/>
                <a:moveTo>
                  <a:pt x="8224400" y="3161219"/>
                </a:moveTo>
                <a:lnTo>
                  <a:pt x="8241488" y="3162829"/>
                </a:lnTo>
                <a:cubicBezTo>
                  <a:pt x="8273873" y="3163352"/>
                  <a:pt x="8305766" y="3166310"/>
                  <a:pt x="8336949" y="3171823"/>
                </a:cubicBezTo>
                <a:cubicBezTo>
                  <a:pt x="8342525" y="3171407"/>
                  <a:pt x="8347853" y="3172348"/>
                  <a:pt x="8353162" y="3173350"/>
                </a:cubicBezTo>
                <a:lnTo>
                  <a:pt x="8353279" y="3174489"/>
                </a:lnTo>
                <a:cubicBezTo>
                  <a:pt x="8712129" y="3233421"/>
                  <a:pt x="8993168" y="3511992"/>
                  <a:pt x="9043444" y="3862087"/>
                </a:cubicBezTo>
                <a:cubicBezTo>
                  <a:pt x="9043612" y="3862140"/>
                  <a:pt x="9043781" y="3862145"/>
                  <a:pt x="9043950" y="3862150"/>
                </a:cubicBezTo>
                <a:lnTo>
                  <a:pt x="9044490" y="3868787"/>
                </a:lnTo>
                <a:cubicBezTo>
                  <a:pt x="9049547" y="3898794"/>
                  <a:pt x="9051997" y="3929436"/>
                  <a:pt x="9051954" y="3960518"/>
                </a:cubicBezTo>
                <a:cubicBezTo>
                  <a:pt x="9053266" y="3966104"/>
                  <a:pt x="9053325" y="3971728"/>
                  <a:pt x="9053325" y="3977366"/>
                </a:cubicBezTo>
                <a:cubicBezTo>
                  <a:pt x="9053325" y="3981158"/>
                  <a:pt x="9053298" y="3984944"/>
                  <a:pt x="9052732" y="3988716"/>
                </a:cubicBezTo>
                <a:lnTo>
                  <a:pt x="9052233" y="3988683"/>
                </a:lnTo>
                <a:lnTo>
                  <a:pt x="9052207" y="3989174"/>
                </a:lnTo>
                <a:lnTo>
                  <a:pt x="9035089" y="3987561"/>
                </a:lnTo>
                <a:cubicBezTo>
                  <a:pt x="9002714" y="3987038"/>
                  <a:pt x="8970834" y="3984080"/>
                  <a:pt x="8939662" y="3978570"/>
                </a:cubicBezTo>
                <a:cubicBezTo>
                  <a:pt x="8934085" y="3978986"/>
                  <a:pt x="8928756" y="3978045"/>
                  <a:pt x="8923445" y="3977042"/>
                </a:cubicBezTo>
                <a:lnTo>
                  <a:pt x="8923329" y="3975903"/>
                </a:lnTo>
                <a:cubicBezTo>
                  <a:pt x="8564478" y="3916971"/>
                  <a:pt x="8283439" y="3638399"/>
                  <a:pt x="8233164" y="3288305"/>
                </a:cubicBezTo>
                <a:cubicBezTo>
                  <a:pt x="8232996" y="3288253"/>
                  <a:pt x="8232828" y="3288248"/>
                  <a:pt x="8232658" y="3288243"/>
                </a:cubicBezTo>
                <a:lnTo>
                  <a:pt x="8232120" y="3281619"/>
                </a:lnTo>
                <a:cubicBezTo>
                  <a:pt x="8227061" y="3251607"/>
                  <a:pt x="8224611" y="3220958"/>
                  <a:pt x="8224653" y="3189869"/>
                </a:cubicBezTo>
                <a:cubicBezTo>
                  <a:pt x="8223341" y="3184286"/>
                  <a:pt x="8223282" y="3178663"/>
                  <a:pt x="8223282" y="3173027"/>
                </a:cubicBezTo>
                <a:lnTo>
                  <a:pt x="8223876" y="3161677"/>
                </a:lnTo>
                <a:lnTo>
                  <a:pt x="8224374" y="3161709"/>
                </a:lnTo>
                <a:close/>
                <a:moveTo>
                  <a:pt x="8210612" y="3161219"/>
                </a:moveTo>
                <a:lnTo>
                  <a:pt x="8210638" y="3161709"/>
                </a:lnTo>
                <a:lnTo>
                  <a:pt x="8211136" y="3161677"/>
                </a:lnTo>
                <a:lnTo>
                  <a:pt x="8211730" y="3173027"/>
                </a:lnTo>
                <a:cubicBezTo>
                  <a:pt x="8211730" y="3178663"/>
                  <a:pt x="8211672" y="3184286"/>
                  <a:pt x="8210360" y="3189869"/>
                </a:cubicBezTo>
                <a:cubicBezTo>
                  <a:pt x="8210402" y="3220958"/>
                  <a:pt x="8207951" y="3251607"/>
                  <a:pt x="8202893" y="3281619"/>
                </a:cubicBezTo>
                <a:lnTo>
                  <a:pt x="8202354" y="3288243"/>
                </a:lnTo>
                <a:cubicBezTo>
                  <a:pt x="8202185" y="3288248"/>
                  <a:pt x="8202016" y="3288253"/>
                  <a:pt x="8201849" y="3288305"/>
                </a:cubicBezTo>
                <a:cubicBezTo>
                  <a:pt x="8151573" y="3638399"/>
                  <a:pt x="7870534" y="3916971"/>
                  <a:pt x="7511683" y="3975903"/>
                </a:cubicBezTo>
                <a:lnTo>
                  <a:pt x="7511567" y="3977042"/>
                </a:lnTo>
                <a:cubicBezTo>
                  <a:pt x="7506256" y="3978045"/>
                  <a:pt x="7500927" y="3978986"/>
                  <a:pt x="7495350" y="3978570"/>
                </a:cubicBezTo>
                <a:cubicBezTo>
                  <a:pt x="7464178" y="3984080"/>
                  <a:pt x="7432298" y="3987038"/>
                  <a:pt x="7399924" y="3987561"/>
                </a:cubicBezTo>
                <a:lnTo>
                  <a:pt x="7382805" y="3989174"/>
                </a:lnTo>
                <a:lnTo>
                  <a:pt x="7382779" y="3988683"/>
                </a:lnTo>
                <a:lnTo>
                  <a:pt x="7382280" y="3988716"/>
                </a:lnTo>
                <a:cubicBezTo>
                  <a:pt x="7381714" y="3984944"/>
                  <a:pt x="7381687" y="3981158"/>
                  <a:pt x="7381687" y="3977366"/>
                </a:cubicBezTo>
                <a:cubicBezTo>
                  <a:pt x="7381687" y="3971728"/>
                  <a:pt x="7381746" y="3966104"/>
                  <a:pt x="7383058" y="3960518"/>
                </a:cubicBezTo>
                <a:cubicBezTo>
                  <a:pt x="7383016" y="3929436"/>
                  <a:pt x="7385465" y="3898794"/>
                  <a:pt x="7390522" y="3868787"/>
                </a:cubicBezTo>
                <a:lnTo>
                  <a:pt x="7391062" y="3862150"/>
                </a:lnTo>
                <a:cubicBezTo>
                  <a:pt x="7391231" y="3862145"/>
                  <a:pt x="7391400" y="3862140"/>
                  <a:pt x="7391568" y="3862087"/>
                </a:cubicBezTo>
                <a:cubicBezTo>
                  <a:pt x="7441844" y="3511992"/>
                  <a:pt x="7722883" y="3233421"/>
                  <a:pt x="8081734" y="3174489"/>
                </a:cubicBezTo>
                <a:lnTo>
                  <a:pt x="8081851" y="3173350"/>
                </a:lnTo>
                <a:cubicBezTo>
                  <a:pt x="8087159" y="3172348"/>
                  <a:pt x="8092487" y="3171407"/>
                  <a:pt x="8098063" y="3171823"/>
                </a:cubicBezTo>
                <a:cubicBezTo>
                  <a:pt x="8129247" y="3166310"/>
                  <a:pt x="8161139" y="3163352"/>
                  <a:pt x="8193525" y="3162829"/>
                </a:cubicBezTo>
                <a:close/>
                <a:moveTo>
                  <a:pt x="6532249" y="3161219"/>
                </a:moveTo>
                <a:lnTo>
                  <a:pt x="6549337" y="3162829"/>
                </a:lnTo>
                <a:cubicBezTo>
                  <a:pt x="6581722" y="3163352"/>
                  <a:pt x="6613615" y="3166310"/>
                  <a:pt x="6644798" y="3171823"/>
                </a:cubicBezTo>
                <a:cubicBezTo>
                  <a:pt x="6650374" y="3171407"/>
                  <a:pt x="6655702" y="3172348"/>
                  <a:pt x="6661011" y="3173350"/>
                </a:cubicBezTo>
                <a:lnTo>
                  <a:pt x="6661128" y="3174489"/>
                </a:lnTo>
                <a:cubicBezTo>
                  <a:pt x="7019978" y="3233421"/>
                  <a:pt x="7301017" y="3511992"/>
                  <a:pt x="7351294" y="3862087"/>
                </a:cubicBezTo>
                <a:cubicBezTo>
                  <a:pt x="7351461" y="3862140"/>
                  <a:pt x="7351631" y="3862145"/>
                  <a:pt x="7351799" y="3862150"/>
                </a:cubicBezTo>
                <a:lnTo>
                  <a:pt x="7352340" y="3868787"/>
                </a:lnTo>
                <a:cubicBezTo>
                  <a:pt x="7357396" y="3898794"/>
                  <a:pt x="7359846" y="3929436"/>
                  <a:pt x="7359804" y="3960518"/>
                </a:cubicBezTo>
                <a:cubicBezTo>
                  <a:pt x="7361116" y="3966104"/>
                  <a:pt x="7361174" y="3971728"/>
                  <a:pt x="7361174" y="3977366"/>
                </a:cubicBezTo>
                <a:cubicBezTo>
                  <a:pt x="7361174" y="3981158"/>
                  <a:pt x="7361147" y="3984944"/>
                  <a:pt x="7360581" y="3988716"/>
                </a:cubicBezTo>
                <a:lnTo>
                  <a:pt x="7360082" y="3988683"/>
                </a:lnTo>
                <a:lnTo>
                  <a:pt x="7360056" y="3989174"/>
                </a:lnTo>
                <a:lnTo>
                  <a:pt x="7342938" y="3987561"/>
                </a:lnTo>
                <a:cubicBezTo>
                  <a:pt x="7310564" y="3987038"/>
                  <a:pt x="7278683" y="3984080"/>
                  <a:pt x="7247511" y="3978570"/>
                </a:cubicBezTo>
                <a:cubicBezTo>
                  <a:pt x="7241934" y="3978986"/>
                  <a:pt x="7236605" y="3978045"/>
                  <a:pt x="7231295" y="3977042"/>
                </a:cubicBezTo>
                <a:lnTo>
                  <a:pt x="7231179" y="3975903"/>
                </a:lnTo>
                <a:cubicBezTo>
                  <a:pt x="6872327" y="3916971"/>
                  <a:pt x="6591288" y="3638399"/>
                  <a:pt x="6541013" y="3288305"/>
                </a:cubicBezTo>
                <a:cubicBezTo>
                  <a:pt x="6540845" y="3288253"/>
                  <a:pt x="6540677" y="3288248"/>
                  <a:pt x="6540507" y="3288243"/>
                </a:cubicBezTo>
                <a:lnTo>
                  <a:pt x="6539969" y="3281619"/>
                </a:lnTo>
                <a:cubicBezTo>
                  <a:pt x="6534910" y="3251607"/>
                  <a:pt x="6532460" y="3220958"/>
                  <a:pt x="6532502" y="3189869"/>
                </a:cubicBezTo>
                <a:cubicBezTo>
                  <a:pt x="6531190" y="3184286"/>
                  <a:pt x="6531131" y="3178663"/>
                  <a:pt x="6531131" y="3173027"/>
                </a:cubicBezTo>
                <a:lnTo>
                  <a:pt x="6531725" y="3161677"/>
                </a:lnTo>
                <a:lnTo>
                  <a:pt x="6532223" y="3161709"/>
                </a:lnTo>
                <a:close/>
                <a:moveTo>
                  <a:pt x="6518461" y="3161219"/>
                </a:moveTo>
                <a:lnTo>
                  <a:pt x="6518487" y="3161709"/>
                </a:lnTo>
                <a:lnTo>
                  <a:pt x="6518985" y="3161677"/>
                </a:lnTo>
                <a:lnTo>
                  <a:pt x="6519579" y="3173027"/>
                </a:lnTo>
                <a:cubicBezTo>
                  <a:pt x="6519579" y="3178663"/>
                  <a:pt x="6519520" y="3184286"/>
                  <a:pt x="6518208" y="3189869"/>
                </a:cubicBezTo>
                <a:cubicBezTo>
                  <a:pt x="6518250" y="3220958"/>
                  <a:pt x="6515800" y="3251607"/>
                  <a:pt x="6510741" y="3281619"/>
                </a:cubicBezTo>
                <a:lnTo>
                  <a:pt x="6510203" y="3288243"/>
                </a:lnTo>
                <a:cubicBezTo>
                  <a:pt x="6510033" y="3288248"/>
                  <a:pt x="6509865" y="3288253"/>
                  <a:pt x="6509697" y="3288305"/>
                </a:cubicBezTo>
                <a:cubicBezTo>
                  <a:pt x="6459422" y="3638399"/>
                  <a:pt x="6178383" y="3916971"/>
                  <a:pt x="5819531" y="3975903"/>
                </a:cubicBezTo>
                <a:lnTo>
                  <a:pt x="5819415" y="3977042"/>
                </a:lnTo>
                <a:cubicBezTo>
                  <a:pt x="5814105" y="3978045"/>
                  <a:pt x="5808776" y="3978986"/>
                  <a:pt x="5803199" y="3978570"/>
                </a:cubicBezTo>
                <a:cubicBezTo>
                  <a:pt x="5772027" y="3984080"/>
                  <a:pt x="5740146" y="3987038"/>
                  <a:pt x="5707772" y="3987561"/>
                </a:cubicBezTo>
                <a:lnTo>
                  <a:pt x="5690654" y="3989174"/>
                </a:lnTo>
                <a:lnTo>
                  <a:pt x="5690628" y="3988683"/>
                </a:lnTo>
                <a:lnTo>
                  <a:pt x="5690129" y="3988716"/>
                </a:lnTo>
                <a:cubicBezTo>
                  <a:pt x="5689563" y="3984944"/>
                  <a:pt x="5689536" y="3981158"/>
                  <a:pt x="5689536" y="3977366"/>
                </a:cubicBezTo>
                <a:cubicBezTo>
                  <a:pt x="5689536" y="3971728"/>
                  <a:pt x="5689594" y="3966104"/>
                  <a:pt x="5690906" y="3960518"/>
                </a:cubicBezTo>
                <a:cubicBezTo>
                  <a:pt x="5690864" y="3929436"/>
                  <a:pt x="5693314" y="3898794"/>
                  <a:pt x="5698370" y="3868787"/>
                </a:cubicBezTo>
                <a:lnTo>
                  <a:pt x="5698911" y="3862150"/>
                </a:lnTo>
                <a:cubicBezTo>
                  <a:pt x="5699079" y="3862145"/>
                  <a:pt x="5699249" y="3862140"/>
                  <a:pt x="5699416" y="3862087"/>
                </a:cubicBezTo>
                <a:cubicBezTo>
                  <a:pt x="5749693" y="3511992"/>
                  <a:pt x="6030732" y="3233421"/>
                  <a:pt x="6389582" y="3174489"/>
                </a:cubicBezTo>
                <a:lnTo>
                  <a:pt x="6389699" y="3173350"/>
                </a:lnTo>
                <a:cubicBezTo>
                  <a:pt x="6395008" y="3172348"/>
                  <a:pt x="6400336" y="3171407"/>
                  <a:pt x="6405912" y="3171823"/>
                </a:cubicBezTo>
                <a:cubicBezTo>
                  <a:pt x="6437095" y="3166310"/>
                  <a:pt x="6468988" y="3163352"/>
                  <a:pt x="6501373" y="3162829"/>
                </a:cubicBezTo>
                <a:close/>
                <a:moveTo>
                  <a:pt x="4840098" y="3161219"/>
                </a:moveTo>
                <a:lnTo>
                  <a:pt x="4857185" y="3162829"/>
                </a:lnTo>
                <a:cubicBezTo>
                  <a:pt x="4889571" y="3163352"/>
                  <a:pt x="4921463" y="3166310"/>
                  <a:pt x="4952647" y="3171823"/>
                </a:cubicBezTo>
                <a:cubicBezTo>
                  <a:pt x="4958223" y="3171407"/>
                  <a:pt x="4963551" y="3172348"/>
                  <a:pt x="4968859" y="3173350"/>
                </a:cubicBezTo>
                <a:lnTo>
                  <a:pt x="4968976" y="3174489"/>
                </a:lnTo>
                <a:cubicBezTo>
                  <a:pt x="5327827" y="3233421"/>
                  <a:pt x="5608866" y="3511992"/>
                  <a:pt x="5659142" y="3862087"/>
                </a:cubicBezTo>
                <a:cubicBezTo>
                  <a:pt x="5659310" y="3862140"/>
                  <a:pt x="5659479" y="3862145"/>
                  <a:pt x="5659648" y="3862150"/>
                </a:cubicBezTo>
                <a:lnTo>
                  <a:pt x="5660188" y="3868787"/>
                </a:lnTo>
                <a:cubicBezTo>
                  <a:pt x="5665245" y="3898794"/>
                  <a:pt x="5667694" y="3929436"/>
                  <a:pt x="5667652" y="3960518"/>
                </a:cubicBezTo>
                <a:cubicBezTo>
                  <a:pt x="5668964" y="3966104"/>
                  <a:pt x="5669023" y="3971728"/>
                  <a:pt x="5669023" y="3977366"/>
                </a:cubicBezTo>
                <a:cubicBezTo>
                  <a:pt x="5669023" y="3981158"/>
                  <a:pt x="5668996" y="3984944"/>
                  <a:pt x="5668430" y="3988716"/>
                </a:cubicBezTo>
                <a:lnTo>
                  <a:pt x="5667931" y="3988683"/>
                </a:lnTo>
                <a:lnTo>
                  <a:pt x="5667905" y="3989174"/>
                </a:lnTo>
                <a:lnTo>
                  <a:pt x="5650786" y="3987561"/>
                </a:lnTo>
                <a:cubicBezTo>
                  <a:pt x="5618412" y="3987038"/>
                  <a:pt x="5586532" y="3984080"/>
                  <a:pt x="5555360" y="3978570"/>
                </a:cubicBezTo>
                <a:cubicBezTo>
                  <a:pt x="5549783" y="3978986"/>
                  <a:pt x="5544454" y="3978045"/>
                  <a:pt x="5539143" y="3977042"/>
                </a:cubicBezTo>
                <a:lnTo>
                  <a:pt x="5539027" y="3975903"/>
                </a:lnTo>
                <a:cubicBezTo>
                  <a:pt x="5180176" y="3916971"/>
                  <a:pt x="4899137" y="3638399"/>
                  <a:pt x="4848861" y="3288305"/>
                </a:cubicBezTo>
                <a:cubicBezTo>
                  <a:pt x="4848694" y="3288253"/>
                  <a:pt x="4848525" y="3288248"/>
                  <a:pt x="4848356" y="3288243"/>
                </a:cubicBezTo>
                <a:lnTo>
                  <a:pt x="4847817" y="3281619"/>
                </a:lnTo>
                <a:cubicBezTo>
                  <a:pt x="4842759" y="3251607"/>
                  <a:pt x="4840308" y="3220958"/>
                  <a:pt x="4840350" y="3189869"/>
                </a:cubicBezTo>
                <a:cubicBezTo>
                  <a:pt x="4839038" y="3184286"/>
                  <a:pt x="4838980" y="3178663"/>
                  <a:pt x="4838980" y="3173027"/>
                </a:cubicBezTo>
                <a:lnTo>
                  <a:pt x="4839574" y="3161677"/>
                </a:lnTo>
                <a:lnTo>
                  <a:pt x="4840072" y="3161709"/>
                </a:lnTo>
                <a:close/>
                <a:moveTo>
                  <a:pt x="4826310" y="3161219"/>
                </a:moveTo>
                <a:lnTo>
                  <a:pt x="4826336" y="3161709"/>
                </a:lnTo>
                <a:lnTo>
                  <a:pt x="4826834" y="3161677"/>
                </a:lnTo>
                <a:lnTo>
                  <a:pt x="4827428" y="3173027"/>
                </a:lnTo>
                <a:cubicBezTo>
                  <a:pt x="4827428" y="3178663"/>
                  <a:pt x="4827369" y="3184286"/>
                  <a:pt x="4826057" y="3189869"/>
                </a:cubicBezTo>
                <a:cubicBezTo>
                  <a:pt x="4826099" y="3220958"/>
                  <a:pt x="4823649" y="3251607"/>
                  <a:pt x="4818590" y="3281619"/>
                </a:cubicBezTo>
                <a:lnTo>
                  <a:pt x="4818052" y="3288243"/>
                </a:lnTo>
                <a:cubicBezTo>
                  <a:pt x="4817882" y="3288248"/>
                  <a:pt x="4817714" y="3288253"/>
                  <a:pt x="4817546" y="3288305"/>
                </a:cubicBezTo>
                <a:cubicBezTo>
                  <a:pt x="4767271" y="3638399"/>
                  <a:pt x="4486232" y="3916971"/>
                  <a:pt x="4127381" y="3975903"/>
                </a:cubicBezTo>
                <a:lnTo>
                  <a:pt x="4127264" y="3977042"/>
                </a:lnTo>
                <a:cubicBezTo>
                  <a:pt x="4121954" y="3978045"/>
                  <a:pt x="4116625" y="3978986"/>
                  <a:pt x="4111048" y="3978570"/>
                </a:cubicBezTo>
                <a:cubicBezTo>
                  <a:pt x="4079876" y="3984080"/>
                  <a:pt x="4047996" y="3987038"/>
                  <a:pt x="4015621" y="3987561"/>
                </a:cubicBezTo>
                <a:lnTo>
                  <a:pt x="3998503" y="3989174"/>
                </a:lnTo>
                <a:lnTo>
                  <a:pt x="3998477" y="3988683"/>
                </a:lnTo>
                <a:lnTo>
                  <a:pt x="3997978" y="3988716"/>
                </a:lnTo>
                <a:cubicBezTo>
                  <a:pt x="3997412" y="3984944"/>
                  <a:pt x="3997385" y="3981158"/>
                  <a:pt x="3997385" y="3977366"/>
                </a:cubicBezTo>
                <a:cubicBezTo>
                  <a:pt x="3997385" y="3971728"/>
                  <a:pt x="3997443" y="3966104"/>
                  <a:pt x="3998755" y="3960518"/>
                </a:cubicBezTo>
                <a:cubicBezTo>
                  <a:pt x="3998713" y="3929436"/>
                  <a:pt x="4001163" y="3898794"/>
                  <a:pt x="4006219" y="3868787"/>
                </a:cubicBezTo>
                <a:lnTo>
                  <a:pt x="4006760" y="3862150"/>
                </a:lnTo>
                <a:cubicBezTo>
                  <a:pt x="4006928" y="3862145"/>
                  <a:pt x="4007098" y="3862140"/>
                  <a:pt x="4007265" y="3862087"/>
                </a:cubicBezTo>
                <a:cubicBezTo>
                  <a:pt x="4057542" y="3511992"/>
                  <a:pt x="4338581" y="3233421"/>
                  <a:pt x="4697431" y="3174489"/>
                </a:cubicBezTo>
                <a:lnTo>
                  <a:pt x="4697548" y="3173350"/>
                </a:lnTo>
                <a:cubicBezTo>
                  <a:pt x="4702857" y="3172348"/>
                  <a:pt x="4708185" y="3171407"/>
                  <a:pt x="4713761" y="3171823"/>
                </a:cubicBezTo>
                <a:cubicBezTo>
                  <a:pt x="4744944" y="3166310"/>
                  <a:pt x="4776837" y="3163352"/>
                  <a:pt x="4809222" y="3162829"/>
                </a:cubicBezTo>
                <a:close/>
                <a:moveTo>
                  <a:pt x="3147947" y="3161219"/>
                </a:moveTo>
                <a:lnTo>
                  <a:pt x="3165034" y="3162829"/>
                </a:lnTo>
                <a:cubicBezTo>
                  <a:pt x="3197420" y="3163352"/>
                  <a:pt x="3229312" y="3166310"/>
                  <a:pt x="3260496" y="3171823"/>
                </a:cubicBezTo>
                <a:cubicBezTo>
                  <a:pt x="3266072" y="3171407"/>
                  <a:pt x="3271400" y="3172348"/>
                  <a:pt x="3276708" y="3173350"/>
                </a:cubicBezTo>
                <a:lnTo>
                  <a:pt x="3276826" y="3174489"/>
                </a:lnTo>
                <a:cubicBezTo>
                  <a:pt x="3635676" y="3233421"/>
                  <a:pt x="3916715" y="3511992"/>
                  <a:pt x="3966991" y="3862087"/>
                </a:cubicBezTo>
                <a:cubicBezTo>
                  <a:pt x="3967159" y="3862140"/>
                  <a:pt x="3967328" y="3862145"/>
                  <a:pt x="3967497" y="3862150"/>
                </a:cubicBezTo>
                <a:lnTo>
                  <a:pt x="3968037" y="3868787"/>
                </a:lnTo>
                <a:cubicBezTo>
                  <a:pt x="3973094" y="3898794"/>
                  <a:pt x="3975543" y="3929436"/>
                  <a:pt x="3975501" y="3960518"/>
                </a:cubicBezTo>
                <a:cubicBezTo>
                  <a:pt x="3976813" y="3966104"/>
                  <a:pt x="3976872" y="3971728"/>
                  <a:pt x="3976872" y="3977366"/>
                </a:cubicBezTo>
                <a:cubicBezTo>
                  <a:pt x="3976872" y="3981158"/>
                  <a:pt x="3976845" y="3984944"/>
                  <a:pt x="3976279" y="3988716"/>
                </a:cubicBezTo>
                <a:lnTo>
                  <a:pt x="3975780" y="3988683"/>
                </a:lnTo>
                <a:lnTo>
                  <a:pt x="3975754" y="3989174"/>
                </a:lnTo>
                <a:lnTo>
                  <a:pt x="3958635" y="3987561"/>
                </a:lnTo>
                <a:cubicBezTo>
                  <a:pt x="3926261" y="3987038"/>
                  <a:pt x="3894381" y="3984080"/>
                  <a:pt x="3863209" y="3978570"/>
                </a:cubicBezTo>
                <a:cubicBezTo>
                  <a:pt x="3857632" y="3978986"/>
                  <a:pt x="3852303" y="3978045"/>
                  <a:pt x="3846992" y="3977042"/>
                </a:cubicBezTo>
                <a:lnTo>
                  <a:pt x="3846876" y="3975903"/>
                </a:lnTo>
                <a:cubicBezTo>
                  <a:pt x="3488025" y="3916971"/>
                  <a:pt x="3206986" y="3638399"/>
                  <a:pt x="3156710" y="3288305"/>
                </a:cubicBezTo>
                <a:cubicBezTo>
                  <a:pt x="3156543" y="3288253"/>
                  <a:pt x="3156374" y="3288248"/>
                  <a:pt x="3156205" y="3288243"/>
                </a:cubicBezTo>
                <a:lnTo>
                  <a:pt x="3155667" y="3281619"/>
                </a:lnTo>
                <a:cubicBezTo>
                  <a:pt x="3150608" y="3251607"/>
                  <a:pt x="3148157" y="3220958"/>
                  <a:pt x="3148199" y="3189869"/>
                </a:cubicBezTo>
                <a:cubicBezTo>
                  <a:pt x="3146887" y="3184286"/>
                  <a:pt x="3146829" y="3178663"/>
                  <a:pt x="3146829" y="3173027"/>
                </a:cubicBezTo>
                <a:lnTo>
                  <a:pt x="3147423" y="3161677"/>
                </a:lnTo>
                <a:lnTo>
                  <a:pt x="3147921" y="3161709"/>
                </a:lnTo>
                <a:close/>
                <a:moveTo>
                  <a:pt x="3134159" y="3161219"/>
                </a:moveTo>
                <a:lnTo>
                  <a:pt x="3134185" y="3161709"/>
                </a:lnTo>
                <a:lnTo>
                  <a:pt x="3134683" y="3161677"/>
                </a:lnTo>
                <a:lnTo>
                  <a:pt x="3135277" y="3173027"/>
                </a:lnTo>
                <a:cubicBezTo>
                  <a:pt x="3135277" y="3178663"/>
                  <a:pt x="3135218" y="3184286"/>
                  <a:pt x="3133906" y="3189869"/>
                </a:cubicBezTo>
                <a:cubicBezTo>
                  <a:pt x="3133948" y="3220958"/>
                  <a:pt x="3131498" y="3251607"/>
                  <a:pt x="3126439" y="3281619"/>
                </a:cubicBezTo>
                <a:lnTo>
                  <a:pt x="3125901" y="3288243"/>
                </a:lnTo>
                <a:cubicBezTo>
                  <a:pt x="3125731" y="3288248"/>
                  <a:pt x="3125563" y="3288253"/>
                  <a:pt x="3125395" y="3288305"/>
                </a:cubicBezTo>
                <a:cubicBezTo>
                  <a:pt x="3075120" y="3638399"/>
                  <a:pt x="2794081" y="3916971"/>
                  <a:pt x="2435230" y="3975903"/>
                </a:cubicBezTo>
                <a:lnTo>
                  <a:pt x="2435113" y="3977042"/>
                </a:lnTo>
                <a:cubicBezTo>
                  <a:pt x="2429803" y="3978045"/>
                  <a:pt x="2424474" y="3978986"/>
                  <a:pt x="2418897" y="3978570"/>
                </a:cubicBezTo>
                <a:cubicBezTo>
                  <a:pt x="2387725" y="3984080"/>
                  <a:pt x="2355845" y="3987038"/>
                  <a:pt x="2323470" y="3987561"/>
                </a:cubicBezTo>
                <a:lnTo>
                  <a:pt x="2306352" y="3989174"/>
                </a:lnTo>
                <a:lnTo>
                  <a:pt x="2306326" y="3988683"/>
                </a:lnTo>
                <a:lnTo>
                  <a:pt x="2305827" y="3988716"/>
                </a:lnTo>
                <a:cubicBezTo>
                  <a:pt x="2305261" y="3984944"/>
                  <a:pt x="2305234" y="3981158"/>
                  <a:pt x="2305234" y="3977366"/>
                </a:cubicBezTo>
                <a:cubicBezTo>
                  <a:pt x="2305234" y="3971728"/>
                  <a:pt x="2305292" y="3966104"/>
                  <a:pt x="2306604" y="3960518"/>
                </a:cubicBezTo>
                <a:cubicBezTo>
                  <a:pt x="2306562" y="3929436"/>
                  <a:pt x="2309012" y="3898794"/>
                  <a:pt x="2314068" y="3868787"/>
                </a:cubicBezTo>
                <a:lnTo>
                  <a:pt x="2314609" y="3862150"/>
                </a:lnTo>
                <a:cubicBezTo>
                  <a:pt x="2314777" y="3862145"/>
                  <a:pt x="2314947" y="3862140"/>
                  <a:pt x="2315114" y="3862087"/>
                </a:cubicBezTo>
                <a:cubicBezTo>
                  <a:pt x="2365391" y="3511992"/>
                  <a:pt x="2646430" y="3233421"/>
                  <a:pt x="3005280" y="3174489"/>
                </a:cubicBezTo>
                <a:lnTo>
                  <a:pt x="3005397" y="3173350"/>
                </a:lnTo>
                <a:cubicBezTo>
                  <a:pt x="3010706" y="3172348"/>
                  <a:pt x="3016034" y="3171407"/>
                  <a:pt x="3021610" y="3171823"/>
                </a:cubicBezTo>
                <a:cubicBezTo>
                  <a:pt x="3052793" y="3166310"/>
                  <a:pt x="3084686" y="3163352"/>
                  <a:pt x="3117071" y="3162829"/>
                </a:cubicBezTo>
                <a:close/>
                <a:moveTo>
                  <a:pt x="1455796" y="3161219"/>
                </a:moveTo>
                <a:lnTo>
                  <a:pt x="1472883" y="3162829"/>
                </a:lnTo>
                <a:cubicBezTo>
                  <a:pt x="1505269" y="3163352"/>
                  <a:pt x="1537161" y="3166310"/>
                  <a:pt x="1568345" y="3171823"/>
                </a:cubicBezTo>
                <a:cubicBezTo>
                  <a:pt x="1573921" y="3171407"/>
                  <a:pt x="1579249" y="3172348"/>
                  <a:pt x="1584557" y="3173350"/>
                </a:cubicBezTo>
                <a:lnTo>
                  <a:pt x="1584675" y="3174489"/>
                </a:lnTo>
                <a:cubicBezTo>
                  <a:pt x="1943525" y="3233421"/>
                  <a:pt x="2224564" y="3511992"/>
                  <a:pt x="2274840" y="3862087"/>
                </a:cubicBezTo>
                <a:cubicBezTo>
                  <a:pt x="2275008" y="3862140"/>
                  <a:pt x="2275177" y="3862145"/>
                  <a:pt x="2275346" y="3862150"/>
                </a:cubicBezTo>
                <a:lnTo>
                  <a:pt x="2275886" y="3868787"/>
                </a:lnTo>
                <a:cubicBezTo>
                  <a:pt x="2280943" y="3898794"/>
                  <a:pt x="2283392" y="3929436"/>
                  <a:pt x="2283350" y="3960518"/>
                </a:cubicBezTo>
                <a:cubicBezTo>
                  <a:pt x="2284662" y="3966104"/>
                  <a:pt x="2284721" y="3971728"/>
                  <a:pt x="2284721" y="3977366"/>
                </a:cubicBezTo>
                <a:cubicBezTo>
                  <a:pt x="2284721" y="3981158"/>
                  <a:pt x="2284694" y="3984944"/>
                  <a:pt x="2284128" y="3988716"/>
                </a:cubicBezTo>
                <a:lnTo>
                  <a:pt x="2283629" y="3988683"/>
                </a:lnTo>
                <a:lnTo>
                  <a:pt x="2283603" y="3989174"/>
                </a:lnTo>
                <a:lnTo>
                  <a:pt x="2266484" y="3987561"/>
                </a:lnTo>
                <a:cubicBezTo>
                  <a:pt x="2234110" y="3987038"/>
                  <a:pt x="2202230" y="3984080"/>
                  <a:pt x="2171058" y="3978570"/>
                </a:cubicBezTo>
                <a:cubicBezTo>
                  <a:pt x="2165481" y="3978986"/>
                  <a:pt x="2160152" y="3978045"/>
                  <a:pt x="2154841" y="3977042"/>
                </a:cubicBezTo>
                <a:lnTo>
                  <a:pt x="2154725" y="3975903"/>
                </a:lnTo>
                <a:cubicBezTo>
                  <a:pt x="1795874" y="3916971"/>
                  <a:pt x="1514835" y="3638399"/>
                  <a:pt x="1464559" y="3288305"/>
                </a:cubicBezTo>
                <a:cubicBezTo>
                  <a:pt x="1464392" y="3288253"/>
                  <a:pt x="1464223" y="3288248"/>
                  <a:pt x="1464054" y="3288243"/>
                </a:cubicBezTo>
                <a:lnTo>
                  <a:pt x="1463515" y="3281619"/>
                </a:lnTo>
                <a:cubicBezTo>
                  <a:pt x="1458457" y="3251607"/>
                  <a:pt x="1456006" y="3220958"/>
                  <a:pt x="1456048" y="3189869"/>
                </a:cubicBezTo>
                <a:cubicBezTo>
                  <a:pt x="1454736" y="3184286"/>
                  <a:pt x="1454678" y="3178663"/>
                  <a:pt x="1454678" y="3173027"/>
                </a:cubicBezTo>
                <a:lnTo>
                  <a:pt x="1455272" y="3161677"/>
                </a:lnTo>
                <a:lnTo>
                  <a:pt x="1455770" y="3161709"/>
                </a:lnTo>
                <a:close/>
                <a:moveTo>
                  <a:pt x="1442008" y="3161219"/>
                </a:moveTo>
                <a:lnTo>
                  <a:pt x="1442034" y="3161709"/>
                </a:lnTo>
                <a:lnTo>
                  <a:pt x="1442532" y="3161677"/>
                </a:lnTo>
                <a:lnTo>
                  <a:pt x="1443126" y="3173027"/>
                </a:lnTo>
                <a:cubicBezTo>
                  <a:pt x="1443126" y="3178663"/>
                  <a:pt x="1443067" y="3184286"/>
                  <a:pt x="1441755" y="3189869"/>
                </a:cubicBezTo>
                <a:cubicBezTo>
                  <a:pt x="1441797" y="3220958"/>
                  <a:pt x="1439347" y="3251607"/>
                  <a:pt x="1434288" y="3281619"/>
                </a:cubicBezTo>
                <a:lnTo>
                  <a:pt x="1433750" y="3288243"/>
                </a:lnTo>
                <a:cubicBezTo>
                  <a:pt x="1433580" y="3288248"/>
                  <a:pt x="1433412" y="3288253"/>
                  <a:pt x="1433244" y="3288305"/>
                </a:cubicBezTo>
                <a:cubicBezTo>
                  <a:pt x="1382969" y="3638399"/>
                  <a:pt x="1101930" y="3916971"/>
                  <a:pt x="743079" y="3975903"/>
                </a:cubicBezTo>
                <a:lnTo>
                  <a:pt x="742962" y="3977042"/>
                </a:lnTo>
                <a:cubicBezTo>
                  <a:pt x="737652" y="3978045"/>
                  <a:pt x="732323" y="3978986"/>
                  <a:pt x="726746" y="3978570"/>
                </a:cubicBezTo>
                <a:cubicBezTo>
                  <a:pt x="695574" y="3984080"/>
                  <a:pt x="663693" y="3987038"/>
                  <a:pt x="631319" y="3987561"/>
                </a:cubicBezTo>
                <a:lnTo>
                  <a:pt x="614201" y="3989174"/>
                </a:lnTo>
                <a:lnTo>
                  <a:pt x="614175" y="3988683"/>
                </a:lnTo>
                <a:lnTo>
                  <a:pt x="613676" y="3988716"/>
                </a:lnTo>
                <a:cubicBezTo>
                  <a:pt x="613110" y="3984944"/>
                  <a:pt x="613083" y="3981158"/>
                  <a:pt x="613083" y="3977366"/>
                </a:cubicBezTo>
                <a:cubicBezTo>
                  <a:pt x="613083" y="3971728"/>
                  <a:pt x="613141" y="3966104"/>
                  <a:pt x="614453" y="3960518"/>
                </a:cubicBezTo>
                <a:cubicBezTo>
                  <a:pt x="614411" y="3929436"/>
                  <a:pt x="616861" y="3898794"/>
                  <a:pt x="621917" y="3868787"/>
                </a:cubicBezTo>
                <a:lnTo>
                  <a:pt x="622458" y="3862150"/>
                </a:lnTo>
                <a:cubicBezTo>
                  <a:pt x="622626" y="3862145"/>
                  <a:pt x="622796" y="3862140"/>
                  <a:pt x="622963" y="3862087"/>
                </a:cubicBezTo>
                <a:cubicBezTo>
                  <a:pt x="673240" y="3511992"/>
                  <a:pt x="954279" y="3233421"/>
                  <a:pt x="1313129" y="3174489"/>
                </a:cubicBezTo>
                <a:lnTo>
                  <a:pt x="1313246" y="3173350"/>
                </a:lnTo>
                <a:cubicBezTo>
                  <a:pt x="1318555" y="3172348"/>
                  <a:pt x="1323883" y="3171407"/>
                  <a:pt x="1329459" y="3171823"/>
                </a:cubicBezTo>
                <a:cubicBezTo>
                  <a:pt x="1360642" y="3166310"/>
                  <a:pt x="1392535" y="3163352"/>
                  <a:pt x="1424920" y="3162829"/>
                </a:cubicBezTo>
                <a:close/>
                <a:moveTo>
                  <a:pt x="10909360" y="2447425"/>
                </a:moveTo>
                <a:cubicBezTo>
                  <a:pt x="10962636" y="2718331"/>
                  <a:pt x="11177479" y="2933128"/>
                  <a:pt x="11452669" y="2992271"/>
                </a:cubicBezTo>
                <a:cubicBezTo>
                  <a:pt x="11399394" y="2721365"/>
                  <a:pt x="11184550" y="2506568"/>
                  <a:pt x="10909360" y="2447425"/>
                </a:cubicBezTo>
                <a:close/>
                <a:moveTo>
                  <a:pt x="10602109" y="2447425"/>
                </a:moveTo>
                <a:cubicBezTo>
                  <a:pt x="10326919" y="2506568"/>
                  <a:pt x="10112075" y="2721365"/>
                  <a:pt x="10058800" y="2992271"/>
                </a:cubicBezTo>
                <a:cubicBezTo>
                  <a:pt x="10333990" y="2933128"/>
                  <a:pt x="10548833" y="2718331"/>
                  <a:pt x="10602109" y="2447425"/>
                </a:cubicBezTo>
                <a:close/>
                <a:moveTo>
                  <a:pt x="9217207" y="2447425"/>
                </a:moveTo>
                <a:cubicBezTo>
                  <a:pt x="9270483" y="2718331"/>
                  <a:pt x="9485326" y="2933128"/>
                  <a:pt x="9760516" y="2992271"/>
                </a:cubicBezTo>
                <a:cubicBezTo>
                  <a:pt x="9707241" y="2721365"/>
                  <a:pt x="9492397" y="2506568"/>
                  <a:pt x="9217207" y="2447425"/>
                </a:cubicBezTo>
                <a:close/>
                <a:moveTo>
                  <a:pt x="8909958" y="2447425"/>
                </a:moveTo>
                <a:cubicBezTo>
                  <a:pt x="8634768" y="2506568"/>
                  <a:pt x="8419924" y="2721365"/>
                  <a:pt x="8366649" y="2992271"/>
                </a:cubicBezTo>
                <a:cubicBezTo>
                  <a:pt x="8641839" y="2933128"/>
                  <a:pt x="8856682" y="2718331"/>
                  <a:pt x="8909958" y="2447425"/>
                </a:cubicBezTo>
                <a:close/>
                <a:moveTo>
                  <a:pt x="7525056" y="2447425"/>
                </a:moveTo>
                <a:cubicBezTo>
                  <a:pt x="7578332" y="2718331"/>
                  <a:pt x="7793175" y="2933128"/>
                  <a:pt x="8068365" y="2992271"/>
                </a:cubicBezTo>
                <a:cubicBezTo>
                  <a:pt x="8015090" y="2721365"/>
                  <a:pt x="7800246" y="2506568"/>
                  <a:pt x="7525056" y="2447425"/>
                </a:cubicBezTo>
                <a:close/>
                <a:moveTo>
                  <a:pt x="7217807" y="2447425"/>
                </a:moveTo>
                <a:cubicBezTo>
                  <a:pt x="6942617" y="2506568"/>
                  <a:pt x="6727773" y="2721365"/>
                  <a:pt x="6674498" y="2992271"/>
                </a:cubicBezTo>
                <a:cubicBezTo>
                  <a:pt x="6949688" y="2933128"/>
                  <a:pt x="7164531" y="2718331"/>
                  <a:pt x="7217807" y="2447425"/>
                </a:cubicBezTo>
                <a:close/>
                <a:moveTo>
                  <a:pt x="5832905" y="2447425"/>
                </a:moveTo>
                <a:cubicBezTo>
                  <a:pt x="5886181" y="2718331"/>
                  <a:pt x="6101024" y="2933128"/>
                  <a:pt x="6376214" y="2992271"/>
                </a:cubicBezTo>
                <a:cubicBezTo>
                  <a:pt x="6322939" y="2721365"/>
                  <a:pt x="6108095" y="2506568"/>
                  <a:pt x="5832905" y="2447425"/>
                </a:cubicBezTo>
                <a:close/>
                <a:moveTo>
                  <a:pt x="5525656" y="2447425"/>
                </a:moveTo>
                <a:cubicBezTo>
                  <a:pt x="5250466" y="2506568"/>
                  <a:pt x="5035622" y="2721365"/>
                  <a:pt x="4982347" y="2992271"/>
                </a:cubicBezTo>
                <a:cubicBezTo>
                  <a:pt x="5257537" y="2933128"/>
                  <a:pt x="5472380" y="2718331"/>
                  <a:pt x="5525656" y="2447425"/>
                </a:cubicBezTo>
                <a:close/>
                <a:moveTo>
                  <a:pt x="4140754" y="2447425"/>
                </a:moveTo>
                <a:cubicBezTo>
                  <a:pt x="4194030" y="2718331"/>
                  <a:pt x="4408873" y="2933128"/>
                  <a:pt x="4684063" y="2992271"/>
                </a:cubicBezTo>
                <a:cubicBezTo>
                  <a:pt x="4630788" y="2721365"/>
                  <a:pt x="4415944" y="2506568"/>
                  <a:pt x="4140754" y="2447425"/>
                </a:cubicBezTo>
                <a:close/>
                <a:moveTo>
                  <a:pt x="3833505" y="2447425"/>
                </a:moveTo>
                <a:cubicBezTo>
                  <a:pt x="3558315" y="2506568"/>
                  <a:pt x="3343471" y="2721365"/>
                  <a:pt x="3290196" y="2992271"/>
                </a:cubicBezTo>
                <a:cubicBezTo>
                  <a:pt x="3565386" y="2933128"/>
                  <a:pt x="3780229" y="2718331"/>
                  <a:pt x="3833505" y="2447425"/>
                </a:cubicBezTo>
                <a:close/>
                <a:moveTo>
                  <a:pt x="2448603" y="2447425"/>
                </a:moveTo>
                <a:cubicBezTo>
                  <a:pt x="2501879" y="2718331"/>
                  <a:pt x="2716722" y="2933128"/>
                  <a:pt x="2991912" y="2992271"/>
                </a:cubicBezTo>
                <a:cubicBezTo>
                  <a:pt x="2938637" y="2721365"/>
                  <a:pt x="2723793" y="2506568"/>
                  <a:pt x="2448603" y="2447425"/>
                </a:cubicBezTo>
                <a:close/>
                <a:moveTo>
                  <a:pt x="2141354" y="2447425"/>
                </a:moveTo>
                <a:cubicBezTo>
                  <a:pt x="1866164" y="2506568"/>
                  <a:pt x="1651320" y="2721365"/>
                  <a:pt x="1598045" y="2992271"/>
                </a:cubicBezTo>
                <a:cubicBezTo>
                  <a:pt x="1873235" y="2933128"/>
                  <a:pt x="2088078" y="2718331"/>
                  <a:pt x="2141354" y="2447425"/>
                </a:cubicBezTo>
                <a:close/>
                <a:moveTo>
                  <a:pt x="756452" y="2447425"/>
                </a:moveTo>
                <a:cubicBezTo>
                  <a:pt x="809728" y="2718331"/>
                  <a:pt x="1024571" y="2933128"/>
                  <a:pt x="1299761" y="2992271"/>
                </a:cubicBezTo>
                <a:cubicBezTo>
                  <a:pt x="1246486" y="2721365"/>
                  <a:pt x="1031642" y="2506568"/>
                  <a:pt x="756452" y="2447425"/>
                </a:cubicBezTo>
                <a:close/>
                <a:moveTo>
                  <a:pt x="12192000" y="2344615"/>
                </a:moveTo>
                <a:lnTo>
                  <a:pt x="12192000" y="2477663"/>
                </a:lnTo>
                <a:cubicBezTo>
                  <a:pt x="11966807" y="2562375"/>
                  <a:pt x="11797421" y="2755980"/>
                  <a:pt x="11750953" y="2992271"/>
                </a:cubicBezTo>
                <a:cubicBezTo>
                  <a:pt x="11935988" y="2952504"/>
                  <a:pt x="12093739" y="2842365"/>
                  <a:pt x="12192000" y="2691161"/>
                </a:cubicBezTo>
                <a:lnTo>
                  <a:pt x="12192000" y="2892735"/>
                </a:lnTo>
                <a:cubicBezTo>
                  <a:pt x="12071770" y="3011736"/>
                  <a:pt x="11914089" y="3094511"/>
                  <a:pt x="11737582" y="3123727"/>
                </a:cubicBezTo>
                <a:lnTo>
                  <a:pt x="11737466" y="3124875"/>
                </a:lnTo>
                <a:cubicBezTo>
                  <a:pt x="11732155" y="3125886"/>
                  <a:pt x="11726826" y="3126834"/>
                  <a:pt x="11721249" y="3126415"/>
                </a:cubicBezTo>
                <a:cubicBezTo>
                  <a:pt x="11690077" y="3131969"/>
                  <a:pt x="11658197" y="3134950"/>
                  <a:pt x="11625822" y="3135477"/>
                </a:cubicBezTo>
                <a:lnTo>
                  <a:pt x="11608704" y="3137103"/>
                </a:lnTo>
                <a:lnTo>
                  <a:pt x="11608678" y="3136608"/>
                </a:lnTo>
                <a:lnTo>
                  <a:pt x="11608179" y="3136641"/>
                </a:lnTo>
                <a:cubicBezTo>
                  <a:pt x="11607613" y="3132839"/>
                  <a:pt x="11607586" y="3129023"/>
                  <a:pt x="11607586" y="3125201"/>
                </a:cubicBezTo>
                <a:cubicBezTo>
                  <a:pt x="11607586" y="3119519"/>
                  <a:pt x="11607645" y="3113850"/>
                  <a:pt x="11608957" y="3108220"/>
                </a:cubicBezTo>
                <a:cubicBezTo>
                  <a:pt x="11608914" y="3076892"/>
                  <a:pt x="11611364" y="3046007"/>
                  <a:pt x="11616421" y="3015763"/>
                </a:cubicBezTo>
                <a:lnTo>
                  <a:pt x="11616961" y="3009073"/>
                </a:lnTo>
                <a:cubicBezTo>
                  <a:pt x="11617130" y="3009068"/>
                  <a:pt x="11617299" y="3009063"/>
                  <a:pt x="11617466" y="3009010"/>
                </a:cubicBezTo>
                <a:cubicBezTo>
                  <a:pt x="11662185" y="2695154"/>
                  <a:pt x="11889463" y="2438329"/>
                  <a:pt x="12192000" y="2344615"/>
                </a:cubicBezTo>
                <a:close/>
                <a:moveTo>
                  <a:pt x="10767111" y="2302594"/>
                </a:moveTo>
                <a:lnTo>
                  <a:pt x="10784198" y="2304217"/>
                </a:lnTo>
                <a:cubicBezTo>
                  <a:pt x="10816584" y="2304744"/>
                  <a:pt x="10848477" y="2307725"/>
                  <a:pt x="10879660" y="2313282"/>
                </a:cubicBezTo>
                <a:cubicBezTo>
                  <a:pt x="10885236" y="2312863"/>
                  <a:pt x="10890564" y="2313811"/>
                  <a:pt x="10895873" y="2314821"/>
                </a:cubicBezTo>
                <a:lnTo>
                  <a:pt x="10895990" y="2315969"/>
                </a:lnTo>
                <a:cubicBezTo>
                  <a:pt x="11254840" y="2375367"/>
                  <a:pt x="11535879" y="2656144"/>
                  <a:pt x="11586156" y="3009010"/>
                </a:cubicBezTo>
                <a:cubicBezTo>
                  <a:pt x="11586323" y="3009063"/>
                  <a:pt x="11586492" y="3009068"/>
                  <a:pt x="11586661" y="3009073"/>
                </a:cubicBezTo>
                <a:lnTo>
                  <a:pt x="11587201" y="3015763"/>
                </a:lnTo>
                <a:cubicBezTo>
                  <a:pt x="11592258" y="3046007"/>
                  <a:pt x="11594708" y="3076892"/>
                  <a:pt x="11594665" y="3108220"/>
                </a:cubicBezTo>
                <a:cubicBezTo>
                  <a:pt x="11595977" y="3113850"/>
                  <a:pt x="11596036" y="3119519"/>
                  <a:pt x="11596036" y="3125201"/>
                </a:cubicBezTo>
                <a:cubicBezTo>
                  <a:pt x="11596036" y="3129023"/>
                  <a:pt x="11596009" y="3132839"/>
                  <a:pt x="11595443" y="3136641"/>
                </a:cubicBezTo>
                <a:lnTo>
                  <a:pt x="11594944" y="3136608"/>
                </a:lnTo>
                <a:lnTo>
                  <a:pt x="11594918" y="3137103"/>
                </a:lnTo>
                <a:lnTo>
                  <a:pt x="11577800" y="3135477"/>
                </a:lnTo>
                <a:cubicBezTo>
                  <a:pt x="11545425" y="3134950"/>
                  <a:pt x="11513545" y="3131969"/>
                  <a:pt x="11482373" y="3126415"/>
                </a:cubicBezTo>
                <a:cubicBezTo>
                  <a:pt x="11476796" y="3126834"/>
                  <a:pt x="11471467" y="3125886"/>
                  <a:pt x="11466156" y="3124875"/>
                </a:cubicBezTo>
                <a:lnTo>
                  <a:pt x="11466040" y="3123727"/>
                </a:lnTo>
                <a:cubicBezTo>
                  <a:pt x="11107189" y="3064328"/>
                  <a:pt x="10826150" y="2783551"/>
                  <a:pt x="10775875" y="2430686"/>
                </a:cubicBezTo>
                <a:cubicBezTo>
                  <a:pt x="10775707" y="2430633"/>
                  <a:pt x="10775539" y="2430628"/>
                  <a:pt x="10775369" y="2430623"/>
                </a:cubicBezTo>
                <a:lnTo>
                  <a:pt x="10774831" y="2423947"/>
                </a:lnTo>
                <a:cubicBezTo>
                  <a:pt x="10769772" y="2393697"/>
                  <a:pt x="10767321" y="2362806"/>
                  <a:pt x="10767364" y="2331471"/>
                </a:cubicBezTo>
                <a:cubicBezTo>
                  <a:pt x="10766052" y="2325843"/>
                  <a:pt x="10765993" y="2320176"/>
                  <a:pt x="10765993" y="2314495"/>
                </a:cubicBezTo>
                <a:lnTo>
                  <a:pt x="10766587" y="2303055"/>
                </a:lnTo>
                <a:lnTo>
                  <a:pt x="10767085" y="2303088"/>
                </a:lnTo>
                <a:close/>
                <a:moveTo>
                  <a:pt x="10744358" y="2302594"/>
                </a:moveTo>
                <a:lnTo>
                  <a:pt x="10744384" y="2303088"/>
                </a:lnTo>
                <a:lnTo>
                  <a:pt x="10744882" y="2303055"/>
                </a:lnTo>
                <a:lnTo>
                  <a:pt x="10745476" y="2314495"/>
                </a:lnTo>
                <a:cubicBezTo>
                  <a:pt x="10745476" y="2320176"/>
                  <a:pt x="10745417" y="2325843"/>
                  <a:pt x="10744105" y="2331471"/>
                </a:cubicBezTo>
                <a:cubicBezTo>
                  <a:pt x="10744148" y="2362806"/>
                  <a:pt x="10741697" y="2393697"/>
                  <a:pt x="10736638" y="2423947"/>
                </a:cubicBezTo>
                <a:lnTo>
                  <a:pt x="10736100" y="2430623"/>
                </a:lnTo>
                <a:cubicBezTo>
                  <a:pt x="10735930" y="2430628"/>
                  <a:pt x="10735762" y="2430633"/>
                  <a:pt x="10735594" y="2430686"/>
                </a:cubicBezTo>
                <a:cubicBezTo>
                  <a:pt x="10685319" y="2783551"/>
                  <a:pt x="10404280" y="3064328"/>
                  <a:pt x="10045429" y="3123727"/>
                </a:cubicBezTo>
                <a:lnTo>
                  <a:pt x="10045313" y="3124875"/>
                </a:lnTo>
                <a:cubicBezTo>
                  <a:pt x="10040002" y="3125886"/>
                  <a:pt x="10034673" y="3126834"/>
                  <a:pt x="10029096" y="3126415"/>
                </a:cubicBezTo>
                <a:cubicBezTo>
                  <a:pt x="9997924" y="3131969"/>
                  <a:pt x="9966044" y="3134950"/>
                  <a:pt x="9933669" y="3135477"/>
                </a:cubicBezTo>
                <a:lnTo>
                  <a:pt x="9916551" y="3137103"/>
                </a:lnTo>
                <a:lnTo>
                  <a:pt x="9916525" y="3136608"/>
                </a:lnTo>
                <a:lnTo>
                  <a:pt x="9916026" y="3136641"/>
                </a:lnTo>
                <a:cubicBezTo>
                  <a:pt x="9915460" y="3132839"/>
                  <a:pt x="9915433" y="3129023"/>
                  <a:pt x="9915433" y="3125201"/>
                </a:cubicBezTo>
                <a:cubicBezTo>
                  <a:pt x="9915433" y="3119519"/>
                  <a:pt x="9915492" y="3113850"/>
                  <a:pt x="9916804" y="3108220"/>
                </a:cubicBezTo>
                <a:cubicBezTo>
                  <a:pt x="9916761" y="3076892"/>
                  <a:pt x="9919211" y="3046007"/>
                  <a:pt x="9924268" y="3015763"/>
                </a:cubicBezTo>
                <a:lnTo>
                  <a:pt x="9924808" y="3009073"/>
                </a:lnTo>
                <a:cubicBezTo>
                  <a:pt x="9924977" y="3009068"/>
                  <a:pt x="9925146" y="3009063"/>
                  <a:pt x="9925314" y="3009010"/>
                </a:cubicBezTo>
                <a:cubicBezTo>
                  <a:pt x="9975590" y="2656144"/>
                  <a:pt x="10256629" y="2375367"/>
                  <a:pt x="10615479" y="2315969"/>
                </a:cubicBezTo>
                <a:lnTo>
                  <a:pt x="10615596" y="2314821"/>
                </a:lnTo>
                <a:cubicBezTo>
                  <a:pt x="10620905" y="2313811"/>
                  <a:pt x="10626233" y="2312863"/>
                  <a:pt x="10631809" y="2313282"/>
                </a:cubicBezTo>
                <a:cubicBezTo>
                  <a:pt x="10662992" y="2307725"/>
                  <a:pt x="10694885" y="2304744"/>
                  <a:pt x="10727271" y="2304217"/>
                </a:cubicBezTo>
                <a:close/>
                <a:moveTo>
                  <a:pt x="9074958" y="2302594"/>
                </a:moveTo>
                <a:lnTo>
                  <a:pt x="9092045" y="2304217"/>
                </a:lnTo>
                <a:cubicBezTo>
                  <a:pt x="9124431" y="2304744"/>
                  <a:pt x="9156324" y="2307725"/>
                  <a:pt x="9187507" y="2313282"/>
                </a:cubicBezTo>
                <a:cubicBezTo>
                  <a:pt x="9193083" y="2312863"/>
                  <a:pt x="9198411" y="2313811"/>
                  <a:pt x="9203720" y="2314821"/>
                </a:cubicBezTo>
                <a:lnTo>
                  <a:pt x="9203837" y="2315969"/>
                </a:lnTo>
                <a:cubicBezTo>
                  <a:pt x="9562687" y="2375367"/>
                  <a:pt x="9843726" y="2656144"/>
                  <a:pt x="9894002" y="3009010"/>
                </a:cubicBezTo>
                <a:cubicBezTo>
                  <a:pt x="9894170" y="3009063"/>
                  <a:pt x="9894339" y="3009068"/>
                  <a:pt x="9894508" y="3009073"/>
                </a:cubicBezTo>
                <a:lnTo>
                  <a:pt x="9895048" y="3015763"/>
                </a:lnTo>
                <a:cubicBezTo>
                  <a:pt x="9900105" y="3046007"/>
                  <a:pt x="9902555" y="3076892"/>
                  <a:pt x="9902512" y="3108220"/>
                </a:cubicBezTo>
                <a:cubicBezTo>
                  <a:pt x="9903824" y="3113850"/>
                  <a:pt x="9903883" y="3119519"/>
                  <a:pt x="9903883" y="3125201"/>
                </a:cubicBezTo>
                <a:cubicBezTo>
                  <a:pt x="9903883" y="3129023"/>
                  <a:pt x="9903856" y="3132839"/>
                  <a:pt x="9903290" y="3136641"/>
                </a:cubicBezTo>
                <a:lnTo>
                  <a:pt x="9902791" y="3136608"/>
                </a:lnTo>
                <a:lnTo>
                  <a:pt x="9902765" y="3137103"/>
                </a:lnTo>
                <a:lnTo>
                  <a:pt x="9885647" y="3135477"/>
                </a:lnTo>
                <a:cubicBezTo>
                  <a:pt x="9853272" y="3134950"/>
                  <a:pt x="9821392" y="3131969"/>
                  <a:pt x="9790220" y="3126415"/>
                </a:cubicBezTo>
                <a:cubicBezTo>
                  <a:pt x="9784643" y="3126834"/>
                  <a:pt x="9779314" y="3125886"/>
                  <a:pt x="9774003" y="3124875"/>
                </a:cubicBezTo>
                <a:lnTo>
                  <a:pt x="9773887" y="3123727"/>
                </a:lnTo>
                <a:cubicBezTo>
                  <a:pt x="9415036" y="3064328"/>
                  <a:pt x="9133997" y="2783551"/>
                  <a:pt x="9083722" y="2430686"/>
                </a:cubicBezTo>
                <a:cubicBezTo>
                  <a:pt x="9083554" y="2430633"/>
                  <a:pt x="9083386" y="2430628"/>
                  <a:pt x="9083216" y="2430623"/>
                </a:cubicBezTo>
                <a:lnTo>
                  <a:pt x="9082678" y="2423947"/>
                </a:lnTo>
                <a:cubicBezTo>
                  <a:pt x="9077619" y="2393697"/>
                  <a:pt x="9075168" y="2362806"/>
                  <a:pt x="9075211" y="2331471"/>
                </a:cubicBezTo>
                <a:cubicBezTo>
                  <a:pt x="9073899" y="2325843"/>
                  <a:pt x="9073840" y="2320176"/>
                  <a:pt x="9073840" y="2314495"/>
                </a:cubicBezTo>
                <a:lnTo>
                  <a:pt x="9074434" y="2303055"/>
                </a:lnTo>
                <a:lnTo>
                  <a:pt x="9074932" y="2303088"/>
                </a:lnTo>
                <a:close/>
                <a:moveTo>
                  <a:pt x="9052207" y="2302594"/>
                </a:moveTo>
                <a:lnTo>
                  <a:pt x="9052233" y="2303088"/>
                </a:lnTo>
                <a:lnTo>
                  <a:pt x="9052731" y="2303055"/>
                </a:lnTo>
                <a:lnTo>
                  <a:pt x="9053325" y="2314495"/>
                </a:lnTo>
                <a:cubicBezTo>
                  <a:pt x="9053325" y="2320176"/>
                  <a:pt x="9053266" y="2325843"/>
                  <a:pt x="9051954" y="2331471"/>
                </a:cubicBezTo>
                <a:cubicBezTo>
                  <a:pt x="9051997" y="2362806"/>
                  <a:pt x="9049546" y="2393697"/>
                  <a:pt x="9044487" y="2423947"/>
                </a:cubicBezTo>
                <a:lnTo>
                  <a:pt x="9043949" y="2430623"/>
                </a:lnTo>
                <a:cubicBezTo>
                  <a:pt x="9043779" y="2430628"/>
                  <a:pt x="9043611" y="2430633"/>
                  <a:pt x="9043443" y="2430686"/>
                </a:cubicBezTo>
                <a:cubicBezTo>
                  <a:pt x="8993168" y="2783551"/>
                  <a:pt x="8712129" y="3064328"/>
                  <a:pt x="8353278" y="3123727"/>
                </a:cubicBezTo>
                <a:lnTo>
                  <a:pt x="8353162" y="3124875"/>
                </a:lnTo>
                <a:cubicBezTo>
                  <a:pt x="8347851" y="3125886"/>
                  <a:pt x="8342522" y="3126834"/>
                  <a:pt x="8336945" y="3126415"/>
                </a:cubicBezTo>
                <a:cubicBezTo>
                  <a:pt x="8305773" y="3131969"/>
                  <a:pt x="8273893" y="3134950"/>
                  <a:pt x="8241519" y="3135477"/>
                </a:cubicBezTo>
                <a:lnTo>
                  <a:pt x="8224400" y="3137103"/>
                </a:lnTo>
                <a:lnTo>
                  <a:pt x="8224374" y="3136608"/>
                </a:lnTo>
                <a:lnTo>
                  <a:pt x="8223875" y="3136641"/>
                </a:lnTo>
                <a:cubicBezTo>
                  <a:pt x="8223309" y="3132839"/>
                  <a:pt x="8223282" y="3129023"/>
                  <a:pt x="8223282" y="3125201"/>
                </a:cubicBezTo>
                <a:cubicBezTo>
                  <a:pt x="8223282" y="3119519"/>
                  <a:pt x="8223341" y="3113850"/>
                  <a:pt x="8224653" y="3108220"/>
                </a:cubicBezTo>
                <a:cubicBezTo>
                  <a:pt x="8224611" y="3076892"/>
                  <a:pt x="8227060" y="3046007"/>
                  <a:pt x="8232117" y="3015763"/>
                </a:cubicBezTo>
                <a:lnTo>
                  <a:pt x="8232657" y="3009073"/>
                </a:lnTo>
                <a:cubicBezTo>
                  <a:pt x="8232826" y="3009068"/>
                  <a:pt x="8232995" y="3009063"/>
                  <a:pt x="8233163" y="3009010"/>
                </a:cubicBezTo>
                <a:cubicBezTo>
                  <a:pt x="8283439" y="2656144"/>
                  <a:pt x="8564478" y="2375367"/>
                  <a:pt x="8923328" y="2315969"/>
                </a:cubicBezTo>
                <a:lnTo>
                  <a:pt x="8923445" y="2314821"/>
                </a:lnTo>
                <a:cubicBezTo>
                  <a:pt x="8928754" y="2313811"/>
                  <a:pt x="8934082" y="2312863"/>
                  <a:pt x="8939658" y="2313282"/>
                </a:cubicBezTo>
                <a:cubicBezTo>
                  <a:pt x="8970841" y="2307725"/>
                  <a:pt x="9002734" y="2304744"/>
                  <a:pt x="9035120" y="2304217"/>
                </a:cubicBezTo>
                <a:close/>
                <a:moveTo>
                  <a:pt x="7382807" y="2302594"/>
                </a:moveTo>
                <a:lnTo>
                  <a:pt x="7399895" y="2304217"/>
                </a:lnTo>
                <a:cubicBezTo>
                  <a:pt x="7432280" y="2304744"/>
                  <a:pt x="7464173" y="2307725"/>
                  <a:pt x="7495356" y="2313282"/>
                </a:cubicBezTo>
                <a:cubicBezTo>
                  <a:pt x="7500932" y="2312863"/>
                  <a:pt x="7506260" y="2313811"/>
                  <a:pt x="7511569" y="2314821"/>
                </a:cubicBezTo>
                <a:lnTo>
                  <a:pt x="7511686" y="2315969"/>
                </a:lnTo>
                <a:cubicBezTo>
                  <a:pt x="7870536" y="2375367"/>
                  <a:pt x="8151575" y="2656144"/>
                  <a:pt x="8201852" y="3009010"/>
                </a:cubicBezTo>
                <a:cubicBezTo>
                  <a:pt x="8202019" y="3009063"/>
                  <a:pt x="8202189" y="3009068"/>
                  <a:pt x="8202357" y="3009073"/>
                </a:cubicBezTo>
                <a:lnTo>
                  <a:pt x="8202898" y="3015763"/>
                </a:lnTo>
                <a:cubicBezTo>
                  <a:pt x="8207954" y="3046007"/>
                  <a:pt x="8210404" y="3076892"/>
                  <a:pt x="8210362" y="3108220"/>
                </a:cubicBezTo>
                <a:cubicBezTo>
                  <a:pt x="8211674" y="3113850"/>
                  <a:pt x="8211732" y="3119519"/>
                  <a:pt x="8211732" y="3125201"/>
                </a:cubicBezTo>
                <a:cubicBezTo>
                  <a:pt x="8211732" y="3129023"/>
                  <a:pt x="8211705" y="3132839"/>
                  <a:pt x="8211139" y="3136641"/>
                </a:cubicBezTo>
                <a:lnTo>
                  <a:pt x="8210640" y="3136608"/>
                </a:lnTo>
                <a:lnTo>
                  <a:pt x="8210614" y="3137103"/>
                </a:lnTo>
                <a:lnTo>
                  <a:pt x="8193496" y="3135477"/>
                </a:lnTo>
                <a:cubicBezTo>
                  <a:pt x="8161122" y="3134950"/>
                  <a:pt x="8129241" y="3131969"/>
                  <a:pt x="8098069" y="3126415"/>
                </a:cubicBezTo>
                <a:cubicBezTo>
                  <a:pt x="8092492" y="3126834"/>
                  <a:pt x="8087163" y="3125886"/>
                  <a:pt x="8081853" y="3124875"/>
                </a:cubicBezTo>
                <a:lnTo>
                  <a:pt x="8081737" y="3123727"/>
                </a:lnTo>
                <a:cubicBezTo>
                  <a:pt x="7722885" y="3064328"/>
                  <a:pt x="7441846" y="2783551"/>
                  <a:pt x="7391571" y="2430686"/>
                </a:cubicBezTo>
                <a:cubicBezTo>
                  <a:pt x="7391403" y="2430633"/>
                  <a:pt x="7391235" y="2430628"/>
                  <a:pt x="7391065" y="2430623"/>
                </a:cubicBezTo>
                <a:lnTo>
                  <a:pt x="7390527" y="2423947"/>
                </a:lnTo>
                <a:cubicBezTo>
                  <a:pt x="7385468" y="2393697"/>
                  <a:pt x="7383018" y="2362806"/>
                  <a:pt x="7383060" y="2331471"/>
                </a:cubicBezTo>
                <a:cubicBezTo>
                  <a:pt x="7381748" y="2325843"/>
                  <a:pt x="7381689" y="2320176"/>
                  <a:pt x="7381689" y="2314495"/>
                </a:cubicBezTo>
                <a:lnTo>
                  <a:pt x="7382283" y="2303055"/>
                </a:lnTo>
                <a:lnTo>
                  <a:pt x="7382781" y="2303088"/>
                </a:lnTo>
                <a:close/>
                <a:moveTo>
                  <a:pt x="7360056" y="2302594"/>
                </a:moveTo>
                <a:lnTo>
                  <a:pt x="7360082" y="2303088"/>
                </a:lnTo>
                <a:lnTo>
                  <a:pt x="7360580" y="2303055"/>
                </a:lnTo>
                <a:lnTo>
                  <a:pt x="7361174" y="2314495"/>
                </a:lnTo>
                <a:cubicBezTo>
                  <a:pt x="7361174" y="2320176"/>
                  <a:pt x="7361116" y="2325843"/>
                  <a:pt x="7359804" y="2331471"/>
                </a:cubicBezTo>
                <a:cubicBezTo>
                  <a:pt x="7359846" y="2362806"/>
                  <a:pt x="7357395" y="2393697"/>
                  <a:pt x="7352337" y="2423947"/>
                </a:cubicBezTo>
                <a:lnTo>
                  <a:pt x="7351798" y="2430623"/>
                </a:lnTo>
                <a:cubicBezTo>
                  <a:pt x="7351629" y="2430628"/>
                  <a:pt x="7351460" y="2430633"/>
                  <a:pt x="7351293" y="2430686"/>
                </a:cubicBezTo>
                <a:cubicBezTo>
                  <a:pt x="7301017" y="2783551"/>
                  <a:pt x="7019978" y="3064328"/>
                  <a:pt x="6661127" y="3123727"/>
                </a:cubicBezTo>
                <a:lnTo>
                  <a:pt x="6661011" y="3124875"/>
                </a:lnTo>
                <a:cubicBezTo>
                  <a:pt x="6655700" y="3125886"/>
                  <a:pt x="6650371" y="3126834"/>
                  <a:pt x="6644794" y="3126415"/>
                </a:cubicBezTo>
                <a:cubicBezTo>
                  <a:pt x="6613622" y="3131969"/>
                  <a:pt x="6581742" y="3134950"/>
                  <a:pt x="6549368" y="3135477"/>
                </a:cubicBezTo>
                <a:lnTo>
                  <a:pt x="6532249" y="3137103"/>
                </a:lnTo>
                <a:lnTo>
                  <a:pt x="6532223" y="3136608"/>
                </a:lnTo>
                <a:lnTo>
                  <a:pt x="6531724" y="3136641"/>
                </a:lnTo>
                <a:cubicBezTo>
                  <a:pt x="6531158" y="3132839"/>
                  <a:pt x="6531131" y="3129023"/>
                  <a:pt x="6531131" y="3125201"/>
                </a:cubicBezTo>
                <a:cubicBezTo>
                  <a:pt x="6531131" y="3119519"/>
                  <a:pt x="6531190" y="3113850"/>
                  <a:pt x="6532502" y="3108220"/>
                </a:cubicBezTo>
                <a:cubicBezTo>
                  <a:pt x="6532460" y="3076892"/>
                  <a:pt x="6534909" y="3046007"/>
                  <a:pt x="6539966" y="3015763"/>
                </a:cubicBezTo>
                <a:lnTo>
                  <a:pt x="6540506" y="3009073"/>
                </a:lnTo>
                <a:cubicBezTo>
                  <a:pt x="6540675" y="3009068"/>
                  <a:pt x="6540844" y="3009063"/>
                  <a:pt x="6541012" y="3009010"/>
                </a:cubicBezTo>
                <a:cubicBezTo>
                  <a:pt x="6591288" y="2656144"/>
                  <a:pt x="6872327" y="2375367"/>
                  <a:pt x="7231178" y="2315969"/>
                </a:cubicBezTo>
                <a:lnTo>
                  <a:pt x="7231295" y="2314821"/>
                </a:lnTo>
                <a:cubicBezTo>
                  <a:pt x="7236603" y="2313811"/>
                  <a:pt x="7241931" y="2312863"/>
                  <a:pt x="7247507" y="2313282"/>
                </a:cubicBezTo>
                <a:cubicBezTo>
                  <a:pt x="7278691" y="2307725"/>
                  <a:pt x="7310583" y="2304744"/>
                  <a:pt x="7342969" y="2304217"/>
                </a:cubicBezTo>
                <a:close/>
                <a:moveTo>
                  <a:pt x="5690656" y="2302594"/>
                </a:moveTo>
                <a:lnTo>
                  <a:pt x="5707743" y="2304217"/>
                </a:lnTo>
                <a:cubicBezTo>
                  <a:pt x="5740129" y="2304744"/>
                  <a:pt x="5772021" y="2307725"/>
                  <a:pt x="5803205" y="2313282"/>
                </a:cubicBezTo>
                <a:cubicBezTo>
                  <a:pt x="5808781" y="2312863"/>
                  <a:pt x="5814109" y="2313811"/>
                  <a:pt x="5819417" y="2314821"/>
                </a:cubicBezTo>
                <a:lnTo>
                  <a:pt x="5819534" y="2315969"/>
                </a:lnTo>
                <a:cubicBezTo>
                  <a:pt x="6178385" y="2375367"/>
                  <a:pt x="6459424" y="2656144"/>
                  <a:pt x="6509700" y="3009010"/>
                </a:cubicBezTo>
                <a:cubicBezTo>
                  <a:pt x="6509868" y="3009063"/>
                  <a:pt x="6510037" y="3009068"/>
                  <a:pt x="6510206" y="3009073"/>
                </a:cubicBezTo>
                <a:lnTo>
                  <a:pt x="6510746" y="3015763"/>
                </a:lnTo>
                <a:cubicBezTo>
                  <a:pt x="6515803" y="3046007"/>
                  <a:pt x="6518252" y="3076892"/>
                  <a:pt x="6518210" y="3108220"/>
                </a:cubicBezTo>
                <a:cubicBezTo>
                  <a:pt x="6519522" y="3113850"/>
                  <a:pt x="6519581" y="3119519"/>
                  <a:pt x="6519581" y="3125201"/>
                </a:cubicBezTo>
                <a:cubicBezTo>
                  <a:pt x="6519581" y="3129023"/>
                  <a:pt x="6519554" y="3132839"/>
                  <a:pt x="6518988" y="3136641"/>
                </a:cubicBezTo>
                <a:lnTo>
                  <a:pt x="6518489" y="3136608"/>
                </a:lnTo>
                <a:lnTo>
                  <a:pt x="6518463" y="3137103"/>
                </a:lnTo>
                <a:lnTo>
                  <a:pt x="6501344" y="3135477"/>
                </a:lnTo>
                <a:cubicBezTo>
                  <a:pt x="6468970" y="3134950"/>
                  <a:pt x="6437090" y="3131969"/>
                  <a:pt x="6405918" y="3126415"/>
                </a:cubicBezTo>
                <a:cubicBezTo>
                  <a:pt x="6400341" y="3126834"/>
                  <a:pt x="6395012" y="3125886"/>
                  <a:pt x="6389701" y="3124875"/>
                </a:cubicBezTo>
                <a:lnTo>
                  <a:pt x="6389585" y="3123727"/>
                </a:lnTo>
                <a:cubicBezTo>
                  <a:pt x="6030734" y="3064328"/>
                  <a:pt x="5749695" y="2783551"/>
                  <a:pt x="5699419" y="2430686"/>
                </a:cubicBezTo>
                <a:cubicBezTo>
                  <a:pt x="5699252" y="2430633"/>
                  <a:pt x="5699083" y="2430628"/>
                  <a:pt x="5698914" y="2430623"/>
                </a:cubicBezTo>
                <a:lnTo>
                  <a:pt x="5698375" y="2423947"/>
                </a:lnTo>
                <a:cubicBezTo>
                  <a:pt x="5693317" y="2393697"/>
                  <a:pt x="5690866" y="2362806"/>
                  <a:pt x="5690908" y="2331471"/>
                </a:cubicBezTo>
                <a:cubicBezTo>
                  <a:pt x="5689596" y="2325843"/>
                  <a:pt x="5689538" y="2320176"/>
                  <a:pt x="5689538" y="2314495"/>
                </a:cubicBezTo>
                <a:lnTo>
                  <a:pt x="5690132" y="2303055"/>
                </a:lnTo>
                <a:lnTo>
                  <a:pt x="5690630" y="2303088"/>
                </a:lnTo>
                <a:close/>
                <a:moveTo>
                  <a:pt x="5667905" y="2302594"/>
                </a:moveTo>
                <a:lnTo>
                  <a:pt x="5667931" y="2303088"/>
                </a:lnTo>
                <a:lnTo>
                  <a:pt x="5668429" y="2303055"/>
                </a:lnTo>
                <a:lnTo>
                  <a:pt x="5669023" y="2314495"/>
                </a:lnTo>
                <a:cubicBezTo>
                  <a:pt x="5669023" y="2320176"/>
                  <a:pt x="5668964" y="2325843"/>
                  <a:pt x="5667652" y="2331471"/>
                </a:cubicBezTo>
                <a:cubicBezTo>
                  <a:pt x="5667694" y="2362806"/>
                  <a:pt x="5665244" y="2393697"/>
                  <a:pt x="5660185" y="2423947"/>
                </a:cubicBezTo>
                <a:lnTo>
                  <a:pt x="5659647" y="2430623"/>
                </a:lnTo>
                <a:cubicBezTo>
                  <a:pt x="5659477" y="2430628"/>
                  <a:pt x="5659309" y="2430633"/>
                  <a:pt x="5659141" y="2430686"/>
                </a:cubicBezTo>
                <a:cubicBezTo>
                  <a:pt x="5608866" y="2783551"/>
                  <a:pt x="5327827" y="3064328"/>
                  <a:pt x="4968975" y="3123727"/>
                </a:cubicBezTo>
                <a:lnTo>
                  <a:pt x="4968859" y="3124875"/>
                </a:lnTo>
                <a:cubicBezTo>
                  <a:pt x="4963549" y="3125886"/>
                  <a:pt x="4958220" y="3126834"/>
                  <a:pt x="4952643" y="3126415"/>
                </a:cubicBezTo>
                <a:cubicBezTo>
                  <a:pt x="4921471" y="3131969"/>
                  <a:pt x="4889590" y="3134950"/>
                  <a:pt x="4857216" y="3135477"/>
                </a:cubicBezTo>
                <a:lnTo>
                  <a:pt x="4840098" y="3137103"/>
                </a:lnTo>
                <a:lnTo>
                  <a:pt x="4840072" y="3136608"/>
                </a:lnTo>
                <a:lnTo>
                  <a:pt x="4839573" y="3136641"/>
                </a:lnTo>
                <a:cubicBezTo>
                  <a:pt x="4839007" y="3132839"/>
                  <a:pt x="4838980" y="3129023"/>
                  <a:pt x="4838980" y="3125201"/>
                </a:cubicBezTo>
                <a:cubicBezTo>
                  <a:pt x="4838980" y="3119519"/>
                  <a:pt x="4839038" y="3113850"/>
                  <a:pt x="4840350" y="3108220"/>
                </a:cubicBezTo>
                <a:cubicBezTo>
                  <a:pt x="4840308" y="3076892"/>
                  <a:pt x="4842758" y="3046007"/>
                  <a:pt x="4847814" y="3015763"/>
                </a:cubicBezTo>
                <a:lnTo>
                  <a:pt x="4848355" y="3009073"/>
                </a:lnTo>
                <a:cubicBezTo>
                  <a:pt x="4848523" y="3009068"/>
                  <a:pt x="4848693" y="3009063"/>
                  <a:pt x="4848860" y="3009010"/>
                </a:cubicBezTo>
                <a:cubicBezTo>
                  <a:pt x="4899137" y="2656144"/>
                  <a:pt x="5180176" y="2375367"/>
                  <a:pt x="5539026" y="2315969"/>
                </a:cubicBezTo>
                <a:lnTo>
                  <a:pt x="5539143" y="2314821"/>
                </a:lnTo>
                <a:cubicBezTo>
                  <a:pt x="5544452" y="2313811"/>
                  <a:pt x="5549780" y="2312863"/>
                  <a:pt x="5555356" y="2313282"/>
                </a:cubicBezTo>
                <a:cubicBezTo>
                  <a:pt x="5586539" y="2307725"/>
                  <a:pt x="5618432" y="2304744"/>
                  <a:pt x="5650817" y="2304217"/>
                </a:cubicBezTo>
                <a:close/>
                <a:moveTo>
                  <a:pt x="3998505" y="2302594"/>
                </a:moveTo>
                <a:lnTo>
                  <a:pt x="4015592" y="2304217"/>
                </a:lnTo>
                <a:cubicBezTo>
                  <a:pt x="4047978" y="2304744"/>
                  <a:pt x="4079870" y="2307725"/>
                  <a:pt x="4111054" y="2313282"/>
                </a:cubicBezTo>
                <a:cubicBezTo>
                  <a:pt x="4116630" y="2312863"/>
                  <a:pt x="4121958" y="2313811"/>
                  <a:pt x="4127266" y="2314821"/>
                </a:cubicBezTo>
                <a:lnTo>
                  <a:pt x="4127384" y="2315969"/>
                </a:lnTo>
                <a:cubicBezTo>
                  <a:pt x="4486234" y="2375367"/>
                  <a:pt x="4767273" y="2656144"/>
                  <a:pt x="4817549" y="3009010"/>
                </a:cubicBezTo>
                <a:cubicBezTo>
                  <a:pt x="4817717" y="3009063"/>
                  <a:pt x="4817886" y="3009068"/>
                  <a:pt x="4818055" y="3009073"/>
                </a:cubicBezTo>
                <a:lnTo>
                  <a:pt x="4818595" y="3015763"/>
                </a:lnTo>
                <a:cubicBezTo>
                  <a:pt x="4823652" y="3046007"/>
                  <a:pt x="4826101" y="3076892"/>
                  <a:pt x="4826059" y="3108220"/>
                </a:cubicBezTo>
                <a:cubicBezTo>
                  <a:pt x="4827371" y="3113850"/>
                  <a:pt x="4827430" y="3119519"/>
                  <a:pt x="4827430" y="3125201"/>
                </a:cubicBezTo>
                <a:cubicBezTo>
                  <a:pt x="4827430" y="3129023"/>
                  <a:pt x="4827403" y="3132839"/>
                  <a:pt x="4826837" y="3136641"/>
                </a:cubicBezTo>
                <a:lnTo>
                  <a:pt x="4826338" y="3136608"/>
                </a:lnTo>
                <a:lnTo>
                  <a:pt x="4826312" y="3137103"/>
                </a:lnTo>
                <a:lnTo>
                  <a:pt x="4809193" y="3135477"/>
                </a:lnTo>
                <a:cubicBezTo>
                  <a:pt x="4776819" y="3134950"/>
                  <a:pt x="4744939" y="3131969"/>
                  <a:pt x="4713767" y="3126415"/>
                </a:cubicBezTo>
                <a:cubicBezTo>
                  <a:pt x="4708190" y="3126834"/>
                  <a:pt x="4702861" y="3125886"/>
                  <a:pt x="4697550" y="3124875"/>
                </a:cubicBezTo>
                <a:lnTo>
                  <a:pt x="4697434" y="3123727"/>
                </a:lnTo>
                <a:cubicBezTo>
                  <a:pt x="4338583" y="3064328"/>
                  <a:pt x="4057544" y="2783551"/>
                  <a:pt x="4007268" y="2430686"/>
                </a:cubicBezTo>
                <a:cubicBezTo>
                  <a:pt x="4007101" y="2430633"/>
                  <a:pt x="4006932" y="2430628"/>
                  <a:pt x="4006763" y="2430623"/>
                </a:cubicBezTo>
                <a:lnTo>
                  <a:pt x="4006225" y="2423947"/>
                </a:lnTo>
                <a:cubicBezTo>
                  <a:pt x="4001166" y="2393697"/>
                  <a:pt x="3998715" y="2362806"/>
                  <a:pt x="3998757" y="2331471"/>
                </a:cubicBezTo>
                <a:cubicBezTo>
                  <a:pt x="3997445" y="2325843"/>
                  <a:pt x="3997387" y="2320176"/>
                  <a:pt x="3997387" y="2314495"/>
                </a:cubicBezTo>
                <a:lnTo>
                  <a:pt x="3997981" y="2303055"/>
                </a:lnTo>
                <a:lnTo>
                  <a:pt x="3998479" y="2303088"/>
                </a:lnTo>
                <a:close/>
                <a:moveTo>
                  <a:pt x="3975754" y="2302594"/>
                </a:moveTo>
                <a:lnTo>
                  <a:pt x="3975780" y="2303088"/>
                </a:lnTo>
                <a:lnTo>
                  <a:pt x="3976278" y="2303055"/>
                </a:lnTo>
                <a:lnTo>
                  <a:pt x="3976872" y="2314495"/>
                </a:lnTo>
                <a:cubicBezTo>
                  <a:pt x="3976872" y="2320176"/>
                  <a:pt x="3976813" y="2325843"/>
                  <a:pt x="3975501" y="2331471"/>
                </a:cubicBezTo>
                <a:cubicBezTo>
                  <a:pt x="3975543" y="2362806"/>
                  <a:pt x="3973093" y="2393697"/>
                  <a:pt x="3968034" y="2423947"/>
                </a:cubicBezTo>
                <a:lnTo>
                  <a:pt x="3967496" y="2430623"/>
                </a:lnTo>
                <a:cubicBezTo>
                  <a:pt x="3967326" y="2430628"/>
                  <a:pt x="3967158" y="2430633"/>
                  <a:pt x="3966990" y="2430686"/>
                </a:cubicBezTo>
                <a:cubicBezTo>
                  <a:pt x="3916715" y="2783551"/>
                  <a:pt x="3635676" y="3064328"/>
                  <a:pt x="3276825" y="3123727"/>
                </a:cubicBezTo>
                <a:lnTo>
                  <a:pt x="3276708" y="3124875"/>
                </a:lnTo>
                <a:cubicBezTo>
                  <a:pt x="3271398" y="3125886"/>
                  <a:pt x="3266069" y="3126834"/>
                  <a:pt x="3260492" y="3126415"/>
                </a:cubicBezTo>
                <a:cubicBezTo>
                  <a:pt x="3229320" y="3131969"/>
                  <a:pt x="3197440" y="3134950"/>
                  <a:pt x="3165065" y="3135477"/>
                </a:cubicBezTo>
                <a:lnTo>
                  <a:pt x="3147947" y="3137103"/>
                </a:lnTo>
                <a:lnTo>
                  <a:pt x="3147921" y="3136608"/>
                </a:lnTo>
                <a:lnTo>
                  <a:pt x="3147422" y="3136641"/>
                </a:lnTo>
                <a:cubicBezTo>
                  <a:pt x="3146856" y="3132839"/>
                  <a:pt x="3146829" y="3129023"/>
                  <a:pt x="3146829" y="3125201"/>
                </a:cubicBezTo>
                <a:cubicBezTo>
                  <a:pt x="3146829" y="3119519"/>
                  <a:pt x="3146887" y="3113850"/>
                  <a:pt x="3148199" y="3108220"/>
                </a:cubicBezTo>
                <a:cubicBezTo>
                  <a:pt x="3148157" y="3076892"/>
                  <a:pt x="3150607" y="3046007"/>
                  <a:pt x="3155663" y="3015763"/>
                </a:cubicBezTo>
                <a:lnTo>
                  <a:pt x="3156204" y="3009073"/>
                </a:lnTo>
                <a:cubicBezTo>
                  <a:pt x="3156372" y="3009068"/>
                  <a:pt x="3156542" y="3009063"/>
                  <a:pt x="3156709" y="3009010"/>
                </a:cubicBezTo>
                <a:cubicBezTo>
                  <a:pt x="3206986" y="2656144"/>
                  <a:pt x="3488025" y="2375367"/>
                  <a:pt x="3846875" y="2315969"/>
                </a:cubicBezTo>
                <a:lnTo>
                  <a:pt x="3846992" y="2314821"/>
                </a:lnTo>
                <a:cubicBezTo>
                  <a:pt x="3852301" y="2313811"/>
                  <a:pt x="3857629" y="2312863"/>
                  <a:pt x="3863205" y="2313282"/>
                </a:cubicBezTo>
                <a:cubicBezTo>
                  <a:pt x="3894388" y="2307725"/>
                  <a:pt x="3926281" y="2304744"/>
                  <a:pt x="3958666" y="2304217"/>
                </a:cubicBezTo>
                <a:close/>
                <a:moveTo>
                  <a:pt x="2306354" y="2302594"/>
                </a:moveTo>
                <a:lnTo>
                  <a:pt x="2323441" y="2304217"/>
                </a:lnTo>
                <a:cubicBezTo>
                  <a:pt x="2355827" y="2304744"/>
                  <a:pt x="2387719" y="2307725"/>
                  <a:pt x="2418903" y="2313282"/>
                </a:cubicBezTo>
                <a:cubicBezTo>
                  <a:pt x="2424479" y="2312863"/>
                  <a:pt x="2429807" y="2313811"/>
                  <a:pt x="2435115" y="2314821"/>
                </a:cubicBezTo>
                <a:lnTo>
                  <a:pt x="2435233" y="2315969"/>
                </a:lnTo>
                <a:cubicBezTo>
                  <a:pt x="2794083" y="2375367"/>
                  <a:pt x="3075122" y="2656144"/>
                  <a:pt x="3125398" y="3009010"/>
                </a:cubicBezTo>
                <a:cubicBezTo>
                  <a:pt x="3125566" y="3009063"/>
                  <a:pt x="3125735" y="3009068"/>
                  <a:pt x="3125904" y="3009073"/>
                </a:cubicBezTo>
                <a:lnTo>
                  <a:pt x="3126444" y="3015763"/>
                </a:lnTo>
                <a:cubicBezTo>
                  <a:pt x="3131501" y="3046007"/>
                  <a:pt x="3133950" y="3076892"/>
                  <a:pt x="3133908" y="3108220"/>
                </a:cubicBezTo>
                <a:cubicBezTo>
                  <a:pt x="3135220" y="3113850"/>
                  <a:pt x="3135279" y="3119519"/>
                  <a:pt x="3135279" y="3125201"/>
                </a:cubicBezTo>
                <a:cubicBezTo>
                  <a:pt x="3135279" y="3129023"/>
                  <a:pt x="3135252" y="3132839"/>
                  <a:pt x="3134686" y="3136641"/>
                </a:cubicBezTo>
                <a:lnTo>
                  <a:pt x="3134187" y="3136608"/>
                </a:lnTo>
                <a:lnTo>
                  <a:pt x="3134161" y="3137103"/>
                </a:lnTo>
                <a:lnTo>
                  <a:pt x="3117042" y="3135477"/>
                </a:lnTo>
                <a:cubicBezTo>
                  <a:pt x="3084668" y="3134950"/>
                  <a:pt x="3052788" y="3131969"/>
                  <a:pt x="3021616" y="3126415"/>
                </a:cubicBezTo>
                <a:cubicBezTo>
                  <a:pt x="3016039" y="3126834"/>
                  <a:pt x="3010710" y="3125886"/>
                  <a:pt x="3005399" y="3124875"/>
                </a:cubicBezTo>
                <a:lnTo>
                  <a:pt x="3005283" y="3123727"/>
                </a:lnTo>
                <a:cubicBezTo>
                  <a:pt x="2646432" y="3064328"/>
                  <a:pt x="2365393" y="2783551"/>
                  <a:pt x="2315117" y="2430686"/>
                </a:cubicBezTo>
                <a:cubicBezTo>
                  <a:pt x="2314950" y="2430633"/>
                  <a:pt x="2314781" y="2430628"/>
                  <a:pt x="2314612" y="2430623"/>
                </a:cubicBezTo>
                <a:lnTo>
                  <a:pt x="2314074" y="2423947"/>
                </a:lnTo>
                <a:cubicBezTo>
                  <a:pt x="2309015" y="2393697"/>
                  <a:pt x="2306564" y="2362806"/>
                  <a:pt x="2306606" y="2331471"/>
                </a:cubicBezTo>
                <a:cubicBezTo>
                  <a:pt x="2305294" y="2325843"/>
                  <a:pt x="2305236" y="2320176"/>
                  <a:pt x="2305236" y="2314495"/>
                </a:cubicBezTo>
                <a:lnTo>
                  <a:pt x="2305830" y="2303055"/>
                </a:lnTo>
                <a:lnTo>
                  <a:pt x="2306328" y="2303088"/>
                </a:lnTo>
                <a:close/>
                <a:moveTo>
                  <a:pt x="2283603" y="2302594"/>
                </a:moveTo>
                <a:lnTo>
                  <a:pt x="2283629" y="2303088"/>
                </a:lnTo>
                <a:lnTo>
                  <a:pt x="2284127" y="2303055"/>
                </a:lnTo>
                <a:lnTo>
                  <a:pt x="2284721" y="2314495"/>
                </a:lnTo>
                <a:cubicBezTo>
                  <a:pt x="2284721" y="2320176"/>
                  <a:pt x="2284662" y="2325843"/>
                  <a:pt x="2283350" y="2331471"/>
                </a:cubicBezTo>
                <a:cubicBezTo>
                  <a:pt x="2283392" y="2362806"/>
                  <a:pt x="2280942" y="2393697"/>
                  <a:pt x="2275883" y="2423947"/>
                </a:cubicBezTo>
                <a:lnTo>
                  <a:pt x="2275345" y="2430623"/>
                </a:lnTo>
                <a:cubicBezTo>
                  <a:pt x="2275175" y="2430628"/>
                  <a:pt x="2275007" y="2430633"/>
                  <a:pt x="2274839" y="2430686"/>
                </a:cubicBezTo>
                <a:cubicBezTo>
                  <a:pt x="2224564" y="2783551"/>
                  <a:pt x="1943525" y="3064328"/>
                  <a:pt x="1584673" y="3123727"/>
                </a:cubicBezTo>
                <a:lnTo>
                  <a:pt x="1584557" y="3124875"/>
                </a:lnTo>
                <a:cubicBezTo>
                  <a:pt x="1579247" y="3125886"/>
                  <a:pt x="1573918" y="3126834"/>
                  <a:pt x="1568341" y="3126415"/>
                </a:cubicBezTo>
                <a:cubicBezTo>
                  <a:pt x="1537169" y="3131969"/>
                  <a:pt x="1505289" y="3134950"/>
                  <a:pt x="1472914" y="3135477"/>
                </a:cubicBezTo>
                <a:lnTo>
                  <a:pt x="1455796" y="3137103"/>
                </a:lnTo>
                <a:lnTo>
                  <a:pt x="1455770" y="3136608"/>
                </a:lnTo>
                <a:lnTo>
                  <a:pt x="1455271" y="3136641"/>
                </a:lnTo>
                <a:cubicBezTo>
                  <a:pt x="1454705" y="3132839"/>
                  <a:pt x="1454678" y="3129023"/>
                  <a:pt x="1454678" y="3125201"/>
                </a:cubicBezTo>
                <a:cubicBezTo>
                  <a:pt x="1454678" y="3119519"/>
                  <a:pt x="1454736" y="3113850"/>
                  <a:pt x="1456048" y="3108220"/>
                </a:cubicBezTo>
                <a:cubicBezTo>
                  <a:pt x="1456006" y="3076892"/>
                  <a:pt x="1458456" y="3046007"/>
                  <a:pt x="1463513" y="3015763"/>
                </a:cubicBezTo>
                <a:lnTo>
                  <a:pt x="1464053" y="3009073"/>
                </a:lnTo>
                <a:cubicBezTo>
                  <a:pt x="1464221" y="3009068"/>
                  <a:pt x="1464391" y="3009063"/>
                  <a:pt x="1464558" y="3009010"/>
                </a:cubicBezTo>
                <a:cubicBezTo>
                  <a:pt x="1514835" y="2656144"/>
                  <a:pt x="1795874" y="2375367"/>
                  <a:pt x="2154724" y="2315969"/>
                </a:cubicBezTo>
                <a:lnTo>
                  <a:pt x="2154841" y="2314821"/>
                </a:lnTo>
                <a:cubicBezTo>
                  <a:pt x="2160150" y="2313811"/>
                  <a:pt x="2165478" y="2312863"/>
                  <a:pt x="2171054" y="2313282"/>
                </a:cubicBezTo>
                <a:cubicBezTo>
                  <a:pt x="2202237" y="2307725"/>
                  <a:pt x="2234130" y="2304744"/>
                  <a:pt x="2266515" y="2304217"/>
                </a:cubicBezTo>
                <a:close/>
                <a:moveTo>
                  <a:pt x="614203" y="2302594"/>
                </a:moveTo>
                <a:lnTo>
                  <a:pt x="631290" y="2304217"/>
                </a:lnTo>
                <a:cubicBezTo>
                  <a:pt x="663676" y="2304744"/>
                  <a:pt x="695568" y="2307725"/>
                  <a:pt x="726752" y="2313282"/>
                </a:cubicBezTo>
                <a:cubicBezTo>
                  <a:pt x="732328" y="2312863"/>
                  <a:pt x="737656" y="2313811"/>
                  <a:pt x="742964" y="2314821"/>
                </a:cubicBezTo>
                <a:lnTo>
                  <a:pt x="743081" y="2315969"/>
                </a:lnTo>
                <a:cubicBezTo>
                  <a:pt x="1101932" y="2375367"/>
                  <a:pt x="1382971" y="2656144"/>
                  <a:pt x="1433247" y="3009010"/>
                </a:cubicBezTo>
                <a:cubicBezTo>
                  <a:pt x="1433415" y="3009063"/>
                  <a:pt x="1433584" y="3009068"/>
                  <a:pt x="1433753" y="3009073"/>
                </a:cubicBezTo>
                <a:lnTo>
                  <a:pt x="1434293" y="3015763"/>
                </a:lnTo>
                <a:cubicBezTo>
                  <a:pt x="1439350" y="3046007"/>
                  <a:pt x="1441799" y="3076892"/>
                  <a:pt x="1441757" y="3108220"/>
                </a:cubicBezTo>
                <a:cubicBezTo>
                  <a:pt x="1443069" y="3113850"/>
                  <a:pt x="1443128" y="3119519"/>
                  <a:pt x="1443128" y="3125201"/>
                </a:cubicBezTo>
                <a:cubicBezTo>
                  <a:pt x="1443128" y="3129023"/>
                  <a:pt x="1443101" y="3132839"/>
                  <a:pt x="1442535" y="3136641"/>
                </a:cubicBezTo>
                <a:lnTo>
                  <a:pt x="1442036" y="3136608"/>
                </a:lnTo>
                <a:lnTo>
                  <a:pt x="1442010" y="3137103"/>
                </a:lnTo>
                <a:lnTo>
                  <a:pt x="1424891" y="3135477"/>
                </a:lnTo>
                <a:cubicBezTo>
                  <a:pt x="1392517" y="3134950"/>
                  <a:pt x="1360637" y="3131969"/>
                  <a:pt x="1329465" y="3126415"/>
                </a:cubicBezTo>
                <a:cubicBezTo>
                  <a:pt x="1323888" y="3126834"/>
                  <a:pt x="1318559" y="3125886"/>
                  <a:pt x="1313248" y="3124875"/>
                </a:cubicBezTo>
                <a:lnTo>
                  <a:pt x="1313132" y="3123727"/>
                </a:lnTo>
                <a:cubicBezTo>
                  <a:pt x="954281" y="3064328"/>
                  <a:pt x="673242" y="2783551"/>
                  <a:pt x="622966" y="2430686"/>
                </a:cubicBezTo>
                <a:cubicBezTo>
                  <a:pt x="622799" y="2430633"/>
                  <a:pt x="622630" y="2430628"/>
                  <a:pt x="622461" y="2430623"/>
                </a:cubicBezTo>
                <a:lnTo>
                  <a:pt x="621923" y="2423947"/>
                </a:lnTo>
                <a:cubicBezTo>
                  <a:pt x="616864" y="2393697"/>
                  <a:pt x="614413" y="2362806"/>
                  <a:pt x="614455" y="2331471"/>
                </a:cubicBezTo>
                <a:cubicBezTo>
                  <a:pt x="613143" y="2325843"/>
                  <a:pt x="613085" y="2320176"/>
                  <a:pt x="613085" y="2314495"/>
                </a:cubicBezTo>
                <a:lnTo>
                  <a:pt x="613679" y="2303055"/>
                </a:lnTo>
                <a:lnTo>
                  <a:pt x="614177" y="2303088"/>
                </a:lnTo>
                <a:close/>
                <a:moveTo>
                  <a:pt x="591452" y="2302594"/>
                </a:moveTo>
                <a:lnTo>
                  <a:pt x="591478" y="2303088"/>
                </a:lnTo>
                <a:lnTo>
                  <a:pt x="591976" y="2303055"/>
                </a:lnTo>
                <a:lnTo>
                  <a:pt x="592570" y="2314495"/>
                </a:lnTo>
                <a:cubicBezTo>
                  <a:pt x="592570" y="2320176"/>
                  <a:pt x="592511" y="2325843"/>
                  <a:pt x="591199" y="2331471"/>
                </a:cubicBezTo>
                <a:cubicBezTo>
                  <a:pt x="591242" y="2362806"/>
                  <a:pt x="588791" y="2393697"/>
                  <a:pt x="583732" y="2423947"/>
                </a:cubicBezTo>
                <a:lnTo>
                  <a:pt x="583194" y="2430623"/>
                </a:lnTo>
                <a:cubicBezTo>
                  <a:pt x="583024" y="2430628"/>
                  <a:pt x="582856" y="2430633"/>
                  <a:pt x="582689" y="2430686"/>
                </a:cubicBezTo>
                <a:cubicBezTo>
                  <a:pt x="537576" y="2747315"/>
                  <a:pt x="306662" y="3005901"/>
                  <a:pt x="0" y="3097101"/>
                </a:cubicBezTo>
                <a:lnTo>
                  <a:pt x="0" y="2964763"/>
                </a:lnTo>
                <a:cubicBezTo>
                  <a:pt x="229298" y="2881926"/>
                  <a:pt x="402181" y="2686530"/>
                  <a:pt x="449203" y="2447425"/>
                </a:cubicBezTo>
                <a:cubicBezTo>
                  <a:pt x="258971" y="2488309"/>
                  <a:pt x="97576" y="2603574"/>
                  <a:pt x="0" y="2761314"/>
                </a:cubicBezTo>
                <a:lnTo>
                  <a:pt x="0" y="2554520"/>
                </a:lnTo>
                <a:cubicBezTo>
                  <a:pt x="121484" y="2431613"/>
                  <a:pt x="282199" y="2345825"/>
                  <a:pt x="462573" y="2315969"/>
                </a:cubicBezTo>
                <a:lnTo>
                  <a:pt x="462690" y="2314821"/>
                </a:lnTo>
                <a:cubicBezTo>
                  <a:pt x="467999" y="2313811"/>
                  <a:pt x="473327" y="2312863"/>
                  <a:pt x="478903" y="2313282"/>
                </a:cubicBezTo>
                <a:cubicBezTo>
                  <a:pt x="510086" y="2307725"/>
                  <a:pt x="541979" y="2304744"/>
                  <a:pt x="574365" y="2304217"/>
                </a:cubicBezTo>
                <a:close/>
                <a:moveTo>
                  <a:pt x="11452667" y="1608087"/>
                </a:moveTo>
                <a:cubicBezTo>
                  <a:pt x="11177477" y="1666766"/>
                  <a:pt x="10962633" y="1879876"/>
                  <a:pt x="10909358" y="2148655"/>
                </a:cubicBezTo>
                <a:cubicBezTo>
                  <a:pt x="11184548" y="2089976"/>
                  <a:pt x="11399391" y="1876866"/>
                  <a:pt x="11452667" y="1608087"/>
                </a:cubicBezTo>
                <a:close/>
                <a:moveTo>
                  <a:pt x="10058800" y="1608087"/>
                </a:moveTo>
                <a:cubicBezTo>
                  <a:pt x="10112076" y="1876866"/>
                  <a:pt x="10326919" y="2089976"/>
                  <a:pt x="10602109" y="2148655"/>
                </a:cubicBezTo>
                <a:cubicBezTo>
                  <a:pt x="10548834" y="1879876"/>
                  <a:pt x="10333990" y="1666766"/>
                  <a:pt x="10058800" y="1608087"/>
                </a:cubicBezTo>
                <a:close/>
                <a:moveTo>
                  <a:pt x="9760514" y="1608087"/>
                </a:moveTo>
                <a:cubicBezTo>
                  <a:pt x="9485324" y="1666766"/>
                  <a:pt x="9270480" y="1879876"/>
                  <a:pt x="9217205" y="2148655"/>
                </a:cubicBezTo>
                <a:cubicBezTo>
                  <a:pt x="9492395" y="2089976"/>
                  <a:pt x="9707238" y="1876866"/>
                  <a:pt x="9760514" y="1608087"/>
                </a:cubicBezTo>
                <a:close/>
                <a:moveTo>
                  <a:pt x="8366649" y="1608087"/>
                </a:moveTo>
                <a:cubicBezTo>
                  <a:pt x="8419925" y="1876866"/>
                  <a:pt x="8634768" y="2089976"/>
                  <a:pt x="8909958" y="2148655"/>
                </a:cubicBezTo>
                <a:cubicBezTo>
                  <a:pt x="8856683" y="1879876"/>
                  <a:pt x="8641839" y="1666766"/>
                  <a:pt x="8366649" y="1608087"/>
                </a:cubicBezTo>
                <a:close/>
                <a:moveTo>
                  <a:pt x="8068363" y="1608087"/>
                </a:moveTo>
                <a:cubicBezTo>
                  <a:pt x="7793173" y="1666766"/>
                  <a:pt x="7578329" y="1879876"/>
                  <a:pt x="7525054" y="2148655"/>
                </a:cubicBezTo>
                <a:cubicBezTo>
                  <a:pt x="7800244" y="2089976"/>
                  <a:pt x="8015087" y="1876866"/>
                  <a:pt x="8068363" y="1608087"/>
                </a:cubicBezTo>
                <a:close/>
                <a:moveTo>
                  <a:pt x="6674498" y="1608087"/>
                </a:moveTo>
                <a:cubicBezTo>
                  <a:pt x="6727774" y="1876866"/>
                  <a:pt x="6942617" y="2089976"/>
                  <a:pt x="7217807" y="2148655"/>
                </a:cubicBezTo>
                <a:cubicBezTo>
                  <a:pt x="7164532" y="1879876"/>
                  <a:pt x="6949688" y="1666766"/>
                  <a:pt x="6674498" y="1608087"/>
                </a:cubicBezTo>
                <a:close/>
                <a:moveTo>
                  <a:pt x="6376212" y="1608087"/>
                </a:moveTo>
                <a:cubicBezTo>
                  <a:pt x="6101022" y="1666766"/>
                  <a:pt x="5886178" y="1879876"/>
                  <a:pt x="5832903" y="2148655"/>
                </a:cubicBezTo>
                <a:cubicBezTo>
                  <a:pt x="6108093" y="2089976"/>
                  <a:pt x="6322936" y="1876866"/>
                  <a:pt x="6376212" y="1608087"/>
                </a:cubicBezTo>
                <a:close/>
                <a:moveTo>
                  <a:pt x="4982347" y="1608087"/>
                </a:moveTo>
                <a:cubicBezTo>
                  <a:pt x="5035623" y="1876866"/>
                  <a:pt x="5250466" y="2089976"/>
                  <a:pt x="5525656" y="2148655"/>
                </a:cubicBezTo>
                <a:cubicBezTo>
                  <a:pt x="5472381" y="1879876"/>
                  <a:pt x="5257537" y="1666766"/>
                  <a:pt x="4982347" y="1608087"/>
                </a:cubicBezTo>
                <a:close/>
                <a:moveTo>
                  <a:pt x="4684061" y="1608087"/>
                </a:moveTo>
                <a:cubicBezTo>
                  <a:pt x="4408871" y="1666766"/>
                  <a:pt x="4194027" y="1879876"/>
                  <a:pt x="4140752" y="2148655"/>
                </a:cubicBezTo>
                <a:cubicBezTo>
                  <a:pt x="4415942" y="2089976"/>
                  <a:pt x="4630785" y="1876866"/>
                  <a:pt x="4684061" y="1608087"/>
                </a:cubicBezTo>
                <a:close/>
                <a:moveTo>
                  <a:pt x="3290196" y="1608087"/>
                </a:moveTo>
                <a:cubicBezTo>
                  <a:pt x="3343472" y="1876866"/>
                  <a:pt x="3558315" y="2089976"/>
                  <a:pt x="3833505" y="2148655"/>
                </a:cubicBezTo>
                <a:cubicBezTo>
                  <a:pt x="3780230" y="1879876"/>
                  <a:pt x="3565386" y="1666766"/>
                  <a:pt x="3290196" y="1608087"/>
                </a:cubicBezTo>
                <a:close/>
                <a:moveTo>
                  <a:pt x="2991910" y="1608087"/>
                </a:moveTo>
                <a:cubicBezTo>
                  <a:pt x="2716720" y="1666766"/>
                  <a:pt x="2501876" y="1879876"/>
                  <a:pt x="2448601" y="2148655"/>
                </a:cubicBezTo>
                <a:cubicBezTo>
                  <a:pt x="2723791" y="2089976"/>
                  <a:pt x="2938634" y="1876866"/>
                  <a:pt x="2991910" y="1608087"/>
                </a:cubicBezTo>
                <a:close/>
                <a:moveTo>
                  <a:pt x="1598045" y="1608087"/>
                </a:moveTo>
                <a:cubicBezTo>
                  <a:pt x="1651321" y="1876866"/>
                  <a:pt x="1866164" y="2089976"/>
                  <a:pt x="2141354" y="2148655"/>
                </a:cubicBezTo>
                <a:cubicBezTo>
                  <a:pt x="2088079" y="1879876"/>
                  <a:pt x="1873235" y="1666766"/>
                  <a:pt x="1598045" y="1608087"/>
                </a:cubicBezTo>
                <a:close/>
                <a:moveTo>
                  <a:pt x="1299759" y="1608087"/>
                </a:moveTo>
                <a:cubicBezTo>
                  <a:pt x="1024569" y="1666766"/>
                  <a:pt x="809725" y="1879876"/>
                  <a:pt x="756450" y="2148655"/>
                </a:cubicBezTo>
                <a:cubicBezTo>
                  <a:pt x="1031640" y="2089976"/>
                  <a:pt x="1246483" y="1876866"/>
                  <a:pt x="1299759" y="1608087"/>
                </a:cubicBezTo>
                <a:close/>
                <a:moveTo>
                  <a:pt x="0" y="1504081"/>
                </a:moveTo>
                <a:cubicBezTo>
                  <a:pt x="306658" y="1594561"/>
                  <a:pt x="537576" y="1851117"/>
                  <a:pt x="582690" y="2165262"/>
                </a:cubicBezTo>
                <a:cubicBezTo>
                  <a:pt x="582857" y="2165315"/>
                  <a:pt x="583026" y="2165320"/>
                  <a:pt x="583195" y="2165325"/>
                </a:cubicBezTo>
                <a:lnTo>
                  <a:pt x="583735" y="2171962"/>
                </a:lnTo>
                <a:cubicBezTo>
                  <a:pt x="588792" y="2201969"/>
                  <a:pt x="591242" y="2232611"/>
                  <a:pt x="591199" y="2263693"/>
                </a:cubicBezTo>
                <a:cubicBezTo>
                  <a:pt x="592511" y="2269279"/>
                  <a:pt x="592570" y="2274903"/>
                  <a:pt x="592570" y="2280541"/>
                </a:cubicBezTo>
                <a:cubicBezTo>
                  <a:pt x="592570" y="2284333"/>
                  <a:pt x="592543" y="2288119"/>
                  <a:pt x="591977" y="2291891"/>
                </a:cubicBezTo>
                <a:lnTo>
                  <a:pt x="591478" y="2291858"/>
                </a:lnTo>
                <a:lnTo>
                  <a:pt x="591452" y="2292349"/>
                </a:lnTo>
                <a:lnTo>
                  <a:pt x="574334" y="2290736"/>
                </a:lnTo>
                <a:cubicBezTo>
                  <a:pt x="541959" y="2290213"/>
                  <a:pt x="510079" y="2287255"/>
                  <a:pt x="478907" y="2281745"/>
                </a:cubicBezTo>
                <a:cubicBezTo>
                  <a:pt x="473330" y="2282161"/>
                  <a:pt x="468001" y="2281220"/>
                  <a:pt x="462690" y="2280217"/>
                </a:cubicBezTo>
                <a:lnTo>
                  <a:pt x="462574" y="2279078"/>
                </a:lnTo>
                <a:cubicBezTo>
                  <a:pt x="282200" y="2249456"/>
                  <a:pt x="121485" y="2164343"/>
                  <a:pt x="0" y="2042401"/>
                </a:cubicBezTo>
                <a:lnTo>
                  <a:pt x="0" y="1837231"/>
                </a:lnTo>
                <a:cubicBezTo>
                  <a:pt x="97584" y="1993737"/>
                  <a:pt x="258975" y="2108093"/>
                  <a:pt x="449203" y="2148655"/>
                </a:cubicBezTo>
                <a:cubicBezTo>
                  <a:pt x="402182" y="1911427"/>
                  <a:pt x="229297" y="1717565"/>
                  <a:pt x="0" y="1635380"/>
                </a:cubicBezTo>
                <a:close/>
                <a:moveTo>
                  <a:pt x="11608704" y="1464394"/>
                </a:moveTo>
                <a:lnTo>
                  <a:pt x="11625791" y="1466004"/>
                </a:lnTo>
                <a:cubicBezTo>
                  <a:pt x="11658177" y="1466527"/>
                  <a:pt x="11690070" y="1469485"/>
                  <a:pt x="11721253" y="1474998"/>
                </a:cubicBezTo>
                <a:cubicBezTo>
                  <a:pt x="11726829" y="1474582"/>
                  <a:pt x="11732157" y="1475523"/>
                  <a:pt x="11737466" y="1476525"/>
                </a:cubicBezTo>
                <a:lnTo>
                  <a:pt x="11737583" y="1477664"/>
                </a:lnTo>
                <a:cubicBezTo>
                  <a:pt x="11914088" y="1506650"/>
                  <a:pt x="12071767" y="1588774"/>
                  <a:pt x="12192000" y="1706842"/>
                </a:cubicBezTo>
                <a:lnTo>
                  <a:pt x="12192000" y="1906833"/>
                </a:lnTo>
                <a:cubicBezTo>
                  <a:pt x="12093732" y="1756811"/>
                  <a:pt x="11935983" y="1647542"/>
                  <a:pt x="11750953" y="1608088"/>
                </a:cubicBezTo>
                <a:cubicBezTo>
                  <a:pt x="11797422" y="1842524"/>
                  <a:pt x="11966808" y="2034608"/>
                  <a:pt x="12192000" y="2118654"/>
                </a:cubicBezTo>
                <a:lnTo>
                  <a:pt x="12192000" y="2250657"/>
                </a:lnTo>
                <a:cubicBezTo>
                  <a:pt x="11889465" y="2157681"/>
                  <a:pt x="11662185" y="1902872"/>
                  <a:pt x="11617468" y="1591480"/>
                </a:cubicBezTo>
                <a:cubicBezTo>
                  <a:pt x="11617300" y="1591427"/>
                  <a:pt x="11617132" y="1591423"/>
                  <a:pt x="11616962" y="1591418"/>
                </a:cubicBezTo>
                <a:lnTo>
                  <a:pt x="11616424" y="1584794"/>
                </a:lnTo>
                <a:cubicBezTo>
                  <a:pt x="11611365" y="1554782"/>
                  <a:pt x="11608914" y="1524133"/>
                  <a:pt x="11608957" y="1493044"/>
                </a:cubicBezTo>
                <a:cubicBezTo>
                  <a:pt x="11607645" y="1487460"/>
                  <a:pt x="11607586" y="1481838"/>
                  <a:pt x="11607586" y="1476202"/>
                </a:cubicBezTo>
                <a:lnTo>
                  <a:pt x="11608180" y="1464851"/>
                </a:lnTo>
                <a:lnTo>
                  <a:pt x="11608678" y="1464884"/>
                </a:lnTo>
                <a:close/>
                <a:moveTo>
                  <a:pt x="11594916" y="1464394"/>
                </a:moveTo>
                <a:lnTo>
                  <a:pt x="11594942" y="1464884"/>
                </a:lnTo>
                <a:lnTo>
                  <a:pt x="11595440" y="1464852"/>
                </a:lnTo>
                <a:lnTo>
                  <a:pt x="11596034" y="1476202"/>
                </a:lnTo>
                <a:cubicBezTo>
                  <a:pt x="11596034" y="1481838"/>
                  <a:pt x="11595975" y="1487460"/>
                  <a:pt x="11594663" y="1493044"/>
                </a:cubicBezTo>
                <a:cubicBezTo>
                  <a:pt x="11594706" y="1524133"/>
                  <a:pt x="11592255" y="1554782"/>
                  <a:pt x="11587196" y="1584794"/>
                </a:cubicBezTo>
                <a:lnTo>
                  <a:pt x="11586658" y="1591418"/>
                </a:lnTo>
                <a:cubicBezTo>
                  <a:pt x="11586488" y="1591423"/>
                  <a:pt x="11586320" y="1591427"/>
                  <a:pt x="11586152" y="1591480"/>
                </a:cubicBezTo>
                <a:cubicBezTo>
                  <a:pt x="11535877" y="1941574"/>
                  <a:pt x="11254838" y="2220146"/>
                  <a:pt x="10895987" y="2279078"/>
                </a:cubicBezTo>
                <a:lnTo>
                  <a:pt x="10895871" y="2280217"/>
                </a:lnTo>
                <a:cubicBezTo>
                  <a:pt x="10890560" y="2281220"/>
                  <a:pt x="10885231" y="2282161"/>
                  <a:pt x="10879654" y="2281745"/>
                </a:cubicBezTo>
                <a:cubicBezTo>
                  <a:pt x="10848482" y="2287255"/>
                  <a:pt x="10816602" y="2290213"/>
                  <a:pt x="10784227" y="2290736"/>
                </a:cubicBezTo>
                <a:lnTo>
                  <a:pt x="10767109" y="2292349"/>
                </a:lnTo>
                <a:lnTo>
                  <a:pt x="10767083" y="2291858"/>
                </a:lnTo>
                <a:lnTo>
                  <a:pt x="10766584" y="2291891"/>
                </a:lnTo>
                <a:cubicBezTo>
                  <a:pt x="10766018" y="2288119"/>
                  <a:pt x="10765991" y="2284333"/>
                  <a:pt x="10765991" y="2280541"/>
                </a:cubicBezTo>
                <a:cubicBezTo>
                  <a:pt x="10765991" y="2274903"/>
                  <a:pt x="10766050" y="2269279"/>
                  <a:pt x="10767362" y="2263693"/>
                </a:cubicBezTo>
                <a:cubicBezTo>
                  <a:pt x="10767319" y="2232611"/>
                  <a:pt x="10769769" y="2201969"/>
                  <a:pt x="10774826" y="2171962"/>
                </a:cubicBezTo>
                <a:lnTo>
                  <a:pt x="10775366" y="2165325"/>
                </a:lnTo>
                <a:cubicBezTo>
                  <a:pt x="10775535" y="2165320"/>
                  <a:pt x="10775704" y="2165315"/>
                  <a:pt x="10775872" y="2165262"/>
                </a:cubicBezTo>
                <a:cubicBezTo>
                  <a:pt x="10826148" y="1815167"/>
                  <a:pt x="11107187" y="1536596"/>
                  <a:pt x="11466037" y="1477664"/>
                </a:cubicBezTo>
                <a:lnTo>
                  <a:pt x="11466154" y="1476525"/>
                </a:lnTo>
                <a:cubicBezTo>
                  <a:pt x="11471463" y="1475523"/>
                  <a:pt x="11476791" y="1474582"/>
                  <a:pt x="11482367" y="1474998"/>
                </a:cubicBezTo>
                <a:cubicBezTo>
                  <a:pt x="11513550" y="1469485"/>
                  <a:pt x="11545443" y="1466527"/>
                  <a:pt x="11577829" y="1466004"/>
                </a:cubicBezTo>
                <a:close/>
                <a:moveTo>
                  <a:pt x="9916551" y="1464394"/>
                </a:moveTo>
                <a:lnTo>
                  <a:pt x="9933638" y="1466004"/>
                </a:lnTo>
                <a:cubicBezTo>
                  <a:pt x="9966024" y="1466527"/>
                  <a:pt x="9997917" y="1469485"/>
                  <a:pt x="10029100" y="1474998"/>
                </a:cubicBezTo>
                <a:cubicBezTo>
                  <a:pt x="10034676" y="1474582"/>
                  <a:pt x="10040004" y="1475523"/>
                  <a:pt x="10045313" y="1476525"/>
                </a:cubicBezTo>
                <a:lnTo>
                  <a:pt x="10045430" y="1477664"/>
                </a:lnTo>
                <a:cubicBezTo>
                  <a:pt x="10404280" y="1536596"/>
                  <a:pt x="10685319" y="1815167"/>
                  <a:pt x="10735596" y="2165262"/>
                </a:cubicBezTo>
                <a:cubicBezTo>
                  <a:pt x="10735763" y="2165315"/>
                  <a:pt x="10735932" y="2165320"/>
                  <a:pt x="10736101" y="2165325"/>
                </a:cubicBezTo>
                <a:lnTo>
                  <a:pt x="10736641" y="2171962"/>
                </a:lnTo>
                <a:cubicBezTo>
                  <a:pt x="10741698" y="2201969"/>
                  <a:pt x="10744148" y="2232611"/>
                  <a:pt x="10744105" y="2263693"/>
                </a:cubicBezTo>
                <a:cubicBezTo>
                  <a:pt x="10745417" y="2269279"/>
                  <a:pt x="10745476" y="2274903"/>
                  <a:pt x="10745476" y="2280541"/>
                </a:cubicBezTo>
                <a:cubicBezTo>
                  <a:pt x="10745476" y="2284333"/>
                  <a:pt x="10745449" y="2288119"/>
                  <a:pt x="10744883" y="2291891"/>
                </a:cubicBezTo>
                <a:lnTo>
                  <a:pt x="10744384" y="2291858"/>
                </a:lnTo>
                <a:lnTo>
                  <a:pt x="10744358" y="2292349"/>
                </a:lnTo>
                <a:lnTo>
                  <a:pt x="10727240" y="2290736"/>
                </a:lnTo>
                <a:cubicBezTo>
                  <a:pt x="10694865" y="2290213"/>
                  <a:pt x="10662985" y="2287255"/>
                  <a:pt x="10631813" y="2281745"/>
                </a:cubicBezTo>
                <a:cubicBezTo>
                  <a:pt x="10626236" y="2282161"/>
                  <a:pt x="10620907" y="2281220"/>
                  <a:pt x="10615596" y="2280217"/>
                </a:cubicBezTo>
                <a:lnTo>
                  <a:pt x="10615480" y="2279078"/>
                </a:lnTo>
                <a:cubicBezTo>
                  <a:pt x="10256629" y="2220146"/>
                  <a:pt x="9975590" y="1941574"/>
                  <a:pt x="9925315" y="1591480"/>
                </a:cubicBezTo>
                <a:cubicBezTo>
                  <a:pt x="9925147" y="1591427"/>
                  <a:pt x="9924979" y="1591423"/>
                  <a:pt x="9924809" y="1591418"/>
                </a:cubicBezTo>
                <a:lnTo>
                  <a:pt x="9924271" y="1584794"/>
                </a:lnTo>
                <a:cubicBezTo>
                  <a:pt x="9919212" y="1554782"/>
                  <a:pt x="9916761" y="1524133"/>
                  <a:pt x="9916804" y="1493044"/>
                </a:cubicBezTo>
                <a:cubicBezTo>
                  <a:pt x="9915492" y="1487460"/>
                  <a:pt x="9915433" y="1481838"/>
                  <a:pt x="9915433" y="1476202"/>
                </a:cubicBezTo>
                <a:lnTo>
                  <a:pt x="9916027" y="1464852"/>
                </a:lnTo>
                <a:lnTo>
                  <a:pt x="9916525" y="1464884"/>
                </a:lnTo>
                <a:close/>
                <a:moveTo>
                  <a:pt x="9902763" y="1464394"/>
                </a:moveTo>
                <a:lnTo>
                  <a:pt x="9902789" y="1464884"/>
                </a:lnTo>
                <a:lnTo>
                  <a:pt x="9903287" y="1464852"/>
                </a:lnTo>
                <a:lnTo>
                  <a:pt x="9903881" y="1476202"/>
                </a:lnTo>
                <a:cubicBezTo>
                  <a:pt x="9903881" y="1481838"/>
                  <a:pt x="9903822" y="1487460"/>
                  <a:pt x="9902510" y="1493044"/>
                </a:cubicBezTo>
                <a:cubicBezTo>
                  <a:pt x="9902553" y="1524133"/>
                  <a:pt x="9900102" y="1554782"/>
                  <a:pt x="9895043" y="1584794"/>
                </a:cubicBezTo>
                <a:lnTo>
                  <a:pt x="9894505" y="1591418"/>
                </a:lnTo>
                <a:cubicBezTo>
                  <a:pt x="9894335" y="1591423"/>
                  <a:pt x="9894167" y="1591427"/>
                  <a:pt x="9893999" y="1591480"/>
                </a:cubicBezTo>
                <a:cubicBezTo>
                  <a:pt x="9843724" y="1941574"/>
                  <a:pt x="9562685" y="2220146"/>
                  <a:pt x="9203834" y="2279078"/>
                </a:cubicBezTo>
                <a:lnTo>
                  <a:pt x="9203718" y="2280217"/>
                </a:lnTo>
                <a:cubicBezTo>
                  <a:pt x="9198407" y="2281220"/>
                  <a:pt x="9193078" y="2282161"/>
                  <a:pt x="9187501" y="2281745"/>
                </a:cubicBezTo>
                <a:cubicBezTo>
                  <a:pt x="9156329" y="2287255"/>
                  <a:pt x="9124449" y="2290213"/>
                  <a:pt x="9092074" y="2290736"/>
                </a:cubicBezTo>
                <a:lnTo>
                  <a:pt x="9074956" y="2292349"/>
                </a:lnTo>
                <a:lnTo>
                  <a:pt x="9074930" y="2291858"/>
                </a:lnTo>
                <a:lnTo>
                  <a:pt x="9074431" y="2291891"/>
                </a:lnTo>
                <a:cubicBezTo>
                  <a:pt x="9073865" y="2288119"/>
                  <a:pt x="9073838" y="2284333"/>
                  <a:pt x="9073838" y="2280541"/>
                </a:cubicBezTo>
                <a:cubicBezTo>
                  <a:pt x="9073838" y="2274903"/>
                  <a:pt x="9073897" y="2269279"/>
                  <a:pt x="9075209" y="2263693"/>
                </a:cubicBezTo>
                <a:cubicBezTo>
                  <a:pt x="9075166" y="2232611"/>
                  <a:pt x="9077616" y="2201969"/>
                  <a:pt x="9082673" y="2171962"/>
                </a:cubicBezTo>
                <a:lnTo>
                  <a:pt x="9083213" y="2165325"/>
                </a:lnTo>
                <a:cubicBezTo>
                  <a:pt x="9083382" y="2165320"/>
                  <a:pt x="9083551" y="2165315"/>
                  <a:pt x="9083718" y="2165262"/>
                </a:cubicBezTo>
                <a:cubicBezTo>
                  <a:pt x="9133995" y="1815167"/>
                  <a:pt x="9415034" y="1536596"/>
                  <a:pt x="9773884" y="1477664"/>
                </a:cubicBezTo>
                <a:lnTo>
                  <a:pt x="9774001" y="1476525"/>
                </a:lnTo>
                <a:cubicBezTo>
                  <a:pt x="9779310" y="1475523"/>
                  <a:pt x="9784638" y="1474582"/>
                  <a:pt x="9790214" y="1474998"/>
                </a:cubicBezTo>
                <a:cubicBezTo>
                  <a:pt x="9821397" y="1469485"/>
                  <a:pt x="9853290" y="1466527"/>
                  <a:pt x="9885676" y="1466004"/>
                </a:cubicBezTo>
                <a:close/>
                <a:moveTo>
                  <a:pt x="8224400" y="1464394"/>
                </a:moveTo>
                <a:lnTo>
                  <a:pt x="8241488" y="1466004"/>
                </a:lnTo>
                <a:cubicBezTo>
                  <a:pt x="8273873" y="1466527"/>
                  <a:pt x="8305766" y="1469485"/>
                  <a:pt x="8336949" y="1474998"/>
                </a:cubicBezTo>
                <a:cubicBezTo>
                  <a:pt x="8342525" y="1474582"/>
                  <a:pt x="8347853" y="1475523"/>
                  <a:pt x="8353162" y="1476525"/>
                </a:cubicBezTo>
                <a:lnTo>
                  <a:pt x="8353279" y="1477664"/>
                </a:lnTo>
                <a:cubicBezTo>
                  <a:pt x="8712129" y="1536596"/>
                  <a:pt x="8993168" y="1815167"/>
                  <a:pt x="9043444" y="2165262"/>
                </a:cubicBezTo>
                <a:cubicBezTo>
                  <a:pt x="9043612" y="2165315"/>
                  <a:pt x="9043781" y="2165320"/>
                  <a:pt x="9043950" y="2165325"/>
                </a:cubicBezTo>
                <a:lnTo>
                  <a:pt x="9044490" y="2171962"/>
                </a:lnTo>
                <a:cubicBezTo>
                  <a:pt x="9049547" y="2201969"/>
                  <a:pt x="9051997" y="2232611"/>
                  <a:pt x="9051954" y="2263693"/>
                </a:cubicBezTo>
                <a:cubicBezTo>
                  <a:pt x="9053266" y="2269279"/>
                  <a:pt x="9053325" y="2274903"/>
                  <a:pt x="9053325" y="2280541"/>
                </a:cubicBezTo>
                <a:cubicBezTo>
                  <a:pt x="9053325" y="2284333"/>
                  <a:pt x="9053298" y="2288119"/>
                  <a:pt x="9052732" y="2291891"/>
                </a:cubicBezTo>
                <a:lnTo>
                  <a:pt x="9052233" y="2291858"/>
                </a:lnTo>
                <a:lnTo>
                  <a:pt x="9052207" y="2292349"/>
                </a:lnTo>
                <a:lnTo>
                  <a:pt x="9035089" y="2290736"/>
                </a:lnTo>
                <a:cubicBezTo>
                  <a:pt x="9002714" y="2290213"/>
                  <a:pt x="8970834" y="2287255"/>
                  <a:pt x="8939662" y="2281745"/>
                </a:cubicBezTo>
                <a:cubicBezTo>
                  <a:pt x="8934085" y="2282161"/>
                  <a:pt x="8928756" y="2281220"/>
                  <a:pt x="8923445" y="2280217"/>
                </a:cubicBezTo>
                <a:lnTo>
                  <a:pt x="8923329" y="2279078"/>
                </a:lnTo>
                <a:cubicBezTo>
                  <a:pt x="8564478" y="2220146"/>
                  <a:pt x="8283439" y="1941574"/>
                  <a:pt x="8233164" y="1591480"/>
                </a:cubicBezTo>
                <a:cubicBezTo>
                  <a:pt x="8232996" y="1591427"/>
                  <a:pt x="8232828" y="1591423"/>
                  <a:pt x="8232658" y="1591418"/>
                </a:cubicBezTo>
                <a:lnTo>
                  <a:pt x="8232120" y="1584794"/>
                </a:lnTo>
                <a:cubicBezTo>
                  <a:pt x="8227061" y="1554782"/>
                  <a:pt x="8224611" y="1524133"/>
                  <a:pt x="8224653" y="1493044"/>
                </a:cubicBezTo>
                <a:cubicBezTo>
                  <a:pt x="8223341" y="1487460"/>
                  <a:pt x="8223282" y="1481838"/>
                  <a:pt x="8223282" y="1476202"/>
                </a:cubicBezTo>
                <a:lnTo>
                  <a:pt x="8223876" y="1464852"/>
                </a:lnTo>
                <a:lnTo>
                  <a:pt x="8224374" y="1464884"/>
                </a:lnTo>
                <a:close/>
                <a:moveTo>
                  <a:pt x="8210612" y="1464394"/>
                </a:moveTo>
                <a:lnTo>
                  <a:pt x="8210638" y="1464884"/>
                </a:lnTo>
                <a:lnTo>
                  <a:pt x="8211136" y="1464852"/>
                </a:lnTo>
                <a:lnTo>
                  <a:pt x="8211730" y="1476202"/>
                </a:lnTo>
                <a:cubicBezTo>
                  <a:pt x="8211730" y="1481838"/>
                  <a:pt x="8211672" y="1487460"/>
                  <a:pt x="8210360" y="1493044"/>
                </a:cubicBezTo>
                <a:cubicBezTo>
                  <a:pt x="8210402" y="1524133"/>
                  <a:pt x="8207951" y="1554782"/>
                  <a:pt x="8202893" y="1584794"/>
                </a:cubicBezTo>
                <a:lnTo>
                  <a:pt x="8202354" y="1591418"/>
                </a:lnTo>
                <a:cubicBezTo>
                  <a:pt x="8202185" y="1591423"/>
                  <a:pt x="8202016" y="1591427"/>
                  <a:pt x="8201849" y="1591480"/>
                </a:cubicBezTo>
                <a:cubicBezTo>
                  <a:pt x="8151573" y="1941574"/>
                  <a:pt x="7870534" y="2220146"/>
                  <a:pt x="7511683" y="2279078"/>
                </a:cubicBezTo>
                <a:lnTo>
                  <a:pt x="7511567" y="2280217"/>
                </a:lnTo>
                <a:cubicBezTo>
                  <a:pt x="7506256" y="2281220"/>
                  <a:pt x="7500927" y="2282161"/>
                  <a:pt x="7495350" y="2281745"/>
                </a:cubicBezTo>
                <a:cubicBezTo>
                  <a:pt x="7464178" y="2287255"/>
                  <a:pt x="7432298" y="2290213"/>
                  <a:pt x="7399924" y="2290736"/>
                </a:cubicBezTo>
                <a:lnTo>
                  <a:pt x="7382805" y="2292349"/>
                </a:lnTo>
                <a:lnTo>
                  <a:pt x="7382779" y="2291858"/>
                </a:lnTo>
                <a:lnTo>
                  <a:pt x="7382280" y="2291891"/>
                </a:lnTo>
                <a:cubicBezTo>
                  <a:pt x="7381714" y="2288119"/>
                  <a:pt x="7381687" y="2284333"/>
                  <a:pt x="7381687" y="2280541"/>
                </a:cubicBezTo>
                <a:cubicBezTo>
                  <a:pt x="7381687" y="2274903"/>
                  <a:pt x="7381746" y="2269279"/>
                  <a:pt x="7383058" y="2263693"/>
                </a:cubicBezTo>
                <a:cubicBezTo>
                  <a:pt x="7383016" y="2232611"/>
                  <a:pt x="7385465" y="2201969"/>
                  <a:pt x="7390522" y="2171962"/>
                </a:cubicBezTo>
                <a:lnTo>
                  <a:pt x="7391062" y="2165325"/>
                </a:lnTo>
                <a:cubicBezTo>
                  <a:pt x="7391231" y="2165320"/>
                  <a:pt x="7391400" y="2165315"/>
                  <a:pt x="7391568" y="2165262"/>
                </a:cubicBezTo>
                <a:cubicBezTo>
                  <a:pt x="7441844" y="1815167"/>
                  <a:pt x="7722883" y="1536596"/>
                  <a:pt x="8081734" y="1477664"/>
                </a:cubicBezTo>
                <a:lnTo>
                  <a:pt x="8081851" y="1476525"/>
                </a:lnTo>
                <a:cubicBezTo>
                  <a:pt x="8087159" y="1475523"/>
                  <a:pt x="8092487" y="1474582"/>
                  <a:pt x="8098063" y="1474998"/>
                </a:cubicBezTo>
                <a:cubicBezTo>
                  <a:pt x="8129247" y="1469485"/>
                  <a:pt x="8161139" y="1466527"/>
                  <a:pt x="8193525" y="1466004"/>
                </a:cubicBezTo>
                <a:close/>
                <a:moveTo>
                  <a:pt x="6532249" y="1464394"/>
                </a:moveTo>
                <a:lnTo>
                  <a:pt x="6549337" y="1466004"/>
                </a:lnTo>
                <a:cubicBezTo>
                  <a:pt x="6581722" y="1466527"/>
                  <a:pt x="6613615" y="1469485"/>
                  <a:pt x="6644798" y="1474998"/>
                </a:cubicBezTo>
                <a:cubicBezTo>
                  <a:pt x="6650374" y="1474582"/>
                  <a:pt x="6655702" y="1475523"/>
                  <a:pt x="6661011" y="1476525"/>
                </a:cubicBezTo>
                <a:lnTo>
                  <a:pt x="6661128" y="1477664"/>
                </a:lnTo>
                <a:cubicBezTo>
                  <a:pt x="7019978" y="1536596"/>
                  <a:pt x="7301017" y="1815167"/>
                  <a:pt x="7351294" y="2165262"/>
                </a:cubicBezTo>
                <a:cubicBezTo>
                  <a:pt x="7351461" y="2165315"/>
                  <a:pt x="7351631" y="2165320"/>
                  <a:pt x="7351799" y="2165325"/>
                </a:cubicBezTo>
                <a:lnTo>
                  <a:pt x="7352340" y="2171962"/>
                </a:lnTo>
                <a:cubicBezTo>
                  <a:pt x="7357396" y="2201969"/>
                  <a:pt x="7359846" y="2232611"/>
                  <a:pt x="7359804" y="2263693"/>
                </a:cubicBezTo>
                <a:cubicBezTo>
                  <a:pt x="7361116" y="2269279"/>
                  <a:pt x="7361174" y="2274903"/>
                  <a:pt x="7361174" y="2280541"/>
                </a:cubicBezTo>
                <a:cubicBezTo>
                  <a:pt x="7361174" y="2284333"/>
                  <a:pt x="7361147" y="2288119"/>
                  <a:pt x="7360581" y="2291891"/>
                </a:cubicBezTo>
                <a:lnTo>
                  <a:pt x="7360082" y="2291858"/>
                </a:lnTo>
                <a:lnTo>
                  <a:pt x="7360056" y="2292349"/>
                </a:lnTo>
                <a:lnTo>
                  <a:pt x="7342938" y="2290736"/>
                </a:lnTo>
                <a:cubicBezTo>
                  <a:pt x="7310564" y="2290213"/>
                  <a:pt x="7278683" y="2287255"/>
                  <a:pt x="7247511" y="2281745"/>
                </a:cubicBezTo>
                <a:cubicBezTo>
                  <a:pt x="7241934" y="2282161"/>
                  <a:pt x="7236605" y="2281220"/>
                  <a:pt x="7231295" y="2280217"/>
                </a:cubicBezTo>
                <a:lnTo>
                  <a:pt x="7231179" y="2279078"/>
                </a:lnTo>
                <a:cubicBezTo>
                  <a:pt x="6872327" y="2220146"/>
                  <a:pt x="6591288" y="1941574"/>
                  <a:pt x="6541013" y="1591480"/>
                </a:cubicBezTo>
                <a:cubicBezTo>
                  <a:pt x="6540845" y="1591427"/>
                  <a:pt x="6540677" y="1591423"/>
                  <a:pt x="6540507" y="1591418"/>
                </a:cubicBezTo>
                <a:lnTo>
                  <a:pt x="6539969" y="1584794"/>
                </a:lnTo>
                <a:cubicBezTo>
                  <a:pt x="6534910" y="1554782"/>
                  <a:pt x="6532460" y="1524133"/>
                  <a:pt x="6532502" y="1493044"/>
                </a:cubicBezTo>
                <a:cubicBezTo>
                  <a:pt x="6531190" y="1487460"/>
                  <a:pt x="6531131" y="1481838"/>
                  <a:pt x="6531131" y="1476202"/>
                </a:cubicBezTo>
                <a:lnTo>
                  <a:pt x="6531725" y="1464852"/>
                </a:lnTo>
                <a:lnTo>
                  <a:pt x="6532223" y="1464884"/>
                </a:lnTo>
                <a:close/>
                <a:moveTo>
                  <a:pt x="6518461" y="1464394"/>
                </a:moveTo>
                <a:lnTo>
                  <a:pt x="6518487" y="1464884"/>
                </a:lnTo>
                <a:lnTo>
                  <a:pt x="6518985" y="1464852"/>
                </a:lnTo>
                <a:lnTo>
                  <a:pt x="6519579" y="1476202"/>
                </a:lnTo>
                <a:cubicBezTo>
                  <a:pt x="6519579" y="1481838"/>
                  <a:pt x="6519520" y="1487460"/>
                  <a:pt x="6518208" y="1493044"/>
                </a:cubicBezTo>
                <a:cubicBezTo>
                  <a:pt x="6518250" y="1524133"/>
                  <a:pt x="6515800" y="1554782"/>
                  <a:pt x="6510741" y="1584794"/>
                </a:cubicBezTo>
                <a:lnTo>
                  <a:pt x="6510203" y="1591418"/>
                </a:lnTo>
                <a:cubicBezTo>
                  <a:pt x="6510033" y="1591423"/>
                  <a:pt x="6509865" y="1591427"/>
                  <a:pt x="6509697" y="1591480"/>
                </a:cubicBezTo>
                <a:cubicBezTo>
                  <a:pt x="6459422" y="1941574"/>
                  <a:pt x="6178383" y="2220146"/>
                  <a:pt x="5819531" y="2279078"/>
                </a:cubicBezTo>
                <a:lnTo>
                  <a:pt x="5819415" y="2280217"/>
                </a:lnTo>
                <a:cubicBezTo>
                  <a:pt x="5814105" y="2281220"/>
                  <a:pt x="5808776" y="2282161"/>
                  <a:pt x="5803199" y="2281745"/>
                </a:cubicBezTo>
                <a:cubicBezTo>
                  <a:pt x="5772027" y="2287255"/>
                  <a:pt x="5740146" y="2290213"/>
                  <a:pt x="5707772" y="2290736"/>
                </a:cubicBezTo>
                <a:lnTo>
                  <a:pt x="5690654" y="2292349"/>
                </a:lnTo>
                <a:lnTo>
                  <a:pt x="5690628" y="2291858"/>
                </a:lnTo>
                <a:lnTo>
                  <a:pt x="5690129" y="2291891"/>
                </a:lnTo>
                <a:cubicBezTo>
                  <a:pt x="5689563" y="2288119"/>
                  <a:pt x="5689536" y="2284333"/>
                  <a:pt x="5689536" y="2280541"/>
                </a:cubicBezTo>
                <a:cubicBezTo>
                  <a:pt x="5689536" y="2274903"/>
                  <a:pt x="5689594" y="2269279"/>
                  <a:pt x="5690906" y="2263693"/>
                </a:cubicBezTo>
                <a:cubicBezTo>
                  <a:pt x="5690864" y="2232611"/>
                  <a:pt x="5693314" y="2201969"/>
                  <a:pt x="5698370" y="2171962"/>
                </a:cubicBezTo>
                <a:lnTo>
                  <a:pt x="5698911" y="2165325"/>
                </a:lnTo>
                <a:cubicBezTo>
                  <a:pt x="5699079" y="2165320"/>
                  <a:pt x="5699249" y="2165315"/>
                  <a:pt x="5699416" y="2165262"/>
                </a:cubicBezTo>
                <a:cubicBezTo>
                  <a:pt x="5749693" y="1815167"/>
                  <a:pt x="6030732" y="1536596"/>
                  <a:pt x="6389582" y="1477664"/>
                </a:cubicBezTo>
                <a:lnTo>
                  <a:pt x="6389699" y="1476525"/>
                </a:lnTo>
                <a:cubicBezTo>
                  <a:pt x="6395008" y="1475523"/>
                  <a:pt x="6400336" y="1474582"/>
                  <a:pt x="6405912" y="1474998"/>
                </a:cubicBezTo>
                <a:cubicBezTo>
                  <a:pt x="6437095" y="1469485"/>
                  <a:pt x="6468988" y="1466527"/>
                  <a:pt x="6501373" y="1466004"/>
                </a:cubicBezTo>
                <a:close/>
                <a:moveTo>
                  <a:pt x="4840098" y="1464394"/>
                </a:moveTo>
                <a:lnTo>
                  <a:pt x="4857185" y="1466004"/>
                </a:lnTo>
                <a:cubicBezTo>
                  <a:pt x="4889571" y="1466527"/>
                  <a:pt x="4921463" y="1469485"/>
                  <a:pt x="4952647" y="1474998"/>
                </a:cubicBezTo>
                <a:cubicBezTo>
                  <a:pt x="4958223" y="1474582"/>
                  <a:pt x="4963551" y="1475523"/>
                  <a:pt x="4968859" y="1476525"/>
                </a:cubicBezTo>
                <a:lnTo>
                  <a:pt x="4968976" y="1477664"/>
                </a:lnTo>
                <a:cubicBezTo>
                  <a:pt x="5327827" y="1536596"/>
                  <a:pt x="5608866" y="1815167"/>
                  <a:pt x="5659142" y="2165262"/>
                </a:cubicBezTo>
                <a:cubicBezTo>
                  <a:pt x="5659310" y="2165315"/>
                  <a:pt x="5659479" y="2165320"/>
                  <a:pt x="5659648" y="2165325"/>
                </a:cubicBezTo>
                <a:lnTo>
                  <a:pt x="5660188" y="2171962"/>
                </a:lnTo>
                <a:cubicBezTo>
                  <a:pt x="5665245" y="2201969"/>
                  <a:pt x="5667694" y="2232611"/>
                  <a:pt x="5667652" y="2263693"/>
                </a:cubicBezTo>
                <a:cubicBezTo>
                  <a:pt x="5668964" y="2269279"/>
                  <a:pt x="5669023" y="2274903"/>
                  <a:pt x="5669023" y="2280541"/>
                </a:cubicBezTo>
                <a:cubicBezTo>
                  <a:pt x="5669023" y="2284333"/>
                  <a:pt x="5668996" y="2288119"/>
                  <a:pt x="5668430" y="2291891"/>
                </a:cubicBezTo>
                <a:lnTo>
                  <a:pt x="5667931" y="2291858"/>
                </a:lnTo>
                <a:lnTo>
                  <a:pt x="5667905" y="2292349"/>
                </a:lnTo>
                <a:lnTo>
                  <a:pt x="5650786" y="2290736"/>
                </a:lnTo>
                <a:cubicBezTo>
                  <a:pt x="5618412" y="2290213"/>
                  <a:pt x="5586532" y="2287255"/>
                  <a:pt x="5555360" y="2281745"/>
                </a:cubicBezTo>
                <a:cubicBezTo>
                  <a:pt x="5549783" y="2282161"/>
                  <a:pt x="5544454" y="2281220"/>
                  <a:pt x="5539143" y="2280217"/>
                </a:cubicBezTo>
                <a:lnTo>
                  <a:pt x="5539027" y="2279078"/>
                </a:lnTo>
                <a:cubicBezTo>
                  <a:pt x="5180176" y="2220146"/>
                  <a:pt x="4899137" y="1941574"/>
                  <a:pt x="4848861" y="1591480"/>
                </a:cubicBezTo>
                <a:cubicBezTo>
                  <a:pt x="4848694" y="1591427"/>
                  <a:pt x="4848525" y="1591423"/>
                  <a:pt x="4848356" y="1591418"/>
                </a:cubicBezTo>
                <a:lnTo>
                  <a:pt x="4847817" y="1584794"/>
                </a:lnTo>
                <a:cubicBezTo>
                  <a:pt x="4842759" y="1554782"/>
                  <a:pt x="4840308" y="1524133"/>
                  <a:pt x="4840350" y="1493044"/>
                </a:cubicBezTo>
                <a:cubicBezTo>
                  <a:pt x="4839038" y="1487460"/>
                  <a:pt x="4838980" y="1481838"/>
                  <a:pt x="4838980" y="1476202"/>
                </a:cubicBezTo>
                <a:lnTo>
                  <a:pt x="4839574" y="1464852"/>
                </a:lnTo>
                <a:lnTo>
                  <a:pt x="4840072" y="1464884"/>
                </a:lnTo>
                <a:close/>
                <a:moveTo>
                  <a:pt x="4826310" y="1464394"/>
                </a:moveTo>
                <a:lnTo>
                  <a:pt x="4826336" y="1464884"/>
                </a:lnTo>
                <a:lnTo>
                  <a:pt x="4826834" y="1464852"/>
                </a:lnTo>
                <a:lnTo>
                  <a:pt x="4827428" y="1476202"/>
                </a:lnTo>
                <a:cubicBezTo>
                  <a:pt x="4827428" y="1481838"/>
                  <a:pt x="4827369" y="1487460"/>
                  <a:pt x="4826057" y="1493044"/>
                </a:cubicBezTo>
                <a:cubicBezTo>
                  <a:pt x="4826099" y="1524133"/>
                  <a:pt x="4823649" y="1554782"/>
                  <a:pt x="4818590" y="1584794"/>
                </a:cubicBezTo>
                <a:lnTo>
                  <a:pt x="4818052" y="1591418"/>
                </a:lnTo>
                <a:cubicBezTo>
                  <a:pt x="4817882" y="1591423"/>
                  <a:pt x="4817714" y="1591427"/>
                  <a:pt x="4817546" y="1591480"/>
                </a:cubicBezTo>
                <a:cubicBezTo>
                  <a:pt x="4767271" y="1941574"/>
                  <a:pt x="4486232" y="2220146"/>
                  <a:pt x="4127381" y="2279078"/>
                </a:cubicBezTo>
                <a:lnTo>
                  <a:pt x="4127264" y="2280217"/>
                </a:lnTo>
                <a:cubicBezTo>
                  <a:pt x="4121954" y="2281220"/>
                  <a:pt x="4116625" y="2282161"/>
                  <a:pt x="4111048" y="2281745"/>
                </a:cubicBezTo>
                <a:cubicBezTo>
                  <a:pt x="4079876" y="2287255"/>
                  <a:pt x="4047996" y="2290213"/>
                  <a:pt x="4015621" y="2290736"/>
                </a:cubicBezTo>
                <a:lnTo>
                  <a:pt x="3998503" y="2292349"/>
                </a:lnTo>
                <a:lnTo>
                  <a:pt x="3998477" y="2291858"/>
                </a:lnTo>
                <a:lnTo>
                  <a:pt x="3997978" y="2291891"/>
                </a:lnTo>
                <a:cubicBezTo>
                  <a:pt x="3997412" y="2288119"/>
                  <a:pt x="3997385" y="2284333"/>
                  <a:pt x="3997385" y="2280541"/>
                </a:cubicBezTo>
                <a:cubicBezTo>
                  <a:pt x="3997385" y="2274903"/>
                  <a:pt x="3997443" y="2269279"/>
                  <a:pt x="3998755" y="2263693"/>
                </a:cubicBezTo>
                <a:cubicBezTo>
                  <a:pt x="3998713" y="2232611"/>
                  <a:pt x="4001163" y="2201969"/>
                  <a:pt x="4006219" y="2171962"/>
                </a:cubicBezTo>
                <a:lnTo>
                  <a:pt x="4006760" y="2165325"/>
                </a:lnTo>
                <a:cubicBezTo>
                  <a:pt x="4006928" y="2165320"/>
                  <a:pt x="4007098" y="2165315"/>
                  <a:pt x="4007265" y="2165262"/>
                </a:cubicBezTo>
                <a:cubicBezTo>
                  <a:pt x="4057542" y="1815167"/>
                  <a:pt x="4338581" y="1536596"/>
                  <a:pt x="4697431" y="1477664"/>
                </a:cubicBezTo>
                <a:lnTo>
                  <a:pt x="4697548" y="1476525"/>
                </a:lnTo>
                <a:cubicBezTo>
                  <a:pt x="4702857" y="1475523"/>
                  <a:pt x="4708185" y="1474582"/>
                  <a:pt x="4713761" y="1474998"/>
                </a:cubicBezTo>
                <a:cubicBezTo>
                  <a:pt x="4744944" y="1469485"/>
                  <a:pt x="4776837" y="1466527"/>
                  <a:pt x="4809222" y="1466004"/>
                </a:cubicBezTo>
                <a:close/>
                <a:moveTo>
                  <a:pt x="3147947" y="1464394"/>
                </a:moveTo>
                <a:lnTo>
                  <a:pt x="3165034" y="1466004"/>
                </a:lnTo>
                <a:cubicBezTo>
                  <a:pt x="3197420" y="1466527"/>
                  <a:pt x="3229312" y="1469485"/>
                  <a:pt x="3260496" y="1474998"/>
                </a:cubicBezTo>
                <a:cubicBezTo>
                  <a:pt x="3266072" y="1474582"/>
                  <a:pt x="3271400" y="1475523"/>
                  <a:pt x="3276708" y="1476525"/>
                </a:cubicBezTo>
                <a:lnTo>
                  <a:pt x="3276826" y="1477664"/>
                </a:lnTo>
                <a:cubicBezTo>
                  <a:pt x="3635676" y="1536596"/>
                  <a:pt x="3916715" y="1815167"/>
                  <a:pt x="3966991" y="2165262"/>
                </a:cubicBezTo>
                <a:cubicBezTo>
                  <a:pt x="3967159" y="2165315"/>
                  <a:pt x="3967328" y="2165320"/>
                  <a:pt x="3967497" y="2165325"/>
                </a:cubicBezTo>
                <a:lnTo>
                  <a:pt x="3968037" y="2171962"/>
                </a:lnTo>
                <a:cubicBezTo>
                  <a:pt x="3973094" y="2201969"/>
                  <a:pt x="3975543" y="2232611"/>
                  <a:pt x="3975501" y="2263693"/>
                </a:cubicBezTo>
                <a:cubicBezTo>
                  <a:pt x="3976813" y="2269279"/>
                  <a:pt x="3976872" y="2274903"/>
                  <a:pt x="3976872" y="2280541"/>
                </a:cubicBezTo>
                <a:cubicBezTo>
                  <a:pt x="3976872" y="2284333"/>
                  <a:pt x="3976845" y="2288119"/>
                  <a:pt x="3976279" y="2291891"/>
                </a:cubicBezTo>
                <a:lnTo>
                  <a:pt x="3975780" y="2291858"/>
                </a:lnTo>
                <a:lnTo>
                  <a:pt x="3975754" y="2292349"/>
                </a:lnTo>
                <a:lnTo>
                  <a:pt x="3958635" y="2290736"/>
                </a:lnTo>
                <a:cubicBezTo>
                  <a:pt x="3926261" y="2290213"/>
                  <a:pt x="3894381" y="2287255"/>
                  <a:pt x="3863209" y="2281745"/>
                </a:cubicBezTo>
                <a:cubicBezTo>
                  <a:pt x="3857632" y="2282161"/>
                  <a:pt x="3852303" y="2281220"/>
                  <a:pt x="3846992" y="2280217"/>
                </a:cubicBezTo>
                <a:lnTo>
                  <a:pt x="3846876" y="2279078"/>
                </a:lnTo>
                <a:cubicBezTo>
                  <a:pt x="3488025" y="2220146"/>
                  <a:pt x="3206986" y="1941574"/>
                  <a:pt x="3156710" y="1591480"/>
                </a:cubicBezTo>
                <a:cubicBezTo>
                  <a:pt x="3156543" y="1591427"/>
                  <a:pt x="3156374" y="1591423"/>
                  <a:pt x="3156205" y="1591418"/>
                </a:cubicBezTo>
                <a:lnTo>
                  <a:pt x="3155667" y="1584794"/>
                </a:lnTo>
                <a:cubicBezTo>
                  <a:pt x="3150608" y="1554782"/>
                  <a:pt x="3148157" y="1524133"/>
                  <a:pt x="3148199" y="1493044"/>
                </a:cubicBezTo>
                <a:cubicBezTo>
                  <a:pt x="3146887" y="1487460"/>
                  <a:pt x="3146829" y="1481838"/>
                  <a:pt x="3146829" y="1476202"/>
                </a:cubicBezTo>
                <a:lnTo>
                  <a:pt x="3147423" y="1464852"/>
                </a:lnTo>
                <a:lnTo>
                  <a:pt x="3147921" y="1464884"/>
                </a:lnTo>
                <a:close/>
                <a:moveTo>
                  <a:pt x="3134159" y="1464394"/>
                </a:moveTo>
                <a:lnTo>
                  <a:pt x="3134185" y="1464884"/>
                </a:lnTo>
                <a:lnTo>
                  <a:pt x="3134683" y="1464852"/>
                </a:lnTo>
                <a:lnTo>
                  <a:pt x="3135277" y="1476202"/>
                </a:lnTo>
                <a:cubicBezTo>
                  <a:pt x="3135277" y="1481838"/>
                  <a:pt x="3135218" y="1487460"/>
                  <a:pt x="3133906" y="1493044"/>
                </a:cubicBezTo>
                <a:cubicBezTo>
                  <a:pt x="3133948" y="1524133"/>
                  <a:pt x="3131498" y="1554782"/>
                  <a:pt x="3126439" y="1584794"/>
                </a:cubicBezTo>
                <a:lnTo>
                  <a:pt x="3125901" y="1591418"/>
                </a:lnTo>
                <a:cubicBezTo>
                  <a:pt x="3125731" y="1591423"/>
                  <a:pt x="3125563" y="1591427"/>
                  <a:pt x="3125395" y="1591480"/>
                </a:cubicBezTo>
                <a:cubicBezTo>
                  <a:pt x="3075120" y="1941574"/>
                  <a:pt x="2794081" y="2220146"/>
                  <a:pt x="2435230" y="2279078"/>
                </a:cubicBezTo>
                <a:lnTo>
                  <a:pt x="2435113" y="2280217"/>
                </a:lnTo>
                <a:cubicBezTo>
                  <a:pt x="2429803" y="2281220"/>
                  <a:pt x="2424474" y="2282161"/>
                  <a:pt x="2418897" y="2281745"/>
                </a:cubicBezTo>
                <a:cubicBezTo>
                  <a:pt x="2387725" y="2287255"/>
                  <a:pt x="2355845" y="2290213"/>
                  <a:pt x="2323470" y="2290736"/>
                </a:cubicBezTo>
                <a:lnTo>
                  <a:pt x="2306352" y="2292349"/>
                </a:lnTo>
                <a:lnTo>
                  <a:pt x="2306326" y="2291858"/>
                </a:lnTo>
                <a:lnTo>
                  <a:pt x="2305827" y="2291891"/>
                </a:lnTo>
                <a:cubicBezTo>
                  <a:pt x="2305261" y="2288119"/>
                  <a:pt x="2305234" y="2284333"/>
                  <a:pt x="2305234" y="2280541"/>
                </a:cubicBezTo>
                <a:cubicBezTo>
                  <a:pt x="2305234" y="2274903"/>
                  <a:pt x="2305292" y="2269279"/>
                  <a:pt x="2306604" y="2263693"/>
                </a:cubicBezTo>
                <a:cubicBezTo>
                  <a:pt x="2306562" y="2232611"/>
                  <a:pt x="2309012" y="2201969"/>
                  <a:pt x="2314068" y="2171962"/>
                </a:cubicBezTo>
                <a:lnTo>
                  <a:pt x="2314609" y="2165325"/>
                </a:lnTo>
                <a:cubicBezTo>
                  <a:pt x="2314777" y="2165320"/>
                  <a:pt x="2314947" y="2165315"/>
                  <a:pt x="2315114" y="2165262"/>
                </a:cubicBezTo>
                <a:cubicBezTo>
                  <a:pt x="2365391" y="1815167"/>
                  <a:pt x="2646430" y="1536596"/>
                  <a:pt x="3005280" y="1477664"/>
                </a:cubicBezTo>
                <a:lnTo>
                  <a:pt x="3005397" y="1476525"/>
                </a:lnTo>
                <a:cubicBezTo>
                  <a:pt x="3010706" y="1475523"/>
                  <a:pt x="3016034" y="1474582"/>
                  <a:pt x="3021610" y="1474998"/>
                </a:cubicBezTo>
                <a:cubicBezTo>
                  <a:pt x="3052793" y="1469485"/>
                  <a:pt x="3084686" y="1466527"/>
                  <a:pt x="3117071" y="1466004"/>
                </a:cubicBezTo>
                <a:close/>
                <a:moveTo>
                  <a:pt x="1455796" y="1464394"/>
                </a:moveTo>
                <a:lnTo>
                  <a:pt x="1472883" y="1466004"/>
                </a:lnTo>
                <a:cubicBezTo>
                  <a:pt x="1505269" y="1466527"/>
                  <a:pt x="1537161" y="1469485"/>
                  <a:pt x="1568345" y="1474998"/>
                </a:cubicBezTo>
                <a:cubicBezTo>
                  <a:pt x="1573921" y="1474582"/>
                  <a:pt x="1579249" y="1475523"/>
                  <a:pt x="1584557" y="1476525"/>
                </a:cubicBezTo>
                <a:lnTo>
                  <a:pt x="1584675" y="1477664"/>
                </a:lnTo>
                <a:cubicBezTo>
                  <a:pt x="1943525" y="1536596"/>
                  <a:pt x="2224564" y="1815167"/>
                  <a:pt x="2274840" y="2165262"/>
                </a:cubicBezTo>
                <a:cubicBezTo>
                  <a:pt x="2275008" y="2165315"/>
                  <a:pt x="2275177" y="2165320"/>
                  <a:pt x="2275346" y="2165325"/>
                </a:cubicBezTo>
                <a:lnTo>
                  <a:pt x="2275886" y="2171962"/>
                </a:lnTo>
                <a:cubicBezTo>
                  <a:pt x="2280943" y="2201969"/>
                  <a:pt x="2283392" y="2232611"/>
                  <a:pt x="2283350" y="2263693"/>
                </a:cubicBezTo>
                <a:cubicBezTo>
                  <a:pt x="2284662" y="2269279"/>
                  <a:pt x="2284721" y="2274903"/>
                  <a:pt x="2284721" y="2280541"/>
                </a:cubicBezTo>
                <a:cubicBezTo>
                  <a:pt x="2284721" y="2284333"/>
                  <a:pt x="2284694" y="2288119"/>
                  <a:pt x="2284128" y="2291891"/>
                </a:cubicBezTo>
                <a:lnTo>
                  <a:pt x="2283629" y="2291858"/>
                </a:lnTo>
                <a:lnTo>
                  <a:pt x="2283603" y="2292349"/>
                </a:lnTo>
                <a:lnTo>
                  <a:pt x="2266484" y="2290736"/>
                </a:lnTo>
                <a:cubicBezTo>
                  <a:pt x="2234110" y="2290213"/>
                  <a:pt x="2202230" y="2287255"/>
                  <a:pt x="2171058" y="2281745"/>
                </a:cubicBezTo>
                <a:cubicBezTo>
                  <a:pt x="2165481" y="2282161"/>
                  <a:pt x="2160152" y="2281220"/>
                  <a:pt x="2154841" y="2280217"/>
                </a:cubicBezTo>
                <a:lnTo>
                  <a:pt x="2154725" y="2279078"/>
                </a:lnTo>
                <a:cubicBezTo>
                  <a:pt x="1795874" y="2220146"/>
                  <a:pt x="1514835" y="1941574"/>
                  <a:pt x="1464559" y="1591480"/>
                </a:cubicBezTo>
                <a:cubicBezTo>
                  <a:pt x="1464392" y="1591427"/>
                  <a:pt x="1464223" y="1591423"/>
                  <a:pt x="1464054" y="1591418"/>
                </a:cubicBezTo>
                <a:lnTo>
                  <a:pt x="1463515" y="1584794"/>
                </a:lnTo>
                <a:cubicBezTo>
                  <a:pt x="1458457" y="1554782"/>
                  <a:pt x="1456006" y="1524133"/>
                  <a:pt x="1456048" y="1493044"/>
                </a:cubicBezTo>
                <a:cubicBezTo>
                  <a:pt x="1454736" y="1487460"/>
                  <a:pt x="1454678" y="1481838"/>
                  <a:pt x="1454678" y="1476202"/>
                </a:cubicBezTo>
                <a:lnTo>
                  <a:pt x="1455272" y="1464852"/>
                </a:lnTo>
                <a:lnTo>
                  <a:pt x="1455770" y="1464884"/>
                </a:lnTo>
                <a:close/>
                <a:moveTo>
                  <a:pt x="1442008" y="1464394"/>
                </a:moveTo>
                <a:lnTo>
                  <a:pt x="1442034" y="1464884"/>
                </a:lnTo>
                <a:lnTo>
                  <a:pt x="1442532" y="1464852"/>
                </a:lnTo>
                <a:lnTo>
                  <a:pt x="1443126" y="1476202"/>
                </a:lnTo>
                <a:cubicBezTo>
                  <a:pt x="1443126" y="1481838"/>
                  <a:pt x="1443067" y="1487460"/>
                  <a:pt x="1441755" y="1493044"/>
                </a:cubicBezTo>
                <a:cubicBezTo>
                  <a:pt x="1441797" y="1524133"/>
                  <a:pt x="1439347" y="1554782"/>
                  <a:pt x="1434288" y="1584794"/>
                </a:cubicBezTo>
                <a:lnTo>
                  <a:pt x="1433750" y="1591418"/>
                </a:lnTo>
                <a:cubicBezTo>
                  <a:pt x="1433580" y="1591423"/>
                  <a:pt x="1433412" y="1591427"/>
                  <a:pt x="1433244" y="1591480"/>
                </a:cubicBezTo>
                <a:cubicBezTo>
                  <a:pt x="1382969" y="1941574"/>
                  <a:pt x="1101930" y="2220146"/>
                  <a:pt x="743079" y="2279078"/>
                </a:cubicBezTo>
                <a:lnTo>
                  <a:pt x="742962" y="2280217"/>
                </a:lnTo>
                <a:cubicBezTo>
                  <a:pt x="737652" y="2281220"/>
                  <a:pt x="732323" y="2282161"/>
                  <a:pt x="726746" y="2281745"/>
                </a:cubicBezTo>
                <a:cubicBezTo>
                  <a:pt x="695574" y="2287255"/>
                  <a:pt x="663693" y="2290213"/>
                  <a:pt x="631319" y="2290736"/>
                </a:cubicBezTo>
                <a:lnTo>
                  <a:pt x="614201" y="2292349"/>
                </a:lnTo>
                <a:lnTo>
                  <a:pt x="614175" y="2291858"/>
                </a:lnTo>
                <a:lnTo>
                  <a:pt x="613676" y="2291891"/>
                </a:lnTo>
                <a:cubicBezTo>
                  <a:pt x="613110" y="2288119"/>
                  <a:pt x="613083" y="2284333"/>
                  <a:pt x="613083" y="2280541"/>
                </a:cubicBezTo>
                <a:cubicBezTo>
                  <a:pt x="613083" y="2274903"/>
                  <a:pt x="613141" y="2269279"/>
                  <a:pt x="614453" y="2263693"/>
                </a:cubicBezTo>
                <a:cubicBezTo>
                  <a:pt x="614411" y="2232611"/>
                  <a:pt x="616861" y="2201969"/>
                  <a:pt x="621917" y="2171962"/>
                </a:cubicBezTo>
                <a:lnTo>
                  <a:pt x="622458" y="2165325"/>
                </a:lnTo>
                <a:cubicBezTo>
                  <a:pt x="622626" y="2165320"/>
                  <a:pt x="622796" y="2165315"/>
                  <a:pt x="622963" y="2165262"/>
                </a:cubicBezTo>
                <a:cubicBezTo>
                  <a:pt x="673240" y="1815167"/>
                  <a:pt x="954279" y="1536596"/>
                  <a:pt x="1313129" y="1477664"/>
                </a:cubicBezTo>
                <a:lnTo>
                  <a:pt x="1313246" y="1476525"/>
                </a:lnTo>
                <a:cubicBezTo>
                  <a:pt x="1318555" y="1475523"/>
                  <a:pt x="1323883" y="1474582"/>
                  <a:pt x="1329459" y="1474998"/>
                </a:cubicBezTo>
                <a:cubicBezTo>
                  <a:pt x="1360642" y="1469485"/>
                  <a:pt x="1392535" y="1466527"/>
                  <a:pt x="1424920" y="1466004"/>
                </a:cubicBezTo>
                <a:close/>
                <a:moveTo>
                  <a:pt x="10909360" y="750600"/>
                </a:moveTo>
                <a:cubicBezTo>
                  <a:pt x="10962636" y="1021506"/>
                  <a:pt x="11177479" y="1236303"/>
                  <a:pt x="11452669" y="1295446"/>
                </a:cubicBezTo>
                <a:cubicBezTo>
                  <a:pt x="11399394" y="1024540"/>
                  <a:pt x="11184550" y="809743"/>
                  <a:pt x="10909360" y="750600"/>
                </a:cubicBezTo>
                <a:close/>
                <a:moveTo>
                  <a:pt x="10602109" y="750600"/>
                </a:moveTo>
                <a:cubicBezTo>
                  <a:pt x="10326919" y="809743"/>
                  <a:pt x="10112075" y="1024540"/>
                  <a:pt x="10058800" y="1295446"/>
                </a:cubicBezTo>
                <a:cubicBezTo>
                  <a:pt x="10333990" y="1236303"/>
                  <a:pt x="10548833" y="1021506"/>
                  <a:pt x="10602109" y="750600"/>
                </a:cubicBezTo>
                <a:close/>
                <a:moveTo>
                  <a:pt x="9217207" y="750600"/>
                </a:moveTo>
                <a:cubicBezTo>
                  <a:pt x="9270483" y="1021506"/>
                  <a:pt x="9485326" y="1236303"/>
                  <a:pt x="9760516" y="1295446"/>
                </a:cubicBezTo>
                <a:cubicBezTo>
                  <a:pt x="9707241" y="1024540"/>
                  <a:pt x="9492397" y="809743"/>
                  <a:pt x="9217207" y="750600"/>
                </a:cubicBezTo>
                <a:close/>
                <a:moveTo>
                  <a:pt x="8909958" y="750600"/>
                </a:moveTo>
                <a:cubicBezTo>
                  <a:pt x="8634768" y="809743"/>
                  <a:pt x="8419924" y="1024540"/>
                  <a:pt x="8366649" y="1295446"/>
                </a:cubicBezTo>
                <a:cubicBezTo>
                  <a:pt x="8641839" y="1236303"/>
                  <a:pt x="8856682" y="1021506"/>
                  <a:pt x="8909958" y="750600"/>
                </a:cubicBezTo>
                <a:close/>
                <a:moveTo>
                  <a:pt x="7525056" y="750600"/>
                </a:moveTo>
                <a:cubicBezTo>
                  <a:pt x="7578332" y="1021506"/>
                  <a:pt x="7793175" y="1236303"/>
                  <a:pt x="8068365" y="1295446"/>
                </a:cubicBezTo>
                <a:cubicBezTo>
                  <a:pt x="8015090" y="1024540"/>
                  <a:pt x="7800246" y="809743"/>
                  <a:pt x="7525056" y="750600"/>
                </a:cubicBezTo>
                <a:close/>
                <a:moveTo>
                  <a:pt x="7217807" y="750600"/>
                </a:moveTo>
                <a:cubicBezTo>
                  <a:pt x="6942617" y="809743"/>
                  <a:pt x="6727773" y="1024540"/>
                  <a:pt x="6674498" y="1295446"/>
                </a:cubicBezTo>
                <a:cubicBezTo>
                  <a:pt x="6949688" y="1236303"/>
                  <a:pt x="7164531" y="1021506"/>
                  <a:pt x="7217807" y="750600"/>
                </a:cubicBezTo>
                <a:close/>
                <a:moveTo>
                  <a:pt x="5832905" y="750600"/>
                </a:moveTo>
                <a:cubicBezTo>
                  <a:pt x="5886181" y="1021506"/>
                  <a:pt x="6101024" y="1236303"/>
                  <a:pt x="6376214" y="1295446"/>
                </a:cubicBezTo>
                <a:cubicBezTo>
                  <a:pt x="6322939" y="1024540"/>
                  <a:pt x="6108095" y="809743"/>
                  <a:pt x="5832905" y="750600"/>
                </a:cubicBezTo>
                <a:close/>
                <a:moveTo>
                  <a:pt x="5525656" y="750600"/>
                </a:moveTo>
                <a:cubicBezTo>
                  <a:pt x="5250466" y="809743"/>
                  <a:pt x="5035622" y="1024540"/>
                  <a:pt x="4982347" y="1295446"/>
                </a:cubicBezTo>
                <a:cubicBezTo>
                  <a:pt x="5257537" y="1236303"/>
                  <a:pt x="5472380" y="1021506"/>
                  <a:pt x="5525656" y="750600"/>
                </a:cubicBezTo>
                <a:close/>
                <a:moveTo>
                  <a:pt x="4140754" y="750600"/>
                </a:moveTo>
                <a:cubicBezTo>
                  <a:pt x="4194030" y="1021506"/>
                  <a:pt x="4408873" y="1236303"/>
                  <a:pt x="4684063" y="1295446"/>
                </a:cubicBezTo>
                <a:cubicBezTo>
                  <a:pt x="4630788" y="1024540"/>
                  <a:pt x="4415944" y="809743"/>
                  <a:pt x="4140754" y="750600"/>
                </a:cubicBezTo>
                <a:close/>
                <a:moveTo>
                  <a:pt x="3833505" y="750600"/>
                </a:moveTo>
                <a:cubicBezTo>
                  <a:pt x="3558315" y="809743"/>
                  <a:pt x="3343471" y="1024540"/>
                  <a:pt x="3290196" y="1295446"/>
                </a:cubicBezTo>
                <a:cubicBezTo>
                  <a:pt x="3565386" y="1236303"/>
                  <a:pt x="3780229" y="1021506"/>
                  <a:pt x="3833505" y="750600"/>
                </a:cubicBezTo>
                <a:close/>
                <a:moveTo>
                  <a:pt x="2448603" y="750600"/>
                </a:moveTo>
                <a:cubicBezTo>
                  <a:pt x="2501879" y="1021506"/>
                  <a:pt x="2716722" y="1236303"/>
                  <a:pt x="2991912" y="1295446"/>
                </a:cubicBezTo>
                <a:cubicBezTo>
                  <a:pt x="2938637" y="1024540"/>
                  <a:pt x="2723793" y="809743"/>
                  <a:pt x="2448603" y="750600"/>
                </a:cubicBezTo>
                <a:close/>
                <a:moveTo>
                  <a:pt x="2141354" y="750600"/>
                </a:moveTo>
                <a:cubicBezTo>
                  <a:pt x="1866164" y="809743"/>
                  <a:pt x="1651320" y="1024540"/>
                  <a:pt x="1598045" y="1295446"/>
                </a:cubicBezTo>
                <a:cubicBezTo>
                  <a:pt x="1873235" y="1236303"/>
                  <a:pt x="2088078" y="1021506"/>
                  <a:pt x="2141354" y="750600"/>
                </a:cubicBezTo>
                <a:close/>
                <a:moveTo>
                  <a:pt x="756452" y="750600"/>
                </a:moveTo>
                <a:cubicBezTo>
                  <a:pt x="809728" y="1021506"/>
                  <a:pt x="1024571" y="1236303"/>
                  <a:pt x="1299761" y="1295446"/>
                </a:cubicBezTo>
                <a:cubicBezTo>
                  <a:pt x="1246486" y="1024540"/>
                  <a:pt x="1031642" y="809743"/>
                  <a:pt x="756452" y="750600"/>
                </a:cubicBezTo>
                <a:close/>
                <a:moveTo>
                  <a:pt x="12192000" y="647790"/>
                </a:moveTo>
                <a:lnTo>
                  <a:pt x="12192000" y="780838"/>
                </a:lnTo>
                <a:cubicBezTo>
                  <a:pt x="11966807" y="865550"/>
                  <a:pt x="11797421" y="1059155"/>
                  <a:pt x="11750953" y="1295446"/>
                </a:cubicBezTo>
                <a:cubicBezTo>
                  <a:pt x="11935988" y="1255679"/>
                  <a:pt x="12093739" y="1145540"/>
                  <a:pt x="12192000" y="994335"/>
                </a:cubicBezTo>
                <a:lnTo>
                  <a:pt x="12192000" y="1195909"/>
                </a:lnTo>
                <a:cubicBezTo>
                  <a:pt x="12071770" y="1314911"/>
                  <a:pt x="11914089" y="1397686"/>
                  <a:pt x="11737582" y="1426902"/>
                </a:cubicBezTo>
                <a:lnTo>
                  <a:pt x="11737466" y="1428050"/>
                </a:lnTo>
                <a:cubicBezTo>
                  <a:pt x="11732155" y="1429061"/>
                  <a:pt x="11726826" y="1430009"/>
                  <a:pt x="11721249" y="1429590"/>
                </a:cubicBezTo>
                <a:cubicBezTo>
                  <a:pt x="11690077" y="1435144"/>
                  <a:pt x="11658197" y="1438125"/>
                  <a:pt x="11625822" y="1438652"/>
                </a:cubicBezTo>
                <a:lnTo>
                  <a:pt x="11608704" y="1440278"/>
                </a:lnTo>
                <a:lnTo>
                  <a:pt x="11608678" y="1439783"/>
                </a:lnTo>
                <a:lnTo>
                  <a:pt x="11608179" y="1439816"/>
                </a:lnTo>
                <a:cubicBezTo>
                  <a:pt x="11607613" y="1436014"/>
                  <a:pt x="11607586" y="1432198"/>
                  <a:pt x="11607586" y="1428376"/>
                </a:cubicBezTo>
                <a:cubicBezTo>
                  <a:pt x="11607586" y="1422694"/>
                  <a:pt x="11607645" y="1417025"/>
                  <a:pt x="11608957" y="1411395"/>
                </a:cubicBezTo>
                <a:cubicBezTo>
                  <a:pt x="11608914" y="1380067"/>
                  <a:pt x="11611364" y="1349182"/>
                  <a:pt x="11616421" y="1318938"/>
                </a:cubicBezTo>
                <a:lnTo>
                  <a:pt x="11616961" y="1312248"/>
                </a:lnTo>
                <a:cubicBezTo>
                  <a:pt x="11617130" y="1312243"/>
                  <a:pt x="11617299" y="1312238"/>
                  <a:pt x="11617466" y="1312185"/>
                </a:cubicBezTo>
                <a:cubicBezTo>
                  <a:pt x="11662185" y="998329"/>
                  <a:pt x="11889463" y="741504"/>
                  <a:pt x="12192000" y="647790"/>
                </a:cubicBezTo>
                <a:close/>
                <a:moveTo>
                  <a:pt x="10767111" y="605769"/>
                </a:moveTo>
                <a:lnTo>
                  <a:pt x="10784198" y="607392"/>
                </a:lnTo>
                <a:cubicBezTo>
                  <a:pt x="10816584" y="607919"/>
                  <a:pt x="10848477" y="610900"/>
                  <a:pt x="10879660" y="616457"/>
                </a:cubicBezTo>
                <a:cubicBezTo>
                  <a:pt x="10885236" y="616038"/>
                  <a:pt x="10890564" y="616986"/>
                  <a:pt x="10895873" y="617996"/>
                </a:cubicBezTo>
                <a:lnTo>
                  <a:pt x="10895990" y="619144"/>
                </a:lnTo>
                <a:cubicBezTo>
                  <a:pt x="11254840" y="678542"/>
                  <a:pt x="11535879" y="959319"/>
                  <a:pt x="11586156" y="1312185"/>
                </a:cubicBezTo>
                <a:cubicBezTo>
                  <a:pt x="11586323" y="1312238"/>
                  <a:pt x="11586492" y="1312243"/>
                  <a:pt x="11586661" y="1312248"/>
                </a:cubicBezTo>
                <a:lnTo>
                  <a:pt x="11587201" y="1318938"/>
                </a:lnTo>
                <a:cubicBezTo>
                  <a:pt x="11592258" y="1349182"/>
                  <a:pt x="11594708" y="1380067"/>
                  <a:pt x="11594665" y="1411395"/>
                </a:cubicBezTo>
                <a:cubicBezTo>
                  <a:pt x="11595977" y="1417025"/>
                  <a:pt x="11596036" y="1422694"/>
                  <a:pt x="11596036" y="1428376"/>
                </a:cubicBezTo>
                <a:cubicBezTo>
                  <a:pt x="11596036" y="1432198"/>
                  <a:pt x="11596009" y="1436014"/>
                  <a:pt x="11595443" y="1439816"/>
                </a:cubicBezTo>
                <a:lnTo>
                  <a:pt x="11594944" y="1439783"/>
                </a:lnTo>
                <a:lnTo>
                  <a:pt x="11594918" y="1440278"/>
                </a:lnTo>
                <a:lnTo>
                  <a:pt x="11577800" y="1438652"/>
                </a:lnTo>
                <a:cubicBezTo>
                  <a:pt x="11545425" y="1438125"/>
                  <a:pt x="11513545" y="1435144"/>
                  <a:pt x="11482373" y="1429590"/>
                </a:cubicBezTo>
                <a:cubicBezTo>
                  <a:pt x="11476796" y="1430009"/>
                  <a:pt x="11471467" y="1429061"/>
                  <a:pt x="11466156" y="1428050"/>
                </a:cubicBezTo>
                <a:lnTo>
                  <a:pt x="11466040" y="1426902"/>
                </a:lnTo>
                <a:cubicBezTo>
                  <a:pt x="11107189" y="1367503"/>
                  <a:pt x="10826150" y="1086726"/>
                  <a:pt x="10775875" y="733861"/>
                </a:cubicBezTo>
                <a:cubicBezTo>
                  <a:pt x="10775707" y="733808"/>
                  <a:pt x="10775539" y="733803"/>
                  <a:pt x="10775369" y="733798"/>
                </a:cubicBezTo>
                <a:lnTo>
                  <a:pt x="10774831" y="727122"/>
                </a:lnTo>
                <a:cubicBezTo>
                  <a:pt x="10769772" y="696872"/>
                  <a:pt x="10767321" y="665981"/>
                  <a:pt x="10767364" y="634646"/>
                </a:cubicBezTo>
                <a:cubicBezTo>
                  <a:pt x="10766052" y="629018"/>
                  <a:pt x="10765993" y="623351"/>
                  <a:pt x="10765993" y="617670"/>
                </a:cubicBezTo>
                <a:lnTo>
                  <a:pt x="10766587" y="606230"/>
                </a:lnTo>
                <a:lnTo>
                  <a:pt x="10767085" y="606263"/>
                </a:lnTo>
                <a:close/>
                <a:moveTo>
                  <a:pt x="10744358" y="605769"/>
                </a:moveTo>
                <a:lnTo>
                  <a:pt x="10744384" y="606263"/>
                </a:lnTo>
                <a:lnTo>
                  <a:pt x="10744882" y="606230"/>
                </a:lnTo>
                <a:lnTo>
                  <a:pt x="10745476" y="617670"/>
                </a:lnTo>
                <a:cubicBezTo>
                  <a:pt x="10745476" y="623351"/>
                  <a:pt x="10745417" y="629018"/>
                  <a:pt x="10744105" y="634646"/>
                </a:cubicBezTo>
                <a:cubicBezTo>
                  <a:pt x="10744148" y="665981"/>
                  <a:pt x="10741697" y="696872"/>
                  <a:pt x="10736638" y="727122"/>
                </a:cubicBezTo>
                <a:lnTo>
                  <a:pt x="10736100" y="733798"/>
                </a:lnTo>
                <a:cubicBezTo>
                  <a:pt x="10735930" y="733803"/>
                  <a:pt x="10735762" y="733808"/>
                  <a:pt x="10735594" y="733861"/>
                </a:cubicBezTo>
                <a:cubicBezTo>
                  <a:pt x="10685319" y="1086726"/>
                  <a:pt x="10404280" y="1367503"/>
                  <a:pt x="10045429" y="1426902"/>
                </a:cubicBezTo>
                <a:lnTo>
                  <a:pt x="10045313" y="1428050"/>
                </a:lnTo>
                <a:cubicBezTo>
                  <a:pt x="10040002" y="1429061"/>
                  <a:pt x="10034673" y="1430009"/>
                  <a:pt x="10029096" y="1429590"/>
                </a:cubicBezTo>
                <a:cubicBezTo>
                  <a:pt x="9997924" y="1435144"/>
                  <a:pt x="9966044" y="1438125"/>
                  <a:pt x="9933669" y="1438652"/>
                </a:cubicBezTo>
                <a:lnTo>
                  <a:pt x="9916551" y="1440278"/>
                </a:lnTo>
                <a:lnTo>
                  <a:pt x="9916525" y="1439783"/>
                </a:lnTo>
                <a:lnTo>
                  <a:pt x="9916026" y="1439816"/>
                </a:lnTo>
                <a:cubicBezTo>
                  <a:pt x="9915460" y="1436014"/>
                  <a:pt x="9915433" y="1432198"/>
                  <a:pt x="9915433" y="1428376"/>
                </a:cubicBezTo>
                <a:cubicBezTo>
                  <a:pt x="9915433" y="1422694"/>
                  <a:pt x="9915492" y="1417025"/>
                  <a:pt x="9916804" y="1411395"/>
                </a:cubicBezTo>
                <a:cubicBezTo>
                  <a:pt x="9916761" y="1380067"/>
                  <a:pt x="9919211" y="1349182"/>
                  <a:pt x="9924268" y="1318938"/>
                </a:cubicBezTo>
                <a:lnTo>
                  <a:pt x="9924808" y="1312248"/>
                </a:lnTo>
                <a:cubicBezTo>
                  <a:pt x="9924977" y="1312243"/>
                  <a:pt x="9925146" y="1312238"/>
                  <a:pt x="9925314" y="1312185"/>
                </a:cubicBezTo>
                <a:cubicBezTo>
                  <a:pt x="9975590" y="959319"/>
                  <a:pt x="10256629" y="678542"/>
                  <a:pt x="10615479" y="619144"/>
                </a:cubicBezTo>
                <a:lnTo>
                  <a:pt x="10615596" y="617996"/>
                </a:lnTo>
                <a:cubicBezTo>
                  <a:pt x="10620905" y="616986"/>
                  <a:pt x="10626233" y="616038"/>
                  <a:pt x="10631809" y="616457"/>
                </a:cubicBezTo>
                <a:cubicBezTo>
                  <a:pt x="10662992" y="610900"/>
                  <a:pt x="10694885" y="607919"/>
                  <a:pt x="10727271" y="607392"/>
                </a:cubicBezTo>
                <a:close/>
                <a:moveTo>
                  <a:pt x="9074958" y="605769"/>
                </a:moveTo>
                <a:lnTo>
                  <a:pt x="9092045" y="607392"/>
                </a:lnTo>
                <a:cubicBezTo>
                  <a:pt x="9124431" y="607919"/>
                  <a:pt x="9156324" y="610900"/>
                  <a:pt x="9187507" y="616457"/>
                </a:cubicBezTo>
                <a:cubicBezTo>
                  <a:pt x="9193083" y="616038"/>
                  <a:pt x="9198411" y="616986"/>
                  <a:pt x="9203720" y="617996"/>
                </a:cubicBezTo>
                <a:lnTo>
                  <a:pt x="9203837" y="619144"/>
                </a:lnTo>
                <a:cubicBezTo>
                  <a:pt x="9562687" y="678542"/>
                  <a:pt x="9843726" y="959319"/>
                  <a:pt x="9894002" y="1312185"/>
                </a:cubicBezTo>
                <a:cubicBezTo>
                  <a:pt x="9894170" y="1312238"/>
                  <a:pt x="9894339" y="1312243"/>
                  <a:pt x="9894508" y="1312248"/>
                </a:cubicBezTo>
                <a:lnTo>
                  <a:pt x="9895048" y="1318938"/>
                </a:lnTo>
                <a:cubicBezTo>
                  <a:pt x="9900105" y="1349182"/>
                  <a:pt x="9902555" y="1380067"/>
                  <a:pt x="9902512" y="1411395"/>
                </a:cubicBezTo>
                <a:cubicBezTo>
                  <a:pt x="9903824" y="1417025"/>
                  <a:pt x="9903883" y="1422694"/>
                  <a:pt x="9903883" y="1428376"/>
                </a:cubicBezTo>
                <a:cubicBezTo>
                  <a:pt x="9903883" y="1432198"/>
                  <a:pt x="9903856" y="1436014"/>
                  <a:pt x="9903290" y="1439816"/>
                </a:cubicBezTo>
                <a:lnTo>
                  <a:pt x="9902791" y="1439783"/>
                </a:lnTo>
                <a:lnTo>
                  <a:pt x="9902765" y="1440278"/>
                </a:lnTo>
                <a:lnTo>
                  <a:pt x="9885647" y="1438652"/>
                </a:lnTo>
                <a:cubicBezTo>
                  <a:pt x="9853272" y="1438125"/>
                  <a:pt x="9821392" y="1435144"/>
                  <a:pt x="9790220" y="1429590"/>
                </a:cubicBezTo>
                <a:cubicBezTo>
                  <a:pt x="9784643" y="1430009"/>
                  <a:pt x="9779314" y="1429061"/>
                  <a:pt x="9774003" y="1428050"/>
                </a:cubicBezTo>
                <a:lnTo>
                  <a:pt x="9773887" y="1426902"/>
                </a:lnTo>
                <a:cubicBezTo>
                  <a:pt x="9415036" y="1367503"/>
                  <a:pt x="9133997" y="1086726"/>
                  <a:pt x="9083722" y="733861"/>
                </a:cubicBezTo>
                <a:cubicBezTo>
                  <a:pt x="9083554" y="733808"/>
                  <a:pt x="9083386" y="733803"/>
                  <a:pt x="9083216" y="733798"/>
                </a:cubicBezTo>
                <a:lnTo>
                  <a:pt x="9082678" y="727122"/>
                </a:lnTo>
                <a:cubicBezTo>
                  <a:pt x="9077619" y="696872"/>
                  <a:pt x="9075168" y="665981"/>
                  <a:pt x="9075211" y="634646"/>
                </a:cubicBezTo>
                <a:cubicBezTo>
                  <a:pt x="9073899" y="629018"/>
                  <a:pt x="9073840" y="623351"/>
                  <a:pt x="9073840" y="617670"/>
                </a:cubicBezTo>
                <a:lnTo>
                  <a:pt x="9074434" y="606230"/>
                </a:lnTo>
                <a:lnTo>
                  <a:pt x="9074932" y="606263"/>
                </a:lnTo>
                <a:close/>
                <a:moveTo>
                  <a:pt x="9052207" y="605769"/>
                </a:moveTo>
                <a:lnTo>
                  <a:pt x="9052233" y="606263"/>
                </a:lnTo>
                <a:lnTo>
                  <a:pt x="9052731" y="606230"/>
                </a:lnTo>
                <a:lnTo>
                  <a:pt x="9053325" y="617670"/>
                </a:lnTo>
                <a:cubicBezTo>
                  <a:pt x="9053325" y="623351"/>
                  <a:pt x="9053266" y="629018"/>
                  <a:pt x="9051954" y="634646"/>
                </a:cubicBezTo>
                <a:cubicBezTo>
                  <a:pt x="9051997" y="665981"/>
                  <a:pt x="9049546" y="696872"/>
                  <a:pt x="9044487" y="727122"/>
                </a:cubicBezTo>
                <a:lnTo>
                  <a:pt x="9043949" y="733798"/>
                </a:lnTo>
                <a:cubicBezTo>
                  <a:pt x="9043779" y="733803"/>
                  <a:pt x="9043611" y="733808"/>
                  <a:pt x="9043443" y="733861"/>
                </a:cubicBezTo>
                <a:cubicBezTo>
                  <a:pt x="8993168" y="1086726"/>
                  <a:pt x="8712129" y="1367503"/>
                  <a:pt x="8353278" y="1426902"/>
                </a:cubicBezTo>
                <a:lnTo>
                  <a:pt x="8353162" y="1428050"/>
                </a:lnTo>
                <a:cubicBezTo>
                  <a:pt x="8347851" y="1429061"/>
                  <a:pt x="8342522" y="1430009"/>
                  <a:pt x="8336945" y="1429590"/>
                </a:cubicBezTo>
                <a:cubicBezTo>
                  <a:pt x="8305773" y="1435144"/>
                  <a:pt x="8273893" y="1438125"/>
                  <a:pt x="8241519" y="1438652"/>
                </a:cubicBezTo>
                <a:lnTo>
                  <a:pt x="8224400" y="1440278"/>
                </a:lnTo>
                <a:lnTo>
                  <a:pt x="8224374" y="1439783"/>
                </a:lnTo>
                <a:lnTo>
                  <a:pt x="8223875" y="1439816"/>
                </a:lnTo>
                <a:cubicBezTo>
                  <a:pt x="8223309" y="1436014"/>
                  <a:pt x="8223282" y="1432198"/>
                  <a:pt x="8223282" y="1428376"/>
                </a:cubicBezTo>
                <a:cubicBezTo>
                  <a:pt x="8223282" y="1422694"/>
                  <a:pt x="8223341" y="1417025"/>
                  <a:pt x="8224653" y="1411395"/>
                </a:cubicBezTo>
                <a:cubicBezTo>
                  <a:pt x="8224611" y="1380067"/>
                  <a:pt x="8227060" y="1349182"/>
                  <a:pt x="8232117" y="1318938"/>
                </a:cubicBezTo>
                <a:lnTo>
                  <a:pt x="8232657" y="1312248"/>
                </a:lnTo>
                <a:cubicBezTo>
                  <a:pt x="8232826" y="1312243"/>
                  <a:pt x="8232995" y="1312238"/>
                  <a:pt x="8233163" y="1312185"/>
                </a:cubicBezTo>
                <a:cubicBezTo>
                  <a:pt x="8283439" y="959319"/>
                  <a:pt x="8564478" y="678542"/>
                  <a:pt x="8923328" y="619144"/>
                </a:cubicBezTo>
                <a:lnTo>
                  <a:pt x="8923445" y="617996"/>
                </a:lnTo>
                <a:cubicBezTo>
                  <a:pt x="8928754" y="616986"/>
                  <a:pt x="8934082" y="616038"/>
                  <a:pt x="8939658" y="616457"/>
                </a:cubicBezTo>
                <a:cubicBezTo>
                  <a:pt x="8970841" y="610900"/>
                  <a:pt x="9002734" y="607919"/>
                  <a:pt x="9035120" y="607392"/>
                </a:cubicBezTo>
                <a:close/>
                <a:moveTo>
                  <a:pt x="7382807" y="605769"/>
                </a:moveTo>
                <a:lnTo>
                  <a:pt x="7399895" y="607392"/>
                </a:lnTo>
                <a:cubicBezTo>
                  <a:pt x="7432280" y="607919"/>
                  <a:pt x="7464173" y="610900"/>
                  <a:pt x="7495356" y="616457"/>
                </a:cubicBezTo>
                <a:cubicBezTo>
                  <a:pt x="7500932" y="616038"/>
                  <a:pt x="7506260" y="616986"/>
                  <a:pt x="7511569" y="617996"/>
                </a:cubicBezTo>
                <a:lnTo>
                  <a:pt x="7511686" y="619144"/>
                </a:lnTo>
                <a:cubicBezTo>
                  <a:pt x="7870536" y="678542"/>
                  <a:pt x="8151575" y="959319"/>
                  <a:pt x="8201852" y="1312185"/>
                </a:cubicBezTo>
                <a:cubicBezTo>
                  <a:pt x="8202019" y="1312238"/>
                  <a:pt x="8202189" y="1312243"/>
                  <a:pt x="8202357" y="1312248"/>
                </a:cubicBezTo>
                <a:lnTo>
                  <a:pt x="8202898" y="1318938"/>
                </a:lnTo>
                <a:cubicBezTo>
                  <a:pt x="8207954" y="1349182"/>
                  <a:pt x="8210404" y="1380067"/>
                  <a:pt x="8210362" y="1411395"/>
                </a:cubicBezTo>
                <a:cubicBezTo>
                  <a:pt x="8211674" y="1417025"/>
                  <a:pt x="8211732" y="1422694"/>
                  <a:pt x="8211732" y="1428376"/>
                </a:cubicBezTo>
                <a:cubicBezTo>
                  <a:pt x="8211732" y="1432198"/>
                  <a:pt x="8211705" y="1436014"/>
                  <a:pt x="8211139" y="1439816"/>
                </a:cubicBezTo>
                <a:lnTo>
                  <a:pt x="8210640" y="1439783"/>
                </a:lnTo>
                <a:lnTo>
                  <a:pt x="8210614" y="1440278"/>
                </a:lnTo>
                <a:lnTo>
                  <a:pt x="8193496" y="1438652"/>
                </a:lnTo>
                <a:cubicBezTo>
                  <a:pt x="8161122" y="1438125"/>
                  <a:pt x="8129241" y="1435144"/>
                  <a:pt x="8098069" y="1429590"/>
                </a:cubicBezTo>
                <a:cubicBezTo>
                  <a:pt x="8092492" y="1430009"/>
                  <a:pt x="8087163" y="1429061"/>
                  <a:pt x="8081853" y="1428050"/>
                </a:cubicBezTo>
                <a:lnTo>
                  <a:pt x="8081737" y="1426902"/>
                </a:lnTo>
                <a:cubicBezTo>
                  <a:pt x="7722885" y="1367503"/>
                  <a:pt x="7441846" y="1086726"/>
                  <a:pt x="7391571" y="733861"/>
                </a:cubicBezTo>
                <a:cubicBezTo>
                  <a:pt x="7391403" y="733808"/>
                  <a:pt x="7391235" y="733803"/>
                  <a:pt x="7391065" y="733798"/>
                </a:cubicBezTo>
                <a:lnTo>
                  <a:pt x="7390527" y="727122"/>
                </a:lnTo>
                <a:cubicBezTo>
                  <a:pt x="7385468" y="696872"/>
                  <a:pt x="7383018" y="665981"/>
                  <a:pt x="7383060" y="634646"/>
                </a:cubicBezTo>
                <a:cubicBezTo>
                  <a:pt x="7381748" y="629018"/>
                  <a:pt x="7381689" y="623351"/>
                  <a:pt x="7381689" y="617670"/>
                </a:cubicBezTo>
                <a:lnTo>
                  <a:pt x="7382283" y="606230"/>
                </a:lnTo>
                <a:lnTo>
                  <a:pt x="7382781" y="606263"/>
                </a:lnTo>
                <a:close/>
                <a:moveTo>
                  <a:pt x="5690656" y="605769"/>
                </a:moveTo>
                <a:lnTo>
                  <a:pt x="5707743" y="607392"/>
                </a:lnTo>
                <a:cubicBezTo>
                  <a:pt x="5740129" y="607919"/>
                  <a:pt x="5772021" y="610900"/>
                  <a:pt x="5803205" y="616457"/>
                </a:cubicBezTo>
                <a:cubicBezTo>
                  <a:pt x="5808781" y="616038"/>
                  <a:pt x="5814109" y="616986"/>
                  <a:pt x="5819417" y="617996"/>
                </a:cubicBezTo>
                <a:lnTo>
                  <a:pt x="5819534" y="619144"/>
                </a:lnTo>
                <a:cubicBezTo>
                  <a:pt x="6178385" y="678542"/>
                  <a:pt x="6459424" y="959319"/>
                  <a:pt x="6509700" y="1312185"/>
                </a:cubicBezTo>
                <a:cubicBezTo>
                  <a:pt x="6509868" y="1312238"/>
                  <a:pt x="6510037" y="1312243"/>
                  <a:pt x="6510206" y="1312248"/>
                </a:cubicBezTo>
                <a:lnTo>
                  <a:pt x="6510746" y="1318938"/>
                </a:lnTo>
                <a:cubicBezTo>
                  <a:pt x="6515803" y="1349182"/>
                  <a:pt x="6518252" y="1380067"/>
                  <a:pt x="6518210" y="1411395"/>
                </a:cubicBezTo>
                <a:cubicBezTo>
                  <a:pt x="6519522" y="1417025"/>
                  <a:pt x="6519581" y="1422694"/>
                  <a:pt x="6519581" y="1428376"/>
                </a:cubicBezTo>
                <a:cubicBezTo>
                  <a:pt x="6519581" y="1432198"/>
                  <a:pt x="6519554" y="1436014"/>
                  <a:pt x="6518988" y="1439816"/>
                </a:cubicBezTo>
                <a:lnTo>
                  <a:pt x="6518489" y="1439783"/>
                </a:lnTo>
                <a:lnTo>
                  <a:pt x="6518463" y="1440278"/>
                </a:lnTo>
                <a:lnTo>
                  <a:pt x="6501344" y="1438652"/>
                </a:lnTo>
                <a:cubicBezTo>
                  <a:pt x="6468970" y="1438125"/>
                  <a:pt x="6437090" y="1435144"/>
                  <a:pt x="6405918" y="1429590"/>
                </a:cubicBezTo>
                <a:cubicBezTo>
                  <a:pt x="6400341" y="1430009"/>
                  <a:pt x="6395012" y="1429061"/>
                  <a:pt x="6389701" y="1428050"/>
                </a:cubicBezTo>
                <a:lnTo>
                  <a:pt x="6389585" y="1426902"/>
                </a:lnTo>
                <a:cubicBezTo>
                  <a:pt x="6030734" y="1367503"/>
                  <a:pt x="5749695" y="1086726"/>
                  <a:pt x="5699419" y="733861"/>
                </a:cubicBezTo>
                <a:cubicBezTo>
                  <a:pt x="5699252" y="733808"/>
                  <a:pt x="5699083" y="733803"/>
                  <a:pt x="5698914" y="733798"/>
                </a:cubicBezTo>
                <a:lnTo>
                  <a:pt x="5698375" y="727122"/>
                </a:lnTo>
                <a:cubicBezTo>
                  <a:pt x="5693317" y="696872"/>
                  <a:pt x="5690866" y="665981"/>
                  <a:pt x="5690908" y="634646"/>
                </a:cubicBezTo>
                <a:cubicBezTo>
                  <a:pt x="5689596" y="629018"/>
                  <a:pt x="5689538" y="623351"/>
                  <a:pt x="5689538" y="617670"/>
                </a:cubicBezTo>
                <a:lnTo>
                  <a:pt x="5690132" y="606230"/>
                </a:lnTo>
                <a:lnTo>
                  <a:pt x="5690630" y="606263"/>
                </a:lnTo>
                <a:close/>
                <a:moveTo>
                  <a:pt x="5667905" y="605769"/>
                </a:moveTo>
                <a:lnTo>
                  <a:pt x="5667931" y="606263"/>
                </a:lnTo>
                <a:lnTo>
                  <a:pt x="5668429" y="606230"/>
                </a:lnTo>
                <a:lnTo>
                  <a:pt x="5669023" y="617670"/>
                </a:lnTo>
                <a:cubicBezTo>
                  <a:pt x="5669023" y="623351"/>
                  <a:pt x="5668964" y="629018"/>
                  <a:pt x="5667652" y="634646"/>
                </a:cubicBezTo>
                <a:cubicBezTo>
                  <a:pt x="5667694" y="665981"/>
                  <a:pt x="5665244" y="696872"/>
                  <a:pt x="5660185" y="727122"/>
                </a:cubicBezTo>
                <a:lnTo>
                  <a:pt x="5659647" y="733798"/>
                </a:lnTo>
                <a:cubicBezTo>
                  <a:pt x="5659477" y="733803"/>
                  <a:pt x="5659309" y="733808"/>
                  <a:pt x="5659141" y="733861"/>
                </a:cubicBezTo>
                <a:cubicBezTo>
                  <a:pt x="5608866" y="1086726"/>
                  <a:pt x="5327827" y="1367503"/>
                  <a:pt x="4968975" y="1426902"/>
                </a:cubicBezTo>
                <a:lnTo>
                  <a:pt x="4968859" y="1428050"/>
                </a:lnTo>
                <a:cubicBezTo>
                  <a:pt x="4963549" y="1429061"/>
                  <a:pt x="4958220" y="1430009"/>
                  <a:pt x="4952643" y="1429590"/>
                </a:cubicBezTo>
                <a:cubicBezTo>
                  <a:pt x="4921471" y="1435144"/>
                  <a:pt x="4889590" y="1438125"/>
                  <a:pt x="4857216" y="1438652"/>
                </a:cubicBezTo>
                <a:lnTo>
                  <a:pt x="4840098" y="1440278"/>
                </a:lnTo>
                <a:lnTo>
                  <a:pt x="4840072" y="1439783"/>
                </a:lnTo>
                <a:lnTo>
                  <a:pt x="4839573" y="1439816"/>
                </a:lnTo>
                <a:cubicBezTo>
                  <a:pt x="4839007" y="1436014"/>
                  <a:pt x="4838980" y="1432198"/>
                  <a:pt x="4838980" y="1428376"/>
                </a:cubicBezTo>
                <a:cubicBezTo>
                  <a:pt x="4838980" y="1422694"/>
                  <a:pt x="4839038" y="1417025"/>
                  <a:pt x="4840350" y="1411395"/>
                </a:cubicBezTo>
                <a:cubicBezTo>
                  <a:pt x="4840308" y="1380067"/>
                  <a:pt x="4842758" y="1349182"/>
                  <a:pt x="4847814" y="1318938"/>
                </a:cubicBezTo>
                <a:lnTo>
                  <a:pt x="4848355" y="1312248"/>
                </a:lnTo>
                <a:cubicBezTo>
                  <a:pt x="4848523" y="1312243"/>
                  <a:pt x="4848693" y="1312238"/>
                  <a:pt x="4848860" y="1312185"/>
                </a:cubicBezTo>
                <a:cubicBezTo>
                  <a:pt x="4899137" y="959319"/>
                  <a:pt x="5180176" y="678542"/>
                  <a:pt x="5539026" y="619144"/>
                </a:cubicBezTo>
                <a:lnTo>
                  <a:pt x="5539143" y="617996"/>
                </a:lnTo>
                <a:cubicBezTo>
                  <a:pt x="5544452" y="616986"/>
                  <a:pt x="5549780" y="616038"/>
                  <a:pt x="5555356" y="616457"/>
                </a:cubicBezTo>
                <a:cubicBezTo>
                  <a:pt x="5586539" y="610900"/>
                  <a:pt x="5618432" y="607919"/>
                  <a:pt x="5650817" y="607392"/>
                </a:cubicBezTo>
                <a:close/>
                <a:moveTo>
                  <a:pt x="3998505" y="605769"/>
                </a:moveTo>
                <a:lnTo>
                  <a:pt x="4015592" y="607392"/>
                </a:lnTo>
                <a:cubicBezTo>
                  <a:pt x="4047978" y="607919"/>
                  <a:pt x="4079870" y="610900"/>
                  <a:pt x="4111054" y="616457"/>
                </a:cubicBezTo>
                <a:cubicBezTo>
                  <a:pt x="4116630" y="616038"/>
                  <a:pt x="4121958" y="616986"/>
                  <a:pt x="4127266" y="617996"/>
                </a:cubicBezTo>
                <a:lnTo>
                  <a:pt x="4127384" y="619144"/>
                </a:lnTo>
                <a:cubicBezTo>
                  <a:pt x="4486234" y="678542"/>
                  <a:pt x="4767273" y="959319"/>
                  <a:pt x="4817549" y="1312185"/>
                </a:cubicBezTo>
                <a:cubicBezTo>
                  <a:pt x="4817717" y="1312238"/>
                  <a:pt x="4817886" y="1312243"/>
                  <a:pt x="4818055" y="1312248"/>
                </a:cubicBezTo>
                <a:lnTo>
                  <a:pt x="4818595" y="1318938"/>
                </a:lnTo>
                <a:cubicBezTo>
                  <a:pt x="4823652" y="1349182"/>
                  <a:pt x="4826101" y="1380067"/>
                  <a:pt x="4826059" y="1411395"/>
                </a:cubicBezTo>
                <a:cubicBezTo>
                  <a:pt x="4827371" y="1417025"/>
                  <a:pt x="4827430" y="1422694"/>
                  <a:pt x="4827430" y="1428376"/>
                </a:cubicBezTo>
                <a:cubicBezTo>
                  <a:pt x="4827430" y="1432198"/>
                  <a:pt x="4827403" y="1436014"/>
                  <a:pt x="4826837" y="1439816"/>
                </a:cubicBezTo>
                <a:lnTo>
                  <a:pt x="4826338" y="1439783"/>
                </a:lnTo>
                <a:lnTo>
                  <a:pt x="4826312" y="1440278"/>
                </a:lnTo>
                <a:lnTo>
                  <a:pt x="4809193" y="1438652"/>
                </a:lnTo>
                <a:cubicBezTo>
                  <a:pt x="4776819" y="1438125"/>
                  <a:pt x="4744939" y="1435144"/>
                  <a:pt x="4713767" y="1429590"/>
                </a:cubicBezTo>
                <a:cubicBezTo>
                  <a:pt x="4708190" y="1430009"/>
                  <a:pt x="4702861" y="1429061"/>
                  <a:pt x="4697550" y="1428050"/>
                </a:cubicBezTo>
                <a:lnTo>
                  <a:pt x="4697434" y="1426902"/>
                </a:lnTo>
                <a:cubicBezTo>
                  <a:pt x="4338583" y="1367503"/>
                  <a:pt x="4057544" y="1086726"/>
                  <a:pt x="4007268" y="733861"/>
                </a:cubicBezTo>
                <a:cubicBezTo>
                  <a:pt x="4007101" y="733808"/>
                  <a:pt x="4006932" y="733803"/>
                  <a:pt x="4006763" y="733798"/>
                </a:cubicBezTo>
                <a:lnTo>
                  <a:pt x="4006225" y="727122"/>
                </a:lnTo>
                <a:cubicBezTo>
                  <a:pt x="4001166" y="696872"/>
                  <a:pt x="3998715" y="665981"/>
                  <a:pt x="3998757" y="634646"/>
                </a:cubicBezTo>
                <a:cubicBezTo>
                  <a:pt x="3997445" y="629018"/>
                  <a:pt x="3997387" y="623351"/>
                  <a:pt x="3997387" y="617670"/>
                </a:cubicBezTo>
                <a:lnTo>
                  <a:pt x="3997981" y="606230"/>
                </a:lnTo>
                <a:lnTo>
                  <a:pt x="3998479" y="606263"/>
                </a:lnTo>
                <a:close/>
                <a:moveTo>
                  <a:pt x="3975754" y="605769"/>
                </a:moveTo>
                <a:lnTo>
                  <a:pt x="3975780" y="606263"/>
                </a:lnTo>
                <a:lnTo>
                  <a:pt x="3976278" y="606230"/>
                </a:lnTo>
                <a:lnTo>
                  <a:pt x="3976872" y="617670"/>
                </a:lnTo>
                <a:cubicBezTo>
                  <a:pt x="3976872" y="623351"/>
                  <a:pt x="3976813" y="629018"/>
                  <a:pt x="3975501" y="634646"/>
                </a:cubicBezTo>
                <a:cubicBezTo>
                  <a:pt x="3975543" y="665981"/>
                  <a:pt x="3973093" y="696872"/>
                  <a:pt x="3968034" y="727122"/>
                </a:cubicBezTo>
                <a:lnTo>
                  <a:pt x="3967496" y="733798"/>
                </a:lnTo>
                <a:cubicBezTo>
                  <a:pt x="3967326" y="733803"/>
                  <a:pt x="3967158" y="733808"/>
                  <a:pt x="3966990" y="733861"/>
                </a:cubicBezTo>
                <a:cubicBezTo>
                  <a:pt x="3916715" y="1086726"/>
                  <a:pt x="3635676" y="1367503"/>
                  <a:pt x="3276825" y="1426902"/>
                </a:cubicBezTo>
                <a:lnTo>
                  <a:pt x="3276708" y="1428050"/>
                </a:lnTo>
                <a:cubicBezTo>
                  <a:pt x="3271398" y="1429061"/>
                  <a:pt x="3266069" y="1430009"/>
                  <a:pt x="3260492" y="1429590"/>
                </a:cubicBezTo>
                <a:cubicBezTo>
                  <a:pt x="3229320" y="1435144"/>
                  <a:pt x="3197440" y="1438125"/>
                  <a:pt x="3165065" y="1438652"/>
                </a:cubicBezTo>
                <a:lnTo>
                  <a:pt x="3147947" y="1440278"/>
                </a:lnTo>
                <a:lnTo>
                  <a:pt x="3147921" y="1439783"/>
                </a:lnTo>
                <a:lnTo>
                  <a:pt x="3147422" y="1439816"/>
                </a:lnTo>
                <a:cubicBezTo>
                  <a:pt x="3146856" y="1436014"/>
                  <a:pt x="3146829" y="1432198"/>
                  <a:pt x="3146829" y="1428376"/>
                </a:cubicBezTo>
                <a:cubicBezTo>
                  <a:pt x="3146829" y="1422694"/>
                  <a:pt x="3146887" y="1417025"/>
                  <a:pt x="3148199" y="1411395"/>
                </a:cubicBezTo>
                <a:cubicBezTo>
                  <a:pt x="3148157" y="1380067"/>
                  <a:pt x="3150607" y="1349182"/>
                  <a:pt x="3155663" y="1318938"/>
                </a:cubicBezTo>
                <a:lnTo>
                  <a:pt x="3156204" y="1312248"/>
                </a:lnTo>
                <a:cubicBezTo>
                  <a:pt x="3156372" y="1312243"/>
                  <a:pt x="3156542" y="1312238"/>
                  <a:pt x="3156709" y="1312185"/>
                </a:cubicBezTo>
                <a:cubicBezTo>
                  <a:pt x="3206986" y="959319"/>
                  <a:pt x="3488025" y="678542"/>
                  <a:pt x="3846875" y="619144"/>
                </a:cubicBezTo>
                <a:lnTo>
                  <a:pt x="3846992" y="617996"/>
                </a:lnTo>
                <a:cubicBezTo>
                  <a:pt x="3852301" y="616986"/>
                  <a:pt x="3857629" y="616038"/>
                  <a:pt x="3863205" y="616457"/>
                </a:cubicBezTo>
                <a:cubicBezTo>
                  <a:pt x="3894388" y="610900"/>
                  <a:pt x="3926281" y="607919"/>
                  <a:pt x="3958666" y="607392"/>
                </a:cubicBezTo>
                <a:close/>
                <a:moveTo>
                  <a:pt x="2306354" y="605769"/>
                </a:moveTo>
                <a:lnTo>
                  <a:pt x="2323441" y="607392"/>
                </a:lnTo>
                <a:cubicBezTo>
                  <a:pt x="2355827" y="607919"/>
                  <a:pt x="2387719" y="610900"/>
                  <a:pt x="2418903" y="616457"/>
                </a:cubicBezTo>
                <a:cubicBezTo>
                  <a:pt x="2424479" y="616038"/>
                  <a:pt x="2429807" y="616986"/>
                  <a:pt x="2435115" y="617996"/>
                </a:cubicBezTo>
                <a:lnTo>
                  <a:pt x="2435233" y="619144"/>
                </a:lnTo>
                <a:cubicBezTo>
                  <a:pt x="2794083" y="678542"/>
                  <a:pt x="3075122" y="959319"/>
                  <a:pt x="3125398" y="1312185"/>
                </a:cubicBezTo>
                <a:cubicBezTo>
                  <a:pt x="3125566" y="1312238"/>
                  <a:pt x="3125735" y="1312243"/>
                  <a:pt x="3125904" y="1312248"/>
                </a:cubicBezTo>
                <a:lnTo>
                  <a:pt x="3126444" y="1318938"/>
                </a:lnTo>
                <a:cubicBezTo>
                  <a:pt x="3131501" y="1349182"/>
                  <a:pt x="3133950" y="1380067"/>
                  <a:pt x="3133908" y="1411395"/>
                </a:cubicBezTo>
                <a:cubicBezTo>
                  <a:pt x="3135220" y="1417025"/>
                  <a:pt x="3135279" y="1422694"/>
                  <a:pt x="3135279" y="1428376"/>
                </a:cubicBezTo>
                <a:cubicBezTo>
                  <a:pt x="3135279" y="1432198"/>
                  <a:pt x="3135252" y="1436014"/>
                  <a:pt x="3134686" y="1439816"/>
                </a:cubicBezTo>
                <a:lnTo>
                  <a:pt x="3134187" y="1439783"/>
                </a:lnTo>
                <a:lnTo>
                  <a:pt x="3134161" y="1440278"/>
                </a:lnTo>
                <a:lnTo>
                  <a:pt x="3117042" y="1438652"/>
                </a:lnTo>
                <a:cubicBezTo>
                  <a:pt x="3084668" y="1438125"/>
                  <a:pt x="3052788" y="1435144"/>
                  <a:pt x="3021616" y="1429590"/>
                </a:cubicBezTo>
                <a:cubicBezTo>
                  <a:pt x="3016039" y="1430009"/>
                  <a:pt x="3010710" y="1429061"/>
                  <a:pt x="3005399" y="1428050"/>
                </a:cubicBezTo>
                <a:lnTo>
                  <a:pt x="3005283" y="1426902"/>
                </a:lnTo>
                <a:cubicBezTo>
                  <a:pt x="2646432" y="1367503"/>
                  <a:pt x="2365393" y="1086726"/>
                  <a:pt x="2315117" y="733861"/>
                </a:cubicBezTo>
                <a:cubicBezTo>
                  <a:pt x="2314950" y="733808"/>
                  <a:pt x="2314781" y="733803"/>
                  <a:pt x="2314612" y="733798"/>
                </a:cubicBezTo>
                <a:lnTo>
                  <a:pt x="2314074" y="727122"/>
                </a:lnTo>
                <a:cubicBezTo>
                  <a:pt x="2309015" y="696872"/>
                  <a:pt x="2306564" y="665981"/>
                  <a:pt x="2306606" y="634646"/>
                </a:cubicBezTo>
                <a:cubicBezTo>
                  <a:pt x="2305294" y="629018"/>
                  <a:pt x="2305236" y="623351"/>
                  <a:pt x="2305236" y="617670"/>
                </a:cubicBezTo>
                <a:lnTo>
                  <a:pt x="2305830" y="606230"/>
                </a:lnTo>
                <a:lnTo>
                  <a:pt x="2306328" y="606263"/>
                </a:lnTo>
                <a:close/>
                <a:moveTo>
                  <a:pt x="2283603" y="605769"/>
                </a:moveTo>
                <a:lnTo>
                  <a:pt x="2283629" y="606263"/>
                </a:lnTo>
                <a:lnTo>
                  <a:pt x="2284127" y="606230"/>
                </a:lnTo>
                <a:lnTo>
                  <a:pt x="2284721" y="617670"/>
                </a:lnTo>
                <a:cubicBezTo>
                  <a:pt x="2284721" y="623351"/>
                  <a:pt x="2284662" y="629018"/>
                  <a:pt x="2283350" y="634646"/>
                </a:cubicBezTo>
                <a:cubicBezTo>
                  <a:pt x="2283392" y="665981"/>
                  <a:pt x="2280942" y="696872"/>
                  <a:pt x="2275883" y="727122"/>
                </a:cubicBezTo>
                <a:lnTo>
                  <a:pt x="2275345" y="733798"/>
                </a:lnTo>
                <a:cubicBezTo>
                  <a:pt x="2275175" y="733803"/>
                  <a:pt x="2275007" y="733808"/>
                  <a:pt x="2274839" y="733861"/>
                </a:cubicBezTo>
                <a:cubicBezTo>
                  <a:pt x="2224564" y="1086726"/>
                  <a:pt x="1943525" y="1367503"/>
                  <a:pt x="1584673" y="1426902"/>
                </a:cubicBezTo>
                <a:lnTo>
                  <a:pt x="1584557" y="1428050"/>
                </a:lnTo>
                <a:cubicBezTo>
                  <a:pt x="1579247" y="1429061"/>
                  <a:pt x="1573918" y="1430009"/>
                  <a:pt x="1568341" y="1429590"/>
                </a:cubicBezTo>
                <a:cubicBezTo>
                  <a:pt x="1537169" y="1435144"/>
                  <a:pt x="1505289" y="1438125"/>
                  <a:pt x="1472914" y="1438652"/>
                </a:cubicBezTo>
                <a:lnTo>
                  <a:pt x="1455796" y="1440278"/>
                </a:lnTo>
                <a:lnTo>
                  <a:pt x="1455770" y="1439783"/>
                </a:lnTo>
                <a:lnTo>
                  <a:pt x="1455271" y="1439816"/>
                </a:lnTo>
                <a:cubicBezTo>
                  <a:pt x="1454705" y="1436014"/>
                  <a:pt x="1454678" y="1432198"/>
                  <a:pt x="1454678" y="1428376"/>
                </a:cubicBezTo>
                <a:cubicBezTo>
                  <a:pt x="1454678" y="1422694"/>
                  <a:pt x="1454736" y="1417025"/>
                  <a:pt x="1456048" y="1411395"/>
                </a:cubicBezTo>
                <a:cubicBezTo>
                  <a:pt x="1456006" y="1380067"/>
                  <a:pt x="1458456" y="1349182"/>
                  <a:pt x="1463513" y="1318938"/>
                </a:cubicBezTo>
                <a:lnTo>
                  <a:pt x="1464053" y="1312248"/>
                </a:lnTo>
                <a:cubicBezTo>
                  <a:pt x="1464221" y="1312243"/>
                  <a:pt x="1464391" y="1312238"/>
                  <a:pt x="1464558" y="1312185"/>
                </a:cubicBezTo>
                <a:cubicBezTo>
                  <a:pt x="1514835" y="959319"/>
                  <a:pt x="1795874" y="678542"/>
                  <a:pt x="2154724" y="619144"/>
                </a:cubicBezTo>
                <a:lnTo>
                  <a:pt x="2154841" y="617996"/>
                </a:lnTo>
                <a:cubicBezTo>
                  <a:pt x="2160150" y="616986"/>
                  <a:pt x="2165478" y="616038"/>
                  <a:pt x="2171054" y="616457"/>
                </a:cubicBezTo>
                <a:cubicBezTo>
                  <a:pt x="2202237" y="610900"/>
                  <a:pt x="2234130" y="607919"/>
                  <a:pt x="2266515" y="607392"/>
                </a:cubicBezTo>
                <a:close/>
                <a:moveTo>
                  <a:pt x="614203" y="605769"/>
                </a:moveTo>
                <a:lnTo>
                  <a:pt x="631290" y="607392"/>
                </a:lnTo>
                <a:cubicBezTo>
                  <a:pt x="663676" y="607919"/>
                  <a:pt x="695568" y="610900"/>
                  <a:pt x="726752" y="616457"/>
                </a:cubicBezTo>
                <a:cubicBezTo>
                  <a:pt x="732328" y="616038"/>
                  <a:pt x="737656" y="616986"/>
                  <a:pt x="742964" y="617996"/>
                </a:cubicBezTo>
                <a:lnTo>
                  <a:pt x="743081" y="619144"/>
                </a:lnTo>
                <a:cubicBezTo>
                  <a:pt x="1101932" y="678542"/>
                  <a:pt x="1382971" y="959319"/>
                  <a:pt x="1433247" y="1312185"/>
                </a:cubicBezTo>
                <a:cubicBezTo>
                  <a:pt x="1433415" y="1312238"/>
                  <a:pt x="1433584" y="1312243"/>
                  <a:pt x="1433753" y="1312248"/>
                </a:cubicBezTo>
                <a:lnTo>
                  <a:pt x="1434293" y="1318938"/>
                </a:lnTo>
                <a:cubicBezTo>
                  <a:pt x="1439350" y="1349182"/>
                  <a:pt x="1441799" y="1380067"/>
                  <a:pt x="1441757" y="1411395"/>
                </a:cubicBezTo>
                <a:cubicBezTo>
                  <a:pt x="1443069" y="1417025"/>
                  <a:pt x="1443128" y="1422694"/>
                  <a:pt x="1443128" y="1428376"/>
                </a:cubicBezTo>
                <a:cubicBezTo>
                  <a:pt x="1443128" y="1432198"/>
                  <a:pt x="1443101" y="1436014"/>
                  <a:pt x="1442535" y="1439816"/>
                </a:cubicBezTo>
                <a:lnTo>
                  <a:pt x="1442036" y="1439783"/>
                </a:lnTo>
                <a:lnTo>
                  <a:pt x="1442010" y="1440278"/>
                </a:lnTo>
                <a:lnTo>
                  <a:pt x="1424891" y="1438652"/>
                </a:lnTo>
                <a:cubicBezTo>
                  <a:pt x="1392517" y="1438125"/>
                  <a:pt x="1360637" y="1435144"/>
                  <a:pt x="1329465" y="1429590"/>
                </a:cubicBezTo>
                <a:cubicBezTo>
                  <a:pt x="1323888" y="1430009"/>
                  <a:pt x="1318559" y="1429061"/>
                  <a:pt x="1313248" y="1428050"/>
                </a:cubicBezTo>
                <a:lnTo>
                  <a:pt x="1313132" y="1426902"/>
                </a:lnTo>
                <a:cubicBezTo>
                  <a:pt x="954281" y="1367503"/>
                  <a:pt x="673242" y="1086726"/>
                  <a:pt x="622966" y="733861"/>
                </a:cubicBezTo>
                <a:cubicBezTo>
                  <a:pt x="622799" y="733808"/>
                  <a:pt x="622630" y="733803"/>
                  <a:pt x="622461" y="733798"/>
                </a:cubicBezTo>
                <a:lnTo>
                  <a:pt x="621923" y="727122"/>
                </a:lnTo>
                <a:cubicBezTo>
                  <a:pt x="616864" y="696872"/>
                  <a:pt x="614413" y="665981"/>
                  <a:pt x="614455" y="634646"/>
                </a:cubicBezTo>
                <a:cubicBezTo>
                  <a:pt x="613143" y="629018"/>
                  <a:pt x="613085" y="623351"/>
                  <a:pt x="613085" y="617670"/>
                </a:cubicBezTo>
                <a:lnTo>
                  <a:pt x="613679" y="606230"/>
                </a:lnTo>
                <a:lnTo>
                  <a:pt x="614177" y="606263"/>
                </a:lnTo>
                <a:close/>
                <a:moveTo>
                  <a:pt x="7360056" y="605769"/>
                </a:moveTo>
                <a:lnTo>
                  <a:pt x="7360082" y="606263"/>
                </a:lnTo>
                <a:lnTo>
                  <a:pt x="7360580" y="606230"/>
                </a:lnTo>
                <a:lnTo>
                  <a:pt x="7361174" y="617670"/>
                </a:lnTo>
                <a:cubicBezTo>
                  <a:pt x="7361174" y="623351"/>
                  <a:pt x="7361116" y="629018"/>
                  <a:pt x="7359804" y="634646"/>
                </a:cubicBezTo>
                <a:cubicBezTo>
                  <a:pt x="7359846" y="665981"/>
                  <a:pt x="7357395" y="696872"/>
                  <a:pt x="7352337" y="727122"/>
                </a:cubicBezTo>
                <a:lnTo>
                  <a:pt x="7351798" y="733798"/>
                </a:lnTo>
                <a:cubicBezTo>
                  <a:pt x="7351629" y="733803"/>
                  <a:pt x="7351460" y="733808"/>
                  <a:pt x="7351293" y="733861"/>
                </a:cubicBezTo>
                <a:cubicBezTo>
                  <a:pt x="7301017" y="1086726"/>
                  <a:pt x="7019978" y="1367503"/>
                  <a:pt x="6661127" y="1426902"/>
                </a:cubicBezTo>
                <a:lnTo>
                  <a:pt x="6661011" y="1428050"/>
                </a:lnTo>
                <a:cubicBezTo>
                  <a:pt x="6655700" y="1429061"/>
                  <a:pt x="6650371" y="1430009"/>
                  <a:pt x="6644794" y="1429590"/>
                </a:cubicBezTo>
                <a:cubicBezTo>
                  <a:pt x="6613622" y="1435144"/>
                  <a:pt x="6581742" y="1438125"/>
                  <a:pt x="6549368" y="1438652"/>
                </a:cubicBezTo>
                <a:lnTo>
                  <a:pt x="6532249" y="1440278"/>
                </a:lnTo>
                <a:lnTo>
                  <a:pt x="6532223" y="1439783"/>
                </a:lnTo>
                <a:lnTo>
                  <a:pt x="6531724" y="1439816"/>
                </a:lnTo>
                <a:cubicBezTo>
                  <a:pt x="6531158" y="1436014"/>
                  <a:pt x="6531131" y="1432198"/>
                  <a:pt x="6531131" y="1428376"/>
                </a:cubicBezTo>
                <a:cubicBezTo>
                  <a:pt x="6531131" y="1422694"/>
                  <a:pt x="6531190" y="1417025"/>
                  <a:pt x="6532502" y="1411395"/>
                </a:cubicBezTo>
                <a:cubicBezTo>
                  <a:pt x="6532460" y="1380067"/>
                  <a:pt x="6534909" y="1349182"/>
                  <a:pt x="6539966" y="1318938"/>
                </a:cubicBezTo>
                <a:lnTo>
                  <a:pt x="6540506" y="1312248"/>
                </a:lnTo>
                <a:cubicBezTo>
                  <a:pt x="6540675" y="1312243"/>
                  <a:pt x="6540844" y="1312238"/>
                  <a:pt x="6541012" y="1312185"/>
                </a:cubicBezTo>
                <a:cubicBezTo>
                  <a:pt x="6591288" y="959319"/>
                  <a:pt x="6872327" y="678542"/>
                  <a:pt x="7231178" y="619144"/>
                </a:cubicBezTo>
                <a:lnTo>
                  <a:pt x="7231295" y="617996"/>
                </a:lnTo>
                <a:cubicBezTo>
                  <a:pt x="7236603" y="616986"/>
                  <a:pt x="7241931" y="616038"/>
                  <a:pt x="7247507" y="616457"/>
                </a:cubicBezTo>
                <a:cubicBezTo>
                  <a:pt x="7278691" y="610900"/>
                  <a:pt x="7310583" y="607919"/>
                  <a:pt x="7342969" y="607392"/>
                </a:cubicBezTo>
                <a:close/>
                <a:moveTo>
                  <a:pt x="591452" y="605769"/>
                </a:moveTo>
                <a:lnTo>
                  <a:pt x="591478" y="606263"/>
                </a:lnTo>
                <a:lnTo>
                  <a:pt x="591976" y="606230"/>
                </a:lnTo>
                <a:lnTo>
                  <a:pt x="592570" y="617670"/>
                </a:lnTo>
                <a:cubicBezTo>
                  <a:pt x="592570" y="623351"/>
                  <a:pt x="592511" y="629018"/>
                  <a:pt x="591199" y="634646"/>
                </a:cubicBezTo>
                <a:cubicBezTo>
                  <a:pt x="591242" y="665981"/>
                  <a:pt x="588791" y="696872"/>
                  <a:pt x="583732" y="727122"/>
                </a:cubicBezTo>
                <a:lnTo>
                  <a:pt x="583194" y="733798"/>
                </a:lnTo>
                <a:cubicBezTo>
                  <a:pt x="583024" y="733803"/>
                  <a:pt x="582856" y="733808"/>
                  <a:pt x="582689" y="733861"/>
                </a:cubicBezTo>
                <a:cubicBezTo>
                  <a:pt x="537576" y="1050490"/>
                  <a:pt x="306662" y="1309076"/>
                  <a:pt x="0" y="1400276"/>
                </a:cubicBezTo>
                <a:lnTo>
                  <a:pt x="0" y="1267938"/>
                </a:lnTo>
                <a:cubicBezTo>
                  <a:pt x="229298" y="1185101"/>
                  <a:pt x="402181" y="989705"/>
                  <a:pt x="449203" y="750600"/>
                </a:cubicBezTo>
                <a:cubicBezTo>
                  <a:pt x="258971" y="791484"/>
                  <a:pt x="97576" y="906749"/>
                  <a:pt x="0" y="1064489"/>
                </a:cubicBezTo>
                <a:lnTo>
                  <a:pt x="0" y="857695"/>
                </a:lnTo>
                <a:cubicBezTo>
                  <a:pt x="121484" y="734788"/>
                  <a:pt x="282199" y="649000"/>
                  <a:pt x="462573" y="619144"/>
                </a:cubicBezTo>
                <a:lnTo>
                  <a:pt x="462690" y="617996"/>
                </a:lnTo>
                <a:cubicBezTo>
                  <a:pt x="467999" y="616986"/>
                  <a:pt x="473327" y="616038"/>
                  <a:pt x="478903" y="616457"/>
                </a:cubicBezTo>
                <a:cubicBezTo>
                  <a:pt x="510086" y="610900"/>
                  <a:pt x="541979" y="607919"/>
                  <a:pt x="574365" y="607392"/>
                </a:cubicBezTo>
                <a:close/>
                <a:moveTo>
                  <a:pt x="11969013" y="0"/>
                </a:moveTo>
                <a:lnTo>
                  <a:pt x="12180097" y="0"/>
                </a:lnTo>
                <a:cubicBezTo>
                  <a:pt x="12184579" y="2797"/>
                  <a:pt x="12188307" y="6390"/>
                  <a:pt x="12192000" y="10016"/>
                </a:cubicBezTo>
                <a:lnTo>
                  <a:pt x="12192000" y="210008"/>
                </a:lnTo>
                <a:cubicBezTo>
                  <a:pt x="12135666" y="124006"/>
                  <a:pt x="12059786" y="51396"/>
                  <a:pt x="11969013" y="0"/>
                </a:cubicBezTo>
                <a:close/>
                <a:moveTo>
                  <a:pt x="11640695" y="0"/>
                </a:moveTo>
                <a:lnTo>
                  <a:pt x="11775234" y="0"/>
                </a:lnTo>
                <a:cubicBezTo>
                  <a:pt x="11842228" y="193636"/>
                  <a:pt x="11995970" y="348667"/>
                  <a:pt x="12192000" y="421829"/>
                </a:cubicBezTo>
                <a:lnTo>
                  <a:pt x="12192000" y="553832"/>
                </a:lnTo>
                <a:cubicBezTo>
                  <a:pt x="11924422" y="471599"/>
                  <a:pt x="11715712" y="262771"/>
                  <a:pt x="11640695" y="0"/>
                </a:cubicBezTo>
                <a:close/>
                <a:moveTo>
                  <a:pt x="11023379" y="0"/>
                </a:moveTo>
                <a:lnTo>
                  <a:pt x="11232088" y="0"/>
                </a:lnTo>
                <a:cubicBezTo>
                  <a:pt x="11066618" y="98005"/>
                  <a:pt x="10947209" y="260867"/>
                  <a:pt x="10909358" y="451830"/>
                </a:cubicBezTo>
                <a:cubicBezTo>
                  <a:pt x="11153410" y="399791"/>
                  <a:pt x="11350000" y="226290"/>
                  <a:pt x="11427896" y="0"/>
                </a:cubicBezTo>
                <a:lnTo>
                  <a:pt x="11561912" y="0"/>
                </a:lnTo>
                <a:cubicBezTo>
                  <a:pt x="11477134" y="299826"/>
                  <a:pt x="11217862" y="529393"/>
                  <a:pt x="10895987" y="582253"/>
                </a:cubicBezTo>
                <a:lnTo>
                  <a:pt x="10895871" y="583392"/>
                </a:lnTo>
                <a:cubicBezTo>
                  <a:pt x="10890560" y="584395"/>
                  <a:pt x="10885231" y="585336"/>
                  <a:pt x="10879654" y="584920"/>
                </a:cubicBezTo>
                <a:cubicBezTo>
                  <a:pt x="10848482" y="590430"/>
                  <a:pt x="10816602" y="593388"/>
                  <a:pt x="10784227" y="593911"/>
                </a:cubicBezTo>
                <a:lnTo>
                  <a:pt x="10767109" y="595524"/>
                </a:lnTo>
                <a:lnTo>
                  <a:pt x="10767083" y="595033"/>
                </a:lnTo>
                <a:lnTo>
                  <a:pt x="10766584" y="595066"/>
                </a:lnTo>
                <a:cubicBezTo>
                  <a:pt x="10766018" y="591293"/>
                  <a:pt x="10765991" y="587507"/>
                  <a:pt x="10765991" y="583715"/>
                </a:cubicBezTo>
                <a:cubicBezTo>
                  <a:pt x="10765991" y="578078"/>
                  <a:pt x="10766050" y="572454"/>
                  <a:pt x="10767362" y="566868"/>
                </a:cubicBezTo>
                <a:cubicBezTo>
                  <a:pt x="10767319" y="535786"/>
                  <a:pt x="10769769" y="505143"/>
                  <a:pt x="10774826" y="475137"/>
                </a:cubicBezTo>
                <a:lnTo>
                  <a:pt x="10775366" y="468500"/>
                </a:lnTo>
                <a:cubicBezTo>
                  <a:pt x="10775535" y="468495"/>
                  <a:pt x="10775704" y="468490"/>
                  <a:pt x="10775872" y="468437"/>
                </a:cubicBezTo>
                <a:cubicBezTo>
                  <a:pt x="10802174" y="285283"/>
                  <a:pt x="10891635" y="121704"/>
                  <a:pt x="11023379" y="0"/>
                </a:cubicBezTo>
                <a:close/>
                <a:moveTo>
                  <a:pt x="9949555" y="0"/>
                </a:moveTo>
                <a:lnTo>
                  <a:pt x="10083571" y="0"/>
                </a:lnTo>
                <a:cubicBezTo>
                  <a:pt x="10161467" y="226290"/>
                  <a:pt x="10358057" y="399791"/>
                  <a:pt x="10602109" y="451830"/>
                </a:cubicBezTo>
                <a:cubicBezTo>
                  <a:pt x="10564258" y="260867"/>
                  <a:pt x="10444849" y="98005"/>
                  <a:pt x="10279379" y="0"/>
                </a:cubicBezTo>
                <a:lnTo>
                  <a:pt x="10488089" y="0"/>
                </a:lnTo>
                <a:cubicBezTo>
                  <a:pt x="10619833" y="121704"/>
                  <a:pt x="10709293" y="285283"/>
                  <a:pt x="10735596" y="468437"/>
                </a:cubicBezTo>
                <a:cubicBezTo>
                  <a:pt x="10735763" y="468490"/>
                  <a:pt x="10735932" y="468495"/>
                  <a:pt x="10736101" y="468500"/>
                </a:cubicBezTo>
                <a:lnTo>
                  <a:pt x="10736641" y="475137"/>
                </a:lnTo>
                <a:cubicBezTo>
                  <a:pt x="10741698" y="505143"/>
                  <a:pt x="10744148" y="535786"/>
                  <a:pt x="10744105" y="566868"/>
                </a:cubicBezTo>
                <a:cubicBezTo>
                  <a:pt x="10745417" y="572454"/>
                  <a:pt x="10745476" y="578078"/>
                  <a:pt x="10745476" y="583715"/>
                </a:cubicBezTo>
                <a:cubicBezTo>
                  <a:pt x="10745476" y="587507"/>
                  <a:pt x="10745449" y="591293"/>
                  <a:pt x="10744883" y="595066"/>
                </a:cubicBezTo>
                <a:lnTo>
                  <a:pt x="10744384" y="595033"/>
                </a:lnTo>
                <a:lnTo>
                  <a:pt x="10744358" y="595524"/>
                </a:lnTo>
                <a:lnTo>
                  <a:pt x="10727240" y="593911"/>
                </a:lnTo>
                <a:cubicBezTo>
                  <a:pt x="10694865" y="593388"/>
                  <a:pt x="10662985" y="590430"/>
                  <a:pt x="10631813" y="584920"/>
                </a:cubicBezTo>
                <a:cubicBezTo>
                  <a:pt x="10626236" y="585336"/>
                  <a:pt x="10620907" y="584395"/>
                  <a:pt x="10615596" y="583392"/>
                </a:cubicBezTo>
                <a:lnTo>
                  <a:pt x="10615480" y="582253"/>
                </a:lnTo>
                <a:cubicBezTo>
                  <a:pt x="10293605" y="529393"/>
                  <a:pt x="10034333" y="299826"/>
                  <a:pt x="9949555" y="0"/>
                </a:cubicBezTo>
                <a:close/>
                <a:moveTo>
                  <a:pt x="9331225" y="0"/>
                </a:moveTo>
                <a:lnTo>
                  <a:pt x="9539935" y="0"/>
                </a:lnTo>
                <a:cubicBezTo>
                  <a:pt x="9374465" y="98005"/>
                  <a:pt x="9255056" y="260867"/>
                  <a:pt x="9217205" y="451830"/>
                </a:cubicBezTo>
                <a:cubicBezTo>
                  <a:pt x="9461257" y="399791"/>
                  <a:pt x="9657847" y="226290"/>
                  <a:pt x="9735743" y="0"/>
                </a:cubicBezTo>
                <a:lnTo>
                  <a:pt x="9869759" y="0"/>
                </a:lnTo>
                <a:cubicBezTo>
                  <a:pt x="9784981" y="299826"/>
                  <a:pt x="9525709" y="529393"/>
                  <a:pt x="9203834" y="582253"/>
                </a:cubicBezTo>
                <a:lnTo>
                  <a:pt x="9203718" y="583392"/>
                </a:lnTo>
                <a:cubicBezTo>
                  <a:pt x="9198407" y="584395"/>
                  <a:pt x="9193078" y="585336"/>
                  <a:pt x="9187501" y="584920"/>
                </a:cubicBezTo>
                <a:cubicBezTo>
                  <a:pt x="9156329" y="590430"/>
                  <a:pt x="9124449" y="593388"/>
                  <a:pt x="9092074" y="593911"/>
                </a:cubicBezTo>
                <a:lnTo>
                  <a:pt x="9074956" y="595524"/>
                </a:lnTo>
                <a:lnTo>
                  <a:pt x="9074930" y="595033"/>
                </a:lnTo>
                <a:lnTo>
                  <a:pt x="9074431" y="595066"/>
                </a:lnTo>
                <a:cubicBezTo>
                  <a:pt x="9073865" y="591293"/>
                  <a:pt x="9073838" y="587507"/>
                  <a:pt x="9073838" y="583715"/>
                </a:cubicBezTo>
                <a:cubicBezTo>
                  <a:pt x="9073838" y="578078"/>
                  <a:pt x="9073897" y="572454"/>
                  <a:pt x="9075209" y="566868"/>
                </a:cubicBezTo>
                <a:cubicBezTo>
                  <a:pt x="9075166" y="535786"/>
                  <a:pt x="9077616" y="505143"/>
                  <a:pt x="9082673" y="475137"/>
                </a:cubicBezTo>
                <a:lnTo>
                  <a:pt x="9083213" y="468500"/>
                </a:lnTo>
                <a:cubicBezTo>
                  <a:pt x="9083382" y="468495"/>
                  <a:pt x="9083551" y="468490"/>
                  <a:pt x="9083718" y="468437"/>
                </a:cubicBezTo>
                <a:cubicBezTo>
                  <a:pt x="9110021" y="285283"/>
                  <a:pt x="9199481" y="121704"/>
                  <a:pt x="9331225" y="0"/>
                </a:cubicBezTo>
                <a:close/>
                <a:moveTo>
                  <a:pt x="8257405" y="0"/>
                </a:moveTo>
                <a:lnTo>
                  <a:pt x="8391420" y="0"/>
                </a:lnTo>
                <a:cubicBezTo>
                  <a:pt x="8469316" y="226290"/>
                  <a:pt x="8665906" y="399791"/>
                  <a:pt x="8909958" y="451830"/>
                </a:cubicBezTo>
                <a:cubicBezTo>
                  <a:pt x="8872107" y="260867"/>
                  <a:pt x="8752698" y="98005"/>
                  <a:pt x="8587228" y="0"/>
                </a:cubicBezTo>
                <a:lnTo>
                  <a:pt x="8795937" y="0"/>
                </a:lnTo>
                <a:cubicBezTo>
                  <a:pt x="8927681" y="121704"/>
                  <a:pt x="9017142" y="285283"/>
                  <a:pt x="9043444" y="468437"/>
                </a:cubicBezTo>
                <a:cubicBezTo>
                  <a:pt x="9043612" y="468490"/>
                  <a:pt x="9043781" y="468495"/>
                  <a:pt x="9043950" y="468500"/>
                </a:cubicBezTo>
                <a:lnTo>
                  <a:pt x="9044490" y="475137"/>
                </a:lnTo>
                <a:cubicBezTo>
                  <a:pt x="9049547" y="505143"/>
                  <a:pt x="9051997" y="535786"/>
                  <a:pt x="9051954" y="566868"/>
                </a:cubicBezTo>
                <a:cubicBezTo>
                  <a:pt x="9053266" y="572454"/>
                  <a:pt x="9053325" y="578078"/>
                  <a:pt x="9053325" y="583715"/>
                </a:cubicBezTo>
                <a:cubicBezTo>
                  <a:pt x="9053325" y="587507"/>
                  <a:pt x="9053298" y="591293"/>
                  <a:pt x="9052732" y="595066"/>
                </a:cubicBezTo>
                <a:lnTo>
                  <a:pt x="9052233" y="595033"/>
                </a:lnTo>
                <a:lnTo>
                  <a:pt x="9052207" y="595524"/>
                </a:lnTo>
                <a:lnTo>
                  <a:pt x="9035089" y="593911"/>
                </a:lnTo>
                <a:cubicBezTo>
                  <a:pt x="9002714" y="593388"/>
                  <a:pt x="8970834" y="590430"/>
                  <a:pt x="8939662" y="584920"/>
                </a:cubicBezTo>
                <a:cubicBezTo>
                  <a:pt x="8934085" y="585336"/>
                  <a:pt x="8928756" y="584395"/>
                  <a:pt x="8923445" y="583392"/>
                </a:cubicBezTo>
                <a:lnTo>
                  <a:pt x="8923329" y="582253"/>
                </a:lnTo>
                <a:cubicBezTo>
                  <a:pt x="8601454" y="529393"/>
                  <a:pt x="8342182" y="299826"/>
                  <a:pt x="8257405" y="0"/>
                </a:cubicBezTo>
                <a:close/>
                <a:moveTo>
                  <a:pt x="7639075" y="0"/>
                </a:moveTo>
                <a:lnTo>
                  <a:pt x="7847784" y="0"/>
                </a:lnTo>
                <a:cubicBezTo>
                  <a:pt x="7682314" y="98005"/>
                  <a:pt x="7562905" y="260867"/>
                  <a:pt x="7525054" y="451830"/>
                </a:cubicBezTo>
                <a:cubicBezTo>
                  <a:pt x="7769107" y="399791"/>
                  <a:pt x="7965696" y="226290"/>
                  <a:pt x="8043592" y="0"/>
                </a:cubicBezTo>
                <a:lnTo>
                  <a:pt x="8177609" y="0"/>
                </a:lnTo>
                <a:cubicBezTo>
                  <a:pt x="8092830" y="299826"/>
                  <a:pt x="7833558" y="529393"/>
                  <a:pt x="7511683" y="582253"/>
                </a:cubicBezTo>
                <a:lnTo>
                  <a:pt x="7511567" y="583392"/>
                </a:lnTo>
                <a:cubicBezTo>
                  <a:pt x="7506256" y="584395"/>
                  <a:pt x="7500927" y="585336"/>
                  <a:pt x="7495350" y="584920"/>
                </a:cubicBezTo>
                <a:cubicBezTo>
                  <a:pt x="7464178" y="590430"/>
                  <a:pt x="7432298" y="593388"/>
                  <a:pt x="7399924" y="593911"/>
                </a:cubicBezTo>
                <a:lnTo>
                  <a:pt x="7382805" y="595524"/>
                </a:lnTo>
                <a:lnTo>
                  <a:pt x="7382779" y="595033"/>
                </a:lnTo>
                <a:lnTo>
                  <a:pt x="7382280" y="595066"/>
                </a:lnTo>
                <a:cubicBezTo>
                  <a:pt x="7381714" y="591293"/>
                  <a:pt x="7381687" y="587507"/>
                  <a:pt x="7381687" y="583715"/>
                </a:cubicBezTo>
                <a:cubicBezTo>
                  <a:pt x="7381687" y="578078"/>
                  <a:pt x="7381746" y="572454"/>
                  <a:pt x="7383058" y="566868"/>
                </a:cubicBezTo>
                <a:cubicBezTo>
                  <a:pt x="7383016" y="535786"/>
                  <a:pt x="7385465" y="505143"/>
                  <a:pt x="7390522" y="475137"/>
                </a:cubicBezTo>
                <a:lnTo>
                  <a:pt x="7391062" y="468500"/>
                </a:lnTo>
                <a:cubicBezTo>
                  <a:pt x="7391231" y="468495"/>
                  <a:pt x="7391400" y="468490"/>
                  <a:pt x="7391568" y="468437"/>
                </a:cubicBezTo>
                <a:cubicBezTo>
                  <a:pt x="7417870" y="285283"/>
                  <a:pt x="7507331" y="121703"/>
                  <a:pt x="7639075" y="0"/>
                </a:cubicBezTo>
                <a:close/>
                <a:moveTo>
                  <a:pt x="6565254" y="0"/>
                </a:moveTo>
                <a:lnTo>
                  <a:pt x="6699270" y="0"/>
                </a:lnTo>
                <a:cubicBezTo>
                  <a:pt x="6777166" y="226290"/>
                  <a:pt x="6973755" y="399791"/>
                  <a:pt x="7217807" y="451830"/>
                </a:cubicBezTo>
                <a:cubicBezTo>
                  <a:pt x="7179956" y="260867"/>
                  <a:pt x="7060547" y="98005"/>
                  <a:pt x="6895077" y="0"/>
                </a:cubicBezTo>
                <a:lnTo>
                  <a:pt x="7103787" y="0"/>
                </a:lnTo>
                <a:cubicBezTo>
                  <a:pt x="7235531" y="121704"/>
                  <a:pt x="7324992" y="285283"/>
                  <a:pt x="7351294" y="468437"/>
                </a:cubicBezTo>
                <a:cubicBezTo>
                  <a:pt x="7351461" y="468490"/>
                  <a:pt x="7351631" y="468495"/>
                  <a:pt x="7351799" y="468500"/>
                </a:cubicBezTo>
                <a:lnTo>
                  <a:pt x="7352340" y="475137"/>
                </a:lnTo>
                <a:cubicBezTo>
                  <a:pt x="7357396" y="505143"/>
                  <a:pt x="7359846" y="535786"/>
                  <a:pt x="7359804" y="566868"/>
                </a:cubicBezTo>
                <a:cubicBezTo>
                  <a:pt x="7361116" y="572454"/>
                  <a:pt x="7361174" y="578078"/>
                  <a:pt x="7361174" y="583715"/>
                </a:cubicBezTo>
                <a:cubicBezTo>
                  <a:pt x="7361174" y="587507"/>
                  <a:pt x="7361147" y="591293"/>
                  <a:pt x="7360581" y="595066"/>
                </a:cubicBezTo>
                <a:lnTo>
                  <a:pt x="7360082" y="595033"/>
                </a:lnTo>
                <a:lnTo>
                  <a:pt x="7360056" y="595524"/>
                </a:lnTo>
                <a:lnTo>
                  <a:pt x="7342938" y="593911"/>
                </a:lnTo>
                <a:cubicBezTo>
                  <a:pt x="7310564" y="593388"/>
                  <a:pt x="7278683" y="590430"/>
                  <a:pt x="7247511" y="584920"/>
                </a:cubicBezTo>
                <a:cubicBezTo>
                  <a:pt x="7241934" y="585336"/>
                  <a:pt x="7236605" y="584395"/>
                  <a:pt x="7231295" y="583392"/>
                </a:cubicBezTo>
                <a:lnTo>
                  <a:pt x="7231179" y="582253"/>
                </a:lnTo>
                <a:cubicBezTo>
                  <a:pt x="6909304" y="529393"/>
                  <a:pt x="6650032" y="299826"/>
                  <a:pt x="6565254" y="0"/>
                </a:cubicBezTo>
                <a:close/>
                <a:moveTo>
                  <a:pt x="5946924" y="0"/>
                </a:moveTo>
                <a:lnTo>
                  <a:pt x="6155633" y="0"/>
                </a:lnTo>
                <a:cubicBezTo>
                  <a:pt x="5990163" y="98005"/>
                  <a:pt x="5870754" y="260867"/>
                  <a:pt x="5832903" y="451830"/>
                </a:cubicBezTo>
                <a:cubicBezTo>
                  <a:pt x="6076956" y="399791"/>
                  <a:pt x="6273545" y="226290"/>
                  <a:pt x="6351441" y="0"/>
                </a:cubicBezTo>
                <a:lnTo>
                  <a:pt x="6485457" y="0"/>
                </a:lnTo>
                <a:cubicBezTo>
                  <a:pt x="6400679" y="299826"/>
                  <a:pt x="6141407" y="529393"/>
                  <a:pt x="5819531" y="582253"/>
                </a:cubicBezTo>
                <a:lnTo>
                  <a:pt x="5819415" y="583392"/>
                </a:lnTo>
                <a:cubicBezTo>
                  <a:pt x="5814105" y="584395"/>
                  <a:pt x="5808776" y="585336"/>
                  <a:pt x="5803199" y="584920"/>
                </a:cubicBezTo>
                <a:cubicBezTo>
                  <a:pt x="5772027" y="590430"/>
                  <a:pt x="5740146" y="593388"/>
                  <a:pt x="5707772" y="593911"/>
                </a:cubicBezTo>
                <a:lnTo>
                  <a:pt x="5690654" y="595524"/>
                </a:lnTo>
                <a:lnTo>
                  <a:pt x="5690628" y="595033"/>
                </a:lnTo>
                <a:lnTo>
                  <a:pt x="5690129" y="595066"/>
                </a:lnTo>
                <a:cubicBezTo>
                  <a:pt x="5689563" y="591293"/>
                  <a:pt x="5689536" y="587507"/>
                  <a:pt x="5689536" y="583715"/>
                </a:cubicBezTo>
                <a:cubicBezTo>
                  <a:pt x="5689536" y="578078"/>
                  <a:pt x="5689594" y="572454"/>
                  <a:pt x="5690906" y="566868"/>
                </a:cubicBezTo>
                <a:cubicBezTo>
                  <a:pt x="5690864" y="535786"/>
                  <a:pt x="5693314" y="505143"/>
                  <a:pt x="5698370" y="475137"/>
                </a:cubicBezTo>
                <a:lnTo>
                  <a:pt x="5698911" y="468500"/>
                </a:lnTo>
                <a:cubicBezTo>
                  <a:pt x="5699079" y="468495"/>
                  <a:pt x="5699249" y="468490"/>
                  <a:pt x="5699416" y="468437"/>
                </a:cubicBezTo>
                <a:cubicBezTo>
                  <a:pt x="5725719" y="285283"/>
                  <a:pt x="5815180" y="121704"/>
                  <a:pt x="5946924" y="0"/>
                </a:cubicBezTo>
                <a:close/>
                <a:moveTo>
                  <a:pt x="4873102" y="0"/>
                </a:moveTo>
                <a:lnTo>
                  <a:pt x="5007119" y="0"/>
                </a:lnTo>
                <a:cubicBezTo>
                  <a:pt x="5085015" y="226291"/>
                  <a:pt x="5281604" y="399791"/>
                  <a:pt x="5525656" y="451830"/>
                </a:cubicBezTo>
                <a:cubicBezTo>
                  <a:pt x="5487805" y="260867"/>
                  <a:pt x="5368397" y="98005"/>
                  <a:pt x="5202927" y="0"/>
                </a:cubicBezTo>
                <a:lnTo>
                  <a:pt x="5411635" y="0"/>
                </a:lnTo>
                <a:cubicBezTo>
                  <a:pt x="5543380" y="121703"/>
                  <a:pt x="5632840" y="285283"/>
                  <a:pt x="5659142" y="468437"/>
                </a:cubicBezTo>
                <a:cubicBezTo>
                  <a:pt x="5659310" y="468490"/>
                  <a:pt x="5659479" y="468495"/>
                  <a:pt x="5659648" y="468499"/>
                </a:cubicBezTo>
                <a:lnTo>
                  <a:pt x="5660188" y="475137"/>
                </a:lnTo>
                <a:cubicBezTo>
                  <a:pt x="5665245" y="505143"/>
                  <a:pt x="5667694" y="535786"/>
                  <a:pt x="5667652" y="566868"/>
                </a:cubicBezTo>
                <a:cubicBezTo>
                  <a:pt x="5668964" y="572454"/>
                  <a:pt x="5669023" y="578078"/>
                  <a:pt x="5669023" y="583715"/>
                </a:cubicBezTo>
                <a:cubicBezTo>
                  <a:pt x="5669023" y="587508"/>
                  <a:pt x="5668996" y="591293"/>
                  <a:pt x="5668430" y="595066"/>
                </a:cubicBezTo>
                <a:lnTo>
                  <a:pt x="5667931" y="595033"/>
                </a:lnTo>
                <a:lnTo>
                  <a:pt x="5667905" y="595524"/>
                </a:lnTo>
                <a:lnTo>
                  <a:pt x="5650786" y="593911"/>
                </a:lnTo>
                <a:cubicBezTo>
                  <a:pt x="5618412" y="593388"/>
                  <a:pt x="5586532" y="590430"/>
                  <a:pt x="5555360" y="584920"/>
                </a:cubicBezTo>
                <a:cubicBezTo>
                  <a:pt x="5549783" y="585336"/>
                  <a:pt x="5544454" y="584395"/>
                  <a:pt x="5539143" y="583392"/>
                </a:cubicBezTo>
                <a:lnTo>
                  <a:pt x="5539027" y="582253"/>
                </a:lnTo>
                <a:cubicBezTo>
                  <a:pt x="5217153" y="529393"/>
                  <a:pt x="4957881" y="299826"/>
                  <a:pt x="4873102" y="0"/>
                </a:cubicBezTo>
                <a:close/>
                <a:moveTo>
                  <a:pt x="4254773" y="0"/>
                </a:moveTo>
                <a:lnTo>
                  <a:pt x="4463482" y="0"/>
                </a:lnTo>
                <a:cubicBezTo>
                  <a:pt x="4298012" y="98005"/>
                  <a:pt x="4178603" y="260867"/>
                  <a:pt x="4140752" y="451830"/>
                </a:cubicBezTo>
                <a:cubicBezTo>
                  <a:pt x="4384804" y="399791"/>
                  <a:pt x="4581394" y="226291"/>
                  <a:pt x="4659290" y="0"/>
                </a:cubicBezTo>
                <a:lnTo>
                  <a:pt x="4793306" y="0"/>
                </a:lnTo>
                <a:cubicBezTo>
                  <a:pt x="4708528" y="299826"/>
                  <a:pt x="4449256" y="529393"/>
                  <a:pt x="4127381" y="582253"/>
                </a:cubicBezTo>
                <a:lnTo>
                  <a:pt x="4127264" y="583392"/>
                </a:lnTo>
                <a:cubicBezTo>
                  <a:pt x="4121954" y="584395"/>
                  <a:pt x="4116625" y="585336"/>
                  <a:pt x="4111048" y="584920"/>
                </a:cubicBezTo>
                <a:cubicBezTo>
                  <a:pt x="4079876" y="590430"/>
                  <a:pt x="4047996" y="593388"/>
                  <a:pt x="4015621" y="593911"/>
                </a:cubicBezTo>
                <a:lnTo>
                  <a:pt x="3998503" y="595524"/>
                </a:lnTo>
                <a:lnTo>
                  <a:pt x="3998477" y="595033"/>
                </a:lnTo>
                <a:lnTo>
                  <a:pt x="3997978" y="595066"/>
                </a:lnTo>
                <a:cubicBezTo>
                  <a:pt x="3997412" y="591293"/>
                  <a:pt x="3997385" y="587507"/>
                  <a:pt x="3997385" y="583715"/>
                </a:cubicBezTo>
                <a:cubicBezTo>
                  <a:pt x="3997385" y="578078"/>
                  <a:pt x="3997443" y="572454"/>
                  <a:pt x="3998755" y="566868"/>
                </a:cubicBezTo>
                <a:cubicBezTo>
                  <a:pt x="3998713" y="535786"/>
                  <a:pt x="4001163" y="505143"/>
                  <a:pt x="4006219" y="475137"/>
                </a:cubicBezTo>
                <a:lnTo>
                  <a:pt x="4006760" y="468499"/>
                </a:lnTo>
                <a:cubicBezTo>
                  <a:pt x="4006928" y="468495"/>
                  <a:pt x="4007098" y="468490"/>
                  <a:pt x="4007265" y="468437"/>
                </a:cubicBezTo>
                <a:cubicBezTo>
                  <a:pt x="4033568" y="285283"/>
                  <a:pt x="4123028" y="121703"/>
                  <a:pt x="4254773" y="0"/>
                </a:cubicBezTo>
                <a:close/>
                <a:moveTo>
                  <a:pt x="3180951" y="0"/>
                </a:moveTo>
                <a:lnTo>
                  <a:pt x="3314968" y="0"/>
                </a:lnTo>
                <a:cubicBezTo>
                  <a:pt x="3392864" y="226291"/>
                  <a:pt x="3589453" y="399791"/>
                  <a:pt x="3833505" y="451830"/>
                </a:cubicBezTo>
                <a:cubicBezTo>
                  <a:pt x="3795654" y="260867"/>
                  <a:pt x="3676245" y="98005"/>
                  <a:pt x="3510776" y="0"/>
                </a:cubicBezTo>
                <a:lnTo>
                  <a:pt x="3719484" y="0"/>
                </a:lnTo>
                <a:cubicBezTo>
                  <a:pt x="3851229" y="121703"/>
                  <a:pt x="3940689" y="285283"/>
                  <a:pt x="3966991" y="468437"/>
                </a:cubicBezTo>
                <a:cubicBezTo>
                  <a:pt x="3967159" y="468490"/>
                  <a:pt x="3967328" y="468495"/>
                  <a:pt x="3967497" y="468499"/>
                </a:cubicBezTo>
                <a:lnTo>
                  <a:pt x="3968037" y="475137"/>
                </a:lnTo>
                <a:cubicBezTo>
                  <a:pt x="3973094" y="505143"/>
                  <a:pt x="3975543" y="535786"/>
                  <a:pt x="3975501" y="566868"/>
                </a:cubicBezTo>
                <a:cubicBezTo>
                  <a:pt x="3976813" y="572454"/>
                  <a:pt x="3976872" y="578078"/>
                  <a:pt x="3976872" y="583715"/>
                </a:cubicBezTo>
                <a:cubicBezTo>
                  <a:pt x="3976872" y="587508"/>
                  <a:pt x="3976845" y="591293"/>
                  <a:pt x="3976279" y="595066"/>
                </a:cubicBezTo>
                <a:lnTo>
                  <a:pt x="3975780" y="595033"/>
                </a:lnTo>
                <a:lnTo>
                  <a:pt x="3975754" y="595524"/>
                </a:lnTo>
                <a:lnTo>
                  <a:pt x="3958635" y="593911"/>
                </a:lnTo>
                <a:cubicBezTo>
                  <a:pt x="3926261" y="593388"/>
                  <a:pt x="3894381" y="590430"/>
                  <a:pt x="3863209" y="584920"/>
                </a:cubicBezTo>
                <a:cubicBezTo>
                  <a:pt x="3857632" y="585336"/>
                  <a:pt x="3852303" y="584395"/>
                  <a:pt x="3846992" y="583392"/>
                </a:cubicBezTo>
                <a:lnTo>
                  <a:pt x="3846876" y="582253"/>
                </a:lnTo>
                <a:cubicBezTo>
                  <a:pt x="3525002" y="529393"/>
                  <a:pt x="3265729" y="299826"/>
                  <a:pt x="3180951" y="0"/>
                </a:cubicBezTo>
                <a:close/>
                <a:moveTo>
                  <a:pt x="2562622" y="0"/>
                </a:moveTo>
                <a:lnTo>
                  <a:pt x="2771330" y="0"/>
                </a:lnTo>
                <a:cubicBezTo>
                  <a:pt x="2605861" y="98005"/>
                  <a:pt x="2486452" y="260867"/>
                  <a:pt x="2448601" y="451830"/>
                </a:cubicBezTo>
                <a:cubicBezTo>
                  <a:pt x="2692653" y="399791"/>
                  <a:pt x="2889242" y="226291"/>
                  <a:pt x="2967139" y="0"/>
                </a:cubicBezTo>
                <a:lnTo>
                  <a:pt x="3101155" y="0"/>
                </a:lnTo>
                <a:cubicBezTo>
                  <a:pt x="3016377" y="299826"/>
                  <a:pt x="2757105" y="529393"/>
                  <a:pt x="2435230" y="582253"/>
                </a:cubicBezTo>
                <a:lnTo>
                  <a:pt x="2435113" y="583392"/>
                </a:lnTo>
                <a:cubicBezTo>
                  <a:pt x="2429803" y="584395"/>
                  <a:pt x="2424474" y="585336"/>
                  <a:pt x="2418897" y="584920"/>
                </a:cubicBezTo>
                <a:cubicBezTo>
                  <a:pt x="2387725" y="590430"/>
                  <a:pt x="2355845" y="593388"/>
                  <a:pt x="2323470" y="593911"/>
                </a:cubicBezTo>
                <a:lnTo>
                  <a:pt x="2306352" y="595524"/>
                </a:lnTo>
                <a:lnTo>
                  <a:pt x="2306326" y="595033"/>
                </a:lnTo>
                <a:lnTo>
                  <a:pt x="2305827" y="595066"/>
                </a:lnTo>
                <a:cubicBezTo>
                  <a:pt x="2305261" y="591293"/>
                  <a:pt x="2305234" y="587507"/>
                  <a:pt x="2305234" y="583715"/>
                </a:cubicBezTo>
                <a:cubicBezTo>
                  <a:pt x="2305234" y="578078"/>
                  <a:pt x="2305292" y="572454"/>
                  <a:pt x="2306604" y="566868"/>
                </a:cubicBezTo>
                <a:cubicBezTo>
                  <a:pt x="2306562" y="535786"/>
                  <a:pt x="2309012" y="505143"/>
                  <a:pt x="2314068" y="475137"/>
                </a:cubicBezTo>
                <a:lnTo>
                  <a:pt x="2314609" y="468499"/>
                </a:lnTo>
                <a:cubicBezTo>
                  <a:pt x="2314777" y="468495"/>
                  <a:pt x="2314947" y="468490"/>
                  <a:pt x="2315114" y="468437"/>
                </a:cubicBezTo>
                <a:cubicBezTo>
                  <a:pt x="2341417" y="285283"/>
                  <a:pt x="2430877" y="121704"/>
                  <a:pt x="2562622" y="0"/>
                </a:cubicBezTo>
                <a:close/>
                <a:moveTo>
                  <a:pt x="1488800" y="0"/>
                </a:moveTo>
                <a:lnTo>
                  <a:pt x="1622816" y="0"/>
                </a:lnTo>
                <a:cubicBezTo>
                  <a:pt x="1700712" y="226290"/>
                  <a:pt x="1897302" y="399791"/>
                  <a:pt x="2141354" y="451830"/>
                </a:cubicBezTo>
                <a:cubicBezTo>
                  <a:pt x="2103503" y="260867"/>
                  <a:pt x="1984094" y="98005"/>
                  <a:pt x="1818624" y="0"/>
                </a:cubicBezTo>
                <a:lnTo>
                  <a:pt x="2027333" y="0"/>
                </a:lnTo>
                <a:cubicBezTo>
                  <a:pt x="2159078" y="121703"/>
                  <a:pt x="2248538" y="285283"/>
                  <a:pt x="2274840" y="468437"/>
                </a:cubicBezTo>
                <a:cubicBezTo>
                  <a:pt x="2275008" y="468490"/>
                  <a:pt x="2275177" y="468495"/>
                  <a:pt x="2275346" y="468500"/>
                </a:cubicBezTo>
                <a:lnTo>
                  <a:pt x="2275886" y="475137"/>
                </a:lnTo>
                <a:cubicBezTo>
                  <a:pt x="2280943" y="505143"/>
                  <a:pt x="2283392" y="535786"/>
                  <a:pt x="2283350" y="566868"/>
                </a:cubicBezTo>
                <a:cubicBezTo>
                  <a:pt x="2284662" y="572454"/>
                  <a:pt x="2284721" y="578078"/>
                  <a:pt x="2284721" y="583715"/>
                </a:cubicBezTo>
                <a:cubicBezTo>
                  <a:pt x="2284721" y="587508"/>
                  <a:pt x="2284694" y="591293"/>
                  <a:pt x="2284128" y="595066"/>
                </a:cubicBezTo>
                <a:lnTo>
                  <a:pt x="2283629" y="595033"/>
                </a:lnTo>
                <a:lnTo>
                  <a:pt x="2283603" y="595524"/>
                </a:lnTo>
                <a:lnTo>
                  <a:pt x="2266484" y="593911"/>
                </a:lnTo>
                <a:cubicBezTo>
                  <a:pt x="2234110" y="593388"/>
                  <a:pt x="2202230" y="590430"/>
                  <a:pt x="2171058" y="584920"/>
                </a:cubicBezTo>
                <a:cubicBezTo>
                  <a:pt x="2165481" y="585336"/>
                  <a:pt x="2160152" y="584395"/>
                  <a:pt x="2154841" y="583392"/>
                </a:cubicBezTo>
                <a:lnTo>
                  <a:pt x="2154725" y="582253"/>
                </a:lnTo>
                <a:cubicBezTo>
                  <a:pt x="1832850" y="529393"/>
                  <a:pt x="1573578" y="299826"/>
                  <a:pt x="1488800" y="0"/>
                </a:cubicBezTo>
                <a:close/>
                <a:moveTo>
                  <a:pt x="870471" y="0"/>
                </a:moveTo>
                <a:lnTo>
                  <a:pt x="1079179" y="0"/>
                </a:lnTo>
                <a:cubicBezTo>
                  <a:pt x="913710" y="98005"/>
                  <a:pt x="794301" y="260867"/>
                  <a:pt x="756450" y="451830"/>
                </a:cubicBezTo>
                <a:cubicBezTo>
                  <a:pt x="1000502" y="399791"/>
                  <a:pt x="1197091" y="226291"/>
                  <a:pt x="1274988" y="0"/>
                </a:cubicBezTo>
                <a:lnTo>
                  <a:pt x="1409004" y="0"/>
                </a:lnTo>
                <a:cubicBezTo>
                  <a:pt x="1324226" y="299826"/>
                  <a:pt x="1064954" y="529393"/>
                  <a:pt x="743078" y="582253"/>
                </a:cubicBezTo>
                <a:lnTo>
                  <a:pt x="742962" y="583392"/>
                </a:lnTo>
                <a:cubicBezTo>
                  <a:pt x="737652" y="584395"/>
                  <a:pt x="732323" y="585336"/>
                  <a:pt x="726746" y="584920"/>
                </a:cubicBezTo>
                <a:cubicBezTo>
                  <a:pt x="695574" y="590430"/>
                  <a:pt x="663693" y="593388"/>
                  <a:pt x="631319" y="593911"/>
                </a:cubicBezTo>
                <a:lnTo>
                  <a:pt x="614201" y="595524"/>
                </a:lnTo>
                <a:lnTo>
                  <a:pt x="614175" y="595033"/>
                </a:lnTo>
                <a:lnTo>
                  <a:pt x="613676" y="595066"/>
                </a:lnTo>
                <a:cubicBezTo>
                  <a:pt x="613110" y="591293"/>
                  <a:pt x="613083" y="587507"/>
                  <a:pt x="613083" y="583715"/>
                </a:cubicBezTo>
                <a:cubicBezTo>
                  <a:pt x="613083" y="578078"/>
                  <a:pt x="613141" y="572454"/>
                  <a:pt x="614453" y="566868"/>
                </a:cubicBezTo>
                <a:cubicBezTo>
                  <a:pt x="614411" y="535786"/>
                  <a:pt x="616861" y="505143"/>
                  <a:pt x="621918" y="475137"/>
                </a:cubicBezTo>
                <a:lnTo>
                  <a:pt x="622458" y="468499"/>
                </a:lnTo>
                <a:cubicBezTo>
                  <a:pt x="622626" y="468495"/>
                  <a:pt x="622796" y="468490"/>
                  <a:pt x="622963" y="468437"/>
                </a:cubicBezTo>
                <a:cubicBezTo>
                  <a:pt x="649266" y="285283"/>
                  <a:pt x="738726" y="121703"/>
                  <a:pt x="870471" y="0"/>
                </a:cubicBezTo>
                <a:close/>
                <a:moveTo>
                  <a:pt x="126374" y="0"/>
                </a:moveTo>
                <a:lnTo>
                  <a:pt x="334376" y="0"/>
                </a:lnTo>
                <a:cubicBezTo>
                  <a:pt x="466684" y="121261"/>
                  <a:pt x="556352" y="285035"/>
                  <a:pt x="582690" y="468437"/>
                </a:cubicBezTo>
                <a:cubicBezTo>
                  <a:pt x="582857" y="468490"/>
                  <a:pt x="583026" y="468495"/>
                  <a:pt x="583195" y="468499"/>
                </a:cubicBezTo>
                <a:lnTo>
                  <a:pt x="583735" y="475137"/>
                </a:lnTo>
                <a:cubicBezTo>
                  <a:pt x="588792" y="505143"/>
                  <a:pt x="591242" y="535786"/>
                  <a:pt x="591199" y="566868"/>
                </a:cubicBezTo>
                <a:cubicBezTo>
                  <a:pt x="592511" y="572454"/>
                  <a:pt x="592570" y="578078"/>
                  <a:pt x="592570" y="583715"/>
                </a:cubicBezTo>
                <a:cubicBezTo>
                  <a:pt x="592570" y="587507"/>
                  <a:pt x="592543" y="591293"/>
                  <a:pt x="591977" y="595066"/>
                </a:cubicBezTo>
                <a:lnTo>
                  <a:pt x="591478" y="595033"/>
                </a:lnTo>
                <a:lnTo>
                  <a:pt x="591452" y="595524"/>
                </a:lnTo>
                <a:lnTo>
                  <a:pt x="574334" y="593911"/>
                </a:lnTo>
                <a:cubicBezTo>
                  <a:pt x="541959" y="593388"/>
                  <a:pt x="510079" y="590430"/>
                  <a:pt x="478907" y="584920"/>
                </a:cubicBezTo>
                <a:cubicBezTo>
                  <a:pt x="473330" y="585336"/>
                  <a:pt x="468001" y="584395"/>
                  <a:pt x="462690" y="583392"/>
                </a:cubicBezTo>
                <a:lnTo>
                  <a:pt x="462574" y="582253"/>
                </a:lnTo>
                <a:cubicBezTo>
                  <a:pt x="282200" y="552631"/>
                  <a:pt x="121485" y="467518"/>
                  <a:pt x="0" y="345575"/>
                </a:cubicBezTo>
                <a:lnTo>
                  <a:pt x="0" y="140406"/>
                </a:lnTo>
                <a:cubicBezTo>
                  <a:pt x="97584" y="296912"/>
                  <a:pt x="258975" y="411268"/>
                  <a:pt x="449203" y="451830"/>
                </a:cubicBezTo>
                <a:cubicBezTo>
                  <a:pt x="411344" y="260824"/>
                  <a:pt x="291889" y="97931"/>
                  <a:pt x="1263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457200" y="4960137"/>
            <a:ext cx="7772400" cy="1463040"/>
          </a:xfrm>
        </p:spPr>
        <p:txBody>
          <a:bodyPr anchor="ctr">
            <a:normAutofit/>
          </a:bodyPr>
          <a:lstStyle>
            <a:lvl1pPr algn="r">
              <a:defRPr sz="5000" spc="200" baseline="0"/>
            </a:lvl1pPr>
          </a:lstStyle>
          <a:p>
            <a:r>
              <a:rPr lang="en-US"/>
              <a:t>Click to edit Master title style</a:t>
            </a:r>
            <a:endParaRPr lang="en-US" dirty="0"/>
          </a:p>
        </p:txBody>
      </p:sp>
      <p:sp>
        <p:nvSpPr>
          <p:cNvPr id="3" name="Subtitle 2"/>
          <p:cNvSpPr>
            <a:spLocks noGrp="1"/>
          </p:cNvSpPr>
          <p:nvPr>
            <p:ph type="subTitle" idx="1"/>
          </p:nvPr>
        </p:nvSpPr>
        <p:spPr>
          <a:xfrm>
            <a:off x="8610600" y="4960137"/>
            <a:ext cx="3200400" cy="1463040"/>
          </a:xfrm>
        </p:spPr>
        <p:txBody>
          <a:bodyPr lIns="91440" rIns="91440" anchor="ctr">
            <a:normAutofit/>
          </a:bodyPr>
          <a:lstStyle>
            <a:lvl1pPr marL="0" indent="0" algn="l">
              <a:lnSpc>
                <a:spcPct val="100000"/>
              </a:lnSpc>
              <a:spcBef>
                <a:spcPts val="0"/>
              </a:spcBef>
              <a:buNone/>
              <a:defRPr sz="1800">
                <a:solidFill>
                  <a:schemeClr val="tx1">
                    <a:lumMod val="95000"/>
                    <a:lumOff val="5000"/>
                  </a:schemeClr>
                </a:solidFill>
              </a:defRPr>
            </a:lvl1pPr>
            <a:lvl2pPr marL="457200" indent="0" algn="ctr">
              <a:buNone/>
              <a:defRPr sz="1800"/>
            </a:lvl2pPr>
            <a:lvl3pPr marL="914400" indent="0" algn="ctr">
              <a:buNone/>
              <a:defRPr sz="1800"/>
            </a:lvl3pPr>
            <a:lvl4pPr marL="1371600" indent="0" algn="ctr">
              <a:buNone/>
              <a:defRPr sz="1800"/>
            </a:lvl4pPr>
            <a:lvl5pPr marL="1828800" indent="0" algn="ctr">
              <a:buNone/>
              <a:defRPr sz="1800"/>
            </a:lvl5pPr>
            <a:lvl6pPr marL="2286000" indent="0" algn="ctr">
              <a:buNone/>
              <a:defRPr sz="1800"/>
            </a:lvl6pPr>
            <a:lvl7pPr marL="2743200" indent="0" algn="ctr">
              <a:buNone/>
              <a:defRPr sz="1800"/>
            </a:lvl7pPr>
            <a:lvl8pPr marL="3200400" indent="0" algn="ctr">
              <a:buNone/>
              <a:defRPr sz="1800"/>
            </a:lvl8pPr>
            <a:lvl9pPr marL="3657600" indent="0" algn="ctr">
              <a:buNone/>
              <a:defRPr sz="18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lvl1pPr algn="l">
              <a:defRPr/>
            </a:lvl1pPr>
          </a:lstStyle>
          <a:p>
            <a:pPr>
              <a:defRPr/>
            </a:pPr>
            <a:fld id="{8AA8BD7B-BBC8-40E3-9F41-52B4F3B595D5}" type="datetimeFigureOut">
              <a:rPr lang="vi-VN" smtClean="0"/>
              <a:pPr>
                <a:defRPr/>
              </a:pPr>
              <a:t>17/08/2023</a:t>
            </a:fld>
            <a:endParaRPr lang="vi-VN"/>
          </a:p>
        </p:txBody>
      </p:sp>
      <p:sp>
        <p:nvSpPr>
          <p:cNvPr id="5" name="Footer Placeholder 4"/>
          <p:cNvSpPr>
            <a:spLocks noGrp="1"/>
          </p:cNvSpPr>
          <p:nvPr>
            <p:ph type="ftr" sz="quarter" idx="11"/>
          </p:nvPr>
        </p:nvSpPr>
        <p:spPr/>
        <p:txBody>
          <a:bodyPr/>
          <a:lstStyle/>
          <a:p>
            <a:pPr>
              <a:defRPr/>
            </a:pPr>
            <a:endParaRPr lang="vi-VN"/>
          </a:p>
        </p:txBody>
      </p:sp>
      <p:sp>
        <p:nvSpPr>
          <p:cNvPr id="6" name="Slide Number Placeholder 5"/>
          <p:cNvSpPr>
            <a:spLocks noGrp="1"/>
          </p:cNvSpPr>
          <p:nvPr>
            <p:ph type="sldNum" sz="quarter" idx="12"/>
          </p:nvPr>
        </p:nvSpPr>
        <p:spPr/>
        <p:txBody>
          <a:bodyPr/>
          <a:lstStyle/>
          <a:p>
            <a:pPr>
              <a:defRPr/>
            </a:pPr>
            <a:fld id="{CE08FEB2-823E-4C37-B5BC-A4A4363E9FE6}" type="slidenum">
              <a:rPr lang="vi-VN" smtClean="0"/>
              <a:pPr>
                <a:defRPr/>
              </a:pPr>
              <a:t>‹#›</a:t>
            </a:fld>
            <a:endParaRPr lang="vi-VN"/>
          </a:p>
        </p:txBody>
      </p:sp>
      <p:cxnSp>
        <p:nvCxnSpPr>
          <p:cNvPr id="8" name="Straight Connector 7"/>
          <p:cNvCxnSpPr/>
          <p:nvPr/>
        </p:nvCxnSpPr>
        <p:spPr>
          <a:xfrm flipV="1">
            <a:off x="8386843"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7201254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a:defRPr/>
            </a:pPr>
            <a:fld id="{6C82A6C9-9DDF-4D4A-A995-D393AE44CE81}" type="datetimeFigureOut">
              <a:rPr lang="vi-VN" smtClean="0"/>
              <a:pPr>
                <a:defRPr/>
              </a:pPr>
              <a:t>17/08/2023</a:t>
            </a:fld>
            <a:endParaRPr lang="vi-VN"/>
          </a:p>
        </p:txBody>
      </p:sp>
      <p:sp>
        <p:nvSpPr>
          <p:cNvPr id="5" name="Footer Placeholder 4"/>
          <p:cNvSpPr>
            <a:spLocks noGrp="1"/>
          </p:cNvSpPr>
          <p:nvPr>
            <p:ph type="ftr" sz="quarter" idx="11"/>
          </p:nvPr>
        </p:nvSpPr>
        <p:spPr/>
        <p:txBody>
          <a:bodyPr/>
          <a:lstStyle/>
          <a:p>
            <a:pPr>
              <a:defRPr/>
            </a:pPr>
            <a:endParaRPr lang="vi-VN"/>
          </a:p>
        </p:txBody>
      </p:sp>
      <p:sp>
        <p:nvSpPr>
          <p:cNvPr id="6" name="Slide Number Placeholder 5"/>
          <p:cNvSpPr>
            <a:spLocks noGrp="1"/>
          </p:cNvSpPr>
          <p:nvPr>
            <p:ph type="sldNum" sz="quarter" idx="12"/>
          </p:nvPr>
        </p:nvSpPr>
        <p:spPr/>
        <p:txBody>
          <a:bodyPr/>
          <a:lstStyle/>
          <a:p>
            <a:pPr>
              <a:defRPr/>
            </a:pPr>
            <a:fld id="{726C2379-702F-4244-8288-9297ACB59EDF}" type="slidenum">
              <a:rPr lang="vi-VN" smtClean="0"/>
              <a:pPr>
                <a:defRPr/>
              </a:pPr>
              <a:t>‹#›</a:t>
            </a:fld>
            <a:endParaRPr lang="vi-VN"/>
          </a:p>
        </p:txBody>
      </p:sp>
    </p:spTree>
    <p:extLst>
      <p:ext uri="{BB962C8B-B14F-4D97-AF65-F5344CB8AC3E}">
        <p14:creationId xmlns:p14="http://schemas.microsoft.com/office/powerpoint/2010/main" val="112540020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9" name="Rectangle 8"/>
          <p:cNvSpPr/>
          <p:nvPr/>
        </p:nvSpPr>
        <p:spPr>
          <a:xfrm>
            <a:off x="0" y="0"/>
            <a:ext cx="12192000" cy="457200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Oval 5"/>
          <p:cNvSpPr/>
          <p:nvPr/>
        </p:nvSpPr>
        <p:spPr>
          <a:xfrm>
            <a:off x="-1" y="0"/>
            <a:ext cx="12192000" cy="4572001"/>
          </a:xfrm>
          <a:custGeom>
            <a:avLst/>
            <a:gdLst/>
            <a:ahLst/>
            <a:cxnLst/>
            <a:rect l="l" t="t" r="r" b="b"/>
            <a:pathLst>
              <a:path w="12192000" h="4572001">
                <a:moveTo>
                  <a:pt x="12192000" y="4387986"/>
                </a:moveTo>
                <a:lnTo>
                  <a:pt x="12192000" y="4572001"/>
                </a:lnTo>
                <a:lnTo>
                  <a:pt x="12013927" y="4572001"/>
                </a:lnTo>
                <a:cubicBezTo>
                  <a:pt x="12084901" y="4522707"/>
                  <a:pt x="12145198" y="4460004"/>
                  <a:pt x="12192000" y="4387986"/>
                </a:cubicBezTo>
                <a:close/>
                <a:moveTo>
                  <a:pt x="12192000" y="4041440"/>
                </a:moveTo>
                <a:lnTo>
                  <a:pt x="12192000" y="4174488"/>
                </a:lnTo>
                <a:cubicBezTo>
                  <a:pt x="12005469" y="4244657"/>
                  <a:pt x="11857227" y="4389538"/>
                  <a:pt x="11786673" y="4572001"/>
                </a:cubicBezTo>
                <a:lnTo>
                  <a:pt x="11649784" y="4572001"/>
                </a:lnTo>
                <a:cubicBezTo>
                  <a:pt x="11730542" y="4320085"/>
                  <a:pt x="11933879" y="4121396"/>
                  <a:pt x="12192000" y="4041440"/>
                </a:cubicBezTo>
                <a:close/>
                <a:moveTo>
                  <a:pt x="10767111" y="3999419"/>
                </a:moveTo>
                <a:lnTo>
                  <a:pt x="10784198" y="4001042"/>
                </a:lnTo>
                <a:cubicBezTo>
                  <a:pt x="10816584" y="4001569"/>
                  <a:pt x="10848477" y="4004550"/>
                  <a:pt x="10879660" y="4010107"/>
                </a:cubicBezTo>
                <a:cubicBezTo>
                  <a:pt x="10885236" y="4009688"/>
                  <a:pt x="10890564" y="4010636"/>
                  <a:pt x="10895873" y="4011646"/>
                </a:cubicBezTo>
                <a:lnTo>
                  <a:pt x="10895990" y="4012794"/>
                </a:lnTo>
                <a:cubicBezTo>
                  <a:pt x="11208069" y="4064450"/>
                  <a:pt x="11461298" y="4283539"/>
                  <a:pt x="11554662" y="4572001"/>
                </a:cubicBezTo>
                <a:lnTo>
                  <a:pt x="11417114" y="4572001"/>
                </a:lnTo>
                <a:cubicBezTo>
                  <a:pt x="11333731" y="4357380"/>
                  <a:pt x="11143362" y="4194541"/>
                  <a:pt x="10909360" y="4144250"/>
                </a:cubicBezTo>
                <a:cubicBezTo>
                  <a:pt x="10943854" y="4319651"/>
                  <a:pt x="11046077" y="4471530"/>
                  <a:pt x="11189175" y="4572001"/>
                </a:cubicBezTo>
                <a:lnTo>
                  <a:pt x="10994934" y="4572001"/>
                </a:lnTo>
                <a:cubicBezTo>
                  <a:pt x="10878802" y="4452596"/>
                  <a:pt x="10800240" y="4298519"/>
                  <a:pt x="10775875" y="4127511"/>
                </a:cubicBezTo>
                <a:cubicBezTo>
                  <a:pt x="10775707" y="4127458"/>
                  <a:pt x="10775539" y="4127453"/>
                  <a:pt x="10775369" y="4127448"/>
                </a:cubicBezTo>
                <a:lnTo>
                  <a:pt x="10774831" y="4120772"/>
                </a:lnTo>
                <a:cubicBezTo>
                  <a:pt x="10769772" y="4090522"/>
                  <a:pt x="10767321" y="4059631"/>
                  <a:pt x="10767364" y="4028296"/>
                </a:cubicBezTo>
                <a:cubicBezTo>
                  <a:pt x="10766052" y="4022668"/>
                  <a:pt x="10765993" y="4017001"/>
                  <a:pt x="10765993" y="4011320"/>
                </a:cubicBezTo>
                <a:lnTo>
                  <a:pt x="10766587" y="3999880"/>
                </a:lnTo>
                <a:lnTo>
                  <a:pt x="10767085" y="3999913"/>
                </a:lnTo>
                <a:close/>
                <a:moveTo>
                  <a:pt x="10744358" y="3999419"/>
                </a:moveTo>
                <a:lnTo>
                  <a:pt x="10744384" y="3999913"/>
                </a:lnTo>
                <a:lnTo>
                  <a:pt x="10744882" y="3999880"/>
                </a:lnTo>
                <a:lnTo>
                  <a:pt x="10745476" y="4011320"/>
                </a:lnTo>
                <a:cubicBezTo>
                  <a:pt x="10745476" y="4017001"/>
                  <a:pt x="10745417" y="4022668"/>
                  <a:pt x="10744105" y="4028296"/>
                </a:cubicBezTo>
                <a:cubicBezTo>
                  <a:pt x="10744148" y="4059631"/>
                  <a:pt x="10741697" y="4090522"/>
                  <a:pt x="10736638" y="4120772"/>
                </a:cubicBezTo>
                <a:lnTo>
                  <a:pt x="10736100" y="4127448"/>
                </a:lnTo>
                <a:cubicBezTo>
                  <a:pt x="10735930" y="4127453"/>
                  <a:pt x="10735762" y="4127458"/>
                  <a:pt x="10735594" y="4127511"/>
                </a:cubicBezTo>
                <a:cubicBezTo>
                  <a:pt x="10711229" y="4298519"/>
                  <a:pt x="10632667" y="4452596"/>
                  <a:pt x="10516535" y="4572001"/>
                </a:cubicBezTo>
                <a:lnTo>
                  <a:pt x="10322294" y="4572001"/>
                </a:lnTo>
                <a:cubicBezTo>
                  <a:pt x="10465392" y="4471530"/>
                  <a:pt x="10567615" y="4319650"/>
                  <a:pt x="10602109" y="4144250"/>
                </a:cubicBezTo>
                <a:cubicBezTo>
                  <a:pt x="10368107" y="4194541"/>
                  <a:pt x="10177738" y="4357380"/>
                  <a:pt x="10094355" y="4572001"/>
                </a:cubicBezTo>
                <a:lnTo>
                  <a:pt x="9956808" y="4572001"/>
                </a:lnTo>
                <a:cubicBezTo>
                  <a:pt x="10050171" y="4283539"/>
                  <a:pt x="10303400" y="4064450"/>
                  <a:pt x="10615479" y="4012794"/>
                </a:cubicBezTo>
                <a:lnTo>
                  <a:pt x="10615596" y="4011646"/>
                </a:lnTo>
                <a:cubicBezTo>
                  <a:pt x="10620905" y="4010636"/>
                  <a:pt x="10626233" y="4009688"/>
                  <a:pt x="10631809" y="4010107"/>
                </a:cubicBezTo>
                <a:cubicBezTo>
                  <a:pt x="10662992" y="4004550"/>
                  <a:pt x="10694885" y="4001569"/>
                  <a:pt x="10727271" y="4001042"/>
                </a:cubicBezTo>
                <a:close/>
                <a:moveTo>
                  <a:pt x="9074958" y="3999419"/>
                </a:moveTo>
                <a:lnTo>
                  <a:pt x="9092045" y="4001042"/>
                </a:lnTo>
                <a:cubicBezTo>
                  <a:pt x="9124431" y="4001569"/>
                  <a:pt x="9156324" y="4004550"/>
                  <a:pt x="9187507" y="4010107"/>
                </a:cubicBezTo>
                <a:cubicBezTo>
                  <a:pt x="9193083" y="4009688"/>
                  <a:pt x="9198411" y="4010636"/>
                  <a:pt x="9203720" y="4011646"/>
                </a:cubicBezTo>
                <a:lnTo>
                  <a:pt x="9203837" y="4012794"/>
                </a:lnTo>
                <a:cubicBezTo>
                  <a:pt x="9515916" y="4064450"/>
                  <a:pt x="9769145" y="4283539"/>
                  <a:pt x="9862508" y="4572001"/>
                </a:cubicBezTo>
                <a:lnTo>
                  <a:pt x="9724961" y="4572001"/>
                </a:lnTo>
                <a:cubicBezTo>
                  <a:pt x="9641578" y="4357380"/>
                  <a:pt x="9451209" y="4194541"/>
                  <a:pt x="9217207" y="4144250"/>
                </a:cubicBezTo>
                <a:cubicBezTo>
                  <a:pt x="9251701" y="4319651"/>
                  <a:pt x="9353924" y="4471530"/>
                  <a:pt x="9497022" y="4572001"/>
                </a:cubicBezTo>
                <a:lnTo>
                  <a:pt x="9302781" y="4572001"/>
                </a:lnTo>
                <a:cubicBezTo>
                  <a:pt x="9186649" y="4452596"/>
                  <a:pt x="9108087" y="4298519"/>
                  <a:pt x="9083722" y="4127511"/>
                </a:cubicBezTo>
                <a:cubicBezTo>
                  <a:pt x="9083554" y="4127458"/>
                  <a:pt x="9083386" y="4127453"/>
                  <a:pt x="9083216" y="4127448"/>
                </a:cubicBezTo>
                <a:lnTo>
                  <a:pt x="9082678" y="4120772"/>
                </a:lnTo>
                <a:cubicBezTo>
                  <a:pt x="9077619" y="4090522"/>
                  <a:pt x="9075168" y="4059631"/>
                  <a:pt x="9075211" y="4028296"/>
                </a:cubicBezTo>
                <a:cubicBezTo>
                  <a:pt x="9073899" y="4022668"/>
                  <a:pt x="9073840" y="4017001"/>
                  <a:pt x="9073840" y="4011320"/>
                </a:cubicBezTo>
                <a:lnTo>
                  <a:pt x="9074434" y="3999880"/>
                </a:lnTo>
                <a:lnTo>
                  <a:pt x="9074932" y="3999913"/>
                </a:lnTo>
                <a:close/>
                <a:moveTo>
                  <a:pt x="9052207" y="3999419"/>
                </a:moveTo>
                <a:lnTo>
                  <a:pt x="9052233" y="3999913"/>
                </a:lnTo>
                <a:lnTo>
                  <a:pt x="9052731" y="3999880"/>
                </a:lnTo>
                <a:lnTo>
                  <a:pt x="9053325" y="4011320"/>
                </a:lnTo>
                <a:cubicBezTo>
                  <a:pt x="9053325" y="4017001"/>
                  <a:pt x="9053266" y="4022668"/>
                  <a:pt x="9051954" y="4028296"/>
                </a:cubicBezTo>
                <a:cubicBezTo>
                  <a:pt x="9051997" y="4059631"/>
                  <a:pt x="9049546" y="4090522"/>
                  <a:pt x="9044487" y="4120772"/>
                </a:cubicBezTo>
                <a:lnTo>
                  <a:pt x="9043949" y="4127448"/>
                </a:lnTo>
                <a:cubicBezTo>
                  <a:pt x="9043779" y="4127453"/>
                  <a:pt x="9043611" y="4127458"/>
                  <a:pt x="9043443" y="4127511"/>
                </a:cubicBezTo>
                <a:cubicBezTo>
                  <a:pt x="9019078" y="4298519"/>
                  <a:pt x="8940516" y="4452596"/>
                  <a:pt x="8824384" y="4572001"/>
                </a:cubicBezTo>
                <a:lnTo>
                  <a:pt x="8630143" y="4572001"/>
                </a:lnTo>
                <a:cubicBezTo>
                  <a:pt x="8773241" y="4471530"/>
                  <a:pt x="8875464" y="4319651"/>
                  <a:pt x="8909958" y="4144250"/>
                </a:cubicBezTo>
                <a:cubicBezTo>
                  <a:pt x="8675956" y="4194541"/>
                  <a:pt x="8485587" y="4357380"/>
                  <a:pt x="8402204" y="4572001"/>
                </a:cubicBezTo>
                <a:lnTo>
                  <a:pt x="8264656" y="4572001"/>
                </a:lnTo>
                <a:cubicBezTo>
                  <a:pt x="8358019" y="4283539"/>
                  <a:pt x="8611249" y="4064450"/>
                  <a:pt x="8923328" y="4012794"/>
                </a:cubicBezTo>
                <a:lnTo>
                  <a:pt x="8923445" y="4011646"/>
                </a:lnTo>
                <a:cubicBezTo>
                  <a:pt x="8928754" y="4010636"/>
                  <a:pt x="8934082" y="4009688"/>
                  <a:pt x="8939658" y="4010107"/>
                </a:cubicBezTo>
                <a:cubicBezTo>
                  <a:pt x="8970841" y="4004550"/>
                  <a:pt x="9002734" y="4001569"/>
                  <a:pt x="9035120" y="4001042"/>
                </a:cubicBezTo>
                <a:close/>
                <a:moveTo>
                  <a:pt x="7382807" y="3999419"/>
                </a:moveTo>
                <a:lnTo>
                  <a:pt x="7399895" y="4001042"/>
                </a:lnTo>
                <a:cubicBezTo>
                  <a:pt x="7432280" y="4001569"/>
                  <a:pt x="7464173" y="4004550"/>
                  <a:pt x="7495356" y="4010107"/>
                </a:cubicBezTo>
                <a:cubicBezTo>
                  <a:pt x="7500932" y="4009688"/>
                  <a:pt x="7506260" y="4010636"/>
                  <a:pt x="7511569" y="4011646"/>
                </a:cubicBezTo>
                <a:lnTo>
                  <a:pt x="7511686" y="4012794"/>
                </a:lnTo>
                <a:cubicBezTo>
                  <a:pt x="7823765" y="4064450"/>
                  <a:pt x="8076994" y="4283539"/>
                  <a:pt x="8170358" y="4572001"/>
                </a:cubicBezTo>
                <a:lnTo>
                  <a:pt x="8032809" y="4572001"/>
                </a:lnTo>
                <a:cubicBezTo>
                  <a:pt x="7949426" y="4357380"/>
                  <a:pt x="7759058" y="4194541"/>
                  <a:pt x="7525056" y="4144250"/>
                </a:cubicBezTo>
                <a:cubicBezTo>
                  <a:pt x="7559550" y="4319650"/>
                  <a:pt x="7661773" y="4471530"/>
                  <a:pt x="7804870" y="4572001"/>
                </a:cubicBezTo>
                <a:lnTo>
                  <a:pt x="7610630" y="4572001"/>
                </a:lnTo>
                <a:cubicBezTo>
                  <a:pt x="7494498" y="4452596"/>
                  <a:pt x="7415935" y="4298519"/>
                  <a:pt x="7391571" y="4127511"/>
                </a:cubicBezTo>
                <a:cubicBezTo>
                  <a:pt x="7391403" y="4127458"/>
                  <a:pt x="7391235" y="4127453"/>
                  <a:pt x="7391065" y="4127448"/>
                </a:cubicBezTo>
                <a:lnTo>
                  <a:pt x="7390527" y="4120772"/>
                </a:lnTo>
                <a:cubicBezTo>
                  <a:pt x="7385468" y="4090522"/>
                  <a:pt x="7383018" y="4059631"/>
                  <a:pt x="7383060" y="4028296"/>
                </a:cubicBezTo>
                <a:cubicBezTo>
                  <a:pt x="7381748" y="4022668"/>
                  <a:pt x="7381689" y="4017001"/>
                  <a:pt x="7381689" y="4011320"/>
                </a:cubicBezTo>
                <a:lnTo>
                  <a:pt x="7382283" y="3999880"/>
                </a:lnTo>
                <a:lnTo>
                  <a:pt x="7382781" y="3999913"/>
                </a:lnTo>
                <a:close/>
                <a:moveTo>
                  <a:pt x="7360056" y="3999419"/>
                </a:moveTo>
                <a:lnTo>
                  <a:pt x="7360082" y="3999913"/>
                </a:lnTo>
                <a:lnTo>
                  <a:pt x="7360580" y="3999880"/>
                </a:lnTo>
                <a:lnTo>
                  <a:pt x="7361174" y="4011320"/>
                </a:lnTo>
                <a:cubicBezTo>
                  <a:pt x="7361174" y="4017001"/>
                  <a:pt x="7361115" y="4022668"/>
                  <a:pt x="7359803" y="4028296"/>
                </a:cubicBezTo>
                <a:cubicBezTo>
                  <a:pt x="7359845" y="4059631"/>
                  <a:pt x="7357395" y="4090522"/>
                  <a:pt x="7352336" y="4120772"/>
                </a:cubicBezTo>
                <a:lnTo>
                  <a:pt x="7351798" y="4127448"/>
                </a:lnTo>
                <a:cubicBezTo>
                  <a:pt x="7351628" y="4127453"/>
                  <a:pt x="7351460" y="4127458"/>
                  <a:pt x="7351292" y="4127511"/>
                </a:cubicBezTo>
                <a:cubicBezTo>
                  <a:pt x="7326927" y="4298519"/>
                  <a:pt x="7248364" y="4452596"/>
                  <a:pt x="7132233" y="4572001"/>
                </a:cubicBezTo>
                <a:lnTo>
                  <a:pt x="6937992" y="4572001"/>
                </a:lnTo>
                <a:cubicBezTo>
                  <a:pt x="7081090" y="4471530"/>
                  <a:pt x="7183313" y="4319650"/>
                  <a:pt x="7217807" y="4144250"/>
                </a:cubicBezTo>
                <a:cubicBezTo>
                  <a:pt x="6983804" y="4194541"/>
                  <a:pt x="6793436" y="4357380"/>
                  <a:pt x="6710053" y="4572001"/>
                </a:cubicBezTo>
                <a:lnTo>
                  <a:pt x="6572505" y="4572001"/>
                </a:lnTo>
                <a:cubicBezTo>
                  <a:pt x="6665868" y="4283539"/>
                  <a:pt x="6919098" y="4064450"/>
                  <a:pt x="7231177" y="4012794"/>
                </a:cubicBezTo>
                <a:lnTo>
                  <a:pt x="7231294" y="4011646"/>
                </a:lnTo>
                <a:cubicBezTo>
                  <a:pt x="7236603" y="4010636"/>
                  <a:pt x="7241931" y="4009688"/>
                  <a:pt x="7247507" y="4010107"/>
                </a:cubicBezTo>
                <a:cubicBezTo>
                  <a:pt x="7278690" y="4004550"/>
                  <a:pt x="7310583" y="4001569"/>
                  <a:pt x="7342968" y="4001042"/>
                </a:cubicBezTo>
                <a:close/>
                <a:moveTo>
                  <a:pt x="5690656" y="3999419"/>
                </a:moveTo>
                <a:lnTo>
                  <a:pt x="5707743" y="4001042"/>
                </a:lnTo>
                <a:cubicBezTo>
                  <a:pt x="5740129" y="4001569"/>
                  <a:pt x="5772021" y="4004550"/>
                  <a:pt x="5803205" y="4010107"/>
                </a:cubicBezTo>
                <a:cubicBezTo>
                  <a:pt x="5808781" y="4009688"/>
                  <a:pt x="5814109" y="4010636"/>
                  <a:pt x="5819417" y="4011646"/>
                </a:cubicBezTo>
                <a:lnTo>
                  <a:pt x="5819534" y="4012794"/>
                </a:lnTo>
                <a:cubicBezTo>
                  <a:pt x="6131614" y="4064450"/>
                  <a:pt x="6384843" y="4283539"/>
                  <a:pt x="6478206" y="4572001"/>
                </a:cubicBezTo>
                <a:lnTo>
                  <a:pt x="6340658" y="4572001"/>
                </a:lnTo>
                <a:cubicBezTo>
                  <a:pt x="6257275" y="4357380"/>
                  <a:pt x="6066907" y="4194541"/>
                  <a:pt x="5832905" y="4144250"/>
                </a:cubicBezTo>
                <a:cubicBezTo>
                  <a:pt x="5867399" y="4319651"/>
                  <a:pt x="5969622" y="4471530"/>
                  <a:pt x="6112719" y="4572001"/>
                </a:cubicBezTo>
                <a:lnTo>
                  <a:pt x="5918478" y="4572001"/>
                </a:lnTo>
                <a:cubicBezTo>
                  <a:pt x="5802347" y="4452596"/>
                  <a:pt x="5723784" y="4298519"/>
                  <a:pt x="5699419" y="4127511"/>
                </a:cubicBezTo>
                <a:cubicBezTo>
                  <a:pt x="5699252" y="4127458"/>
                  <a:pt x="5699083" y="4127453"/>
                  <a:pt x="5698914" y="4127448"/>
                </a:cubicBezTo>
                <a:lnTo>
                  <a:pt x="5698375" y="4120772"/>
                </a:lnTo>
                <a:cubicBezTo>
                  <a:pt x="5693317" y="4090522"/>
                  <a:pt x="5690866" y="4059631"/>
                  <a:pt x="5690908" y="4028296"/>
                </a:cubicBezTo>
                <a:cubicBezTo>
                  <a:pt x="5689596" y="4022668"/>
                  <a:pt x="5689538" y="4017001"/>
                  <a:pt x="5689538" y="4011320"/>
                </a:cubicBezTo>
                <a:lnTo>
                  <a:pt x="5690132" y="3999880"/>
                </a:lnTo>
                <a:lnTo>
                  <a:pt x="5690630" y="3999913"/>
                </a:lnTo>
                <a:close/>
                <a:moveTo>
                  <a:pt x="5667905" y="3999419"/>
                </a:moveTo>
                <a:lnTo>
                  <a:pt x="5667931" y="3999913"/>
                </a:lnTo>
                <a:lnTo>
                  <a:pt x="5668429" y="3999880"/>
                </a:lnTo>
                <a:lnTo>
                  <a:pt x="5669023" y="4011320"/>
                </a:lnTo>
                <a:cubicBezTo>
                  <a:pt x="5669023" y="4017001"/>
                  <a:pt x="5668964" y="4022668"/>
                  <a:pt x="5667652" y="4028296"/>
                </a:cubicBezTo>
                <a:cubicBezTo>
                  <a:pt x="5667694" y="4059631"/>
                  <a:pt x="5665244" y="4090522"/>
                  <a:pt x="5660185" y="4120772"/>
                </a:cubicBezTo>
                <a:lnTo>
                  <a:pt x="5659647" y="4127448"/>
                </a:lnTo>
                <a:cubicBezTo>
                  <a:pt x="5659477" y="4127453"/>
                  <a:pt x="5659309" y="4127458"/>
                  <a:pt x="5659141" y="4127511"/>
                </a:cubicBezTo>
                <a:cubicBezTo>
                  <a:pt x="5634776" y="4298519"/>
                  <a:pt x="5556213" y="4452596"/>
                  <a:pt x="5440082" y="4572001"/>
                </a:cubicBezTo>
                <a:lnTo>
                  <a:pt x="5245841" y="4572001"/>
                </a:lnTo>
                <a:cubicBezTo>
                  <a:pt x="5388939" y="4471530"/>
                  <a:pt x="5491162" y="4319651"/>
                  <a:pt x="5525656" y="4144250"/>
                </a:cubicBezTo>
                <a:cubicBezTo>
                  <a:pt x="5291653" y="4194541"/>
                  <a:pt x="5101285" y="4357380"/>
                  <a:pt x="5017902" y="4572001"/>
                </a:cubicBezTo>
                <a:lnTo>
                  <a:pt x="4880354" y="4572001"/>
                </a:lnTo>
                <a:cubicBezTo>
                  <a:pt x="4973717" y="4283539"/>
                  <a:pt x="5226947" y="4064450"/>
                  <a:pt x="5539026" y="4012794"/>
                </a:cubicBezTo>
                <a:lnTo>
                  <a:pt x="5539143" y="4011646"/>
                </a:lnTo>
                <a:cubicBezTo>
                  <a:pt x="5544452" y="4010636"/>
                  <a:pt x="5549780" y="4009688"/>
                  <a:pt x="5555356" y="4010107"/>
                </a:cubicBezTo>
                <a:cubicBezTo>
                  <a:pt x="5586539" y="4004550"/>
                  <a:pt x="5618432" y="4001569"/>
                  <a:pt x="5650817" y="4001042"/>
                </a:cubicBezTo>
                <a:close/>
                <a:moveTo>
                  <a:pt x="3998505" y="3999419"/>
                </a:moveTo>
                <a:lnTo>
                  <a:pt x="4015592" y="4001042"/>
                </a:lnTo>
                <a:cubicBezTo>
                  <a:pt x="4047978" y="4001569"/>
                  <a:pt x="4079870" y="4004550"/>
                  <a:pt x="4111054" y="4010107"/>
                </a:cubicBezTo>
                <a:cubicBezTo>
                  <a:pt x="4116630" y="4009688"/>
                  <a:pt x="4121958" y="4010636"/>
                  <a:pt x="4127266" y="4011646"/>
                </a:cubicBezTo>
                <a:lnTo>
                  <a:pt x="4127384" y="4012794"/>
                </a:lnTo>
                <a:cubicBezTo>
                  <a:pt x="4439463" y="4064450"/>
                  <a:pt x="4692692" y="4283539"/>
                  <a:pt x="4786055" y="4572001"/>
                </a:cubicBezTo>
                <a:lnTo>
                  <a:pt x="4648508" y="4572001"/>
                </a:lnTo>
                <a:cubicBezTo>
                  <a:pt x="4565124" y="4357380"/>
                  <a:pt x="4374756" y="4194541"/>
                  <a:pt x="4140754" y="4144250"/>
                </a:cubicBezTo>
                <a:cubicBezTo>
                  <a:pt x="4175248" y="4319650"/>
                  <a:pt x="4277471" y="4471530"/>
                  <a:pt x="4420568" y="4572001"/>
                </a:cubicBezTo>
                <a:lnTo>
                  <a:pt x="4226327" y="4572001"/>
                </a:lnTo>
                <a:cubicBezTo>
                  <a:pt x="4110196" y="4452596"/>
                  <a:pt x="4031633" y="4298519"/>
                  <a:pt x="4007268" y="4127511"/>
                </a:cubicBezTo>
                <a:cubicBezTo>
                  <a:pt x="4007101" y="4127458"/>
                  <a:pt x="4006932" y="4127453"/>
                  <a:pt x="4006763" y="4127448"/>
                </a:cubicBezTo>
                <a:lnTo>
                  <a:pt x="4006225" y="4120772"/>
                </a:lnTo>
                <a:cubicBezTo>
                  <a:pt x="4001166" y="4090522"/>
                  <a:pt x="3998715" y="4059631"/>
                  <a:pt x="3998757" y="4028296"/>
                </a:cubicBezTo>
                <a:cubicBezTo>
                  <a:pt x="3997445" y="4022668"/>
                  <a:pt x="3997387" y="4017001"/>
                  <a:pt x="3997387" y="4011320"/>
                </a:cubicBezTo>
                <a:lnTo>
                  <a:pt x="3997981" y="3999880"/>
                </a:lnTo>
                <a:lnTo>
                  <a:pt x="3998479" y="3999913"/>
                </a:lnTo>
                <a:close/>
                <a:moveTo>
                  <a:pt x="3975754" y="3999419"/>
                </a:moveTo>
                <a:lnTo>
                  <a:pt x="3975780" y="3999913"/>
                </a:lnTo>
                <a:lnTo>
                  <a:pt x="3976278" y="3999880"/>
                </a:lnTo>
                <a:lnTo>
                  <a:pt x="3976872" y="4011320"/>
                </a:lnTo>
                <a:cubicBezTo>
                  <a:pt x="3976872" y="4017001"/>
                  <a:pt x="3976813" y="4022668"/>
                  <a:pt x="3975501" y="4028296"/>
                </a:cubicBezTo>
                <a:cubicBezTo>
                  <a:pt x="3975543" y="4059631"/>
                  <a:pt x="3973093" y="4090522"/>
                  <a:pt x="3968034" y="4120772"/>
                </a:cubicBezTo>
                <a:lnTo>
                  <a:pt x="3967496" y="4127448"/>
                </a:lnTo>
                <a:cubicBezTo>
                  <a:pt x="3967326" y="4127453"/>
                  <a:pt x="3967158" y="4127458"/>
                  <a:pt x="3966990" y="4127511"/>
                </a:cubicBezTo>
                <a:cubicBezTo>
                  <a:pt x="3942625" y="4298519"/>
                  <a:pt x="3864063" y="4452596"/>
                  <a:pt x="3747931" y="4572001"/>
                </a:cubicBezTo>
                <a:lnTo>
                  <a:pt x="3553690" y="4572001"/>
                </a:lnTo>
                <a:cubicBezTo>
                  <a:pt x="3696788" y="4471530"/>
                  <a:pt x="3799011" y="4319651"/>
                  <a:pt x="3833505" y="4144250"/>
                </a:cubicBezTo>
                <a:cubicBezTo>
                  <a:pt x="3599503" y="4194541"/>
                  <a:pt x="3409134" y="4357380"/>
                  <a:pt x="3325751" y="4572001"/>
                </a:cubicBezTo>
                <a:lnTo>
                  <a:pt x="3188203" y="4572001"/>
                </a:lnTo>
                <a:cubicBezTo>
                  <a:pt x="3281566" y="4283539"/>
                  <a:pt x="3534796" y="4064450"/>
                  <a:pt x="3846875" y="4012794"/>
                </a:cubicBezTo>
                <a:lnTo>
                  <a:pt x="3846992" y="4011646"/>
                </a:lnTo>
                <a:cubicBezTo>
                  <a:pt x="3852301" y="4010636"/>
                  <a:pt x="3857629" y="4009688"/>
                  <a:pt x="3863205" y="4010107"/>
                </a:cubicBezTo>
                <a:cubicBezTo>
                  <a:pt x="3894388" y="4004550"/>
                  <a:pt x="3926281" y="4001569"/>
                  <a:pt x="3958666" y="4001042"/>
                </a:cubicBezTo>
                <a:close/>
                <a:moveTo>
                  <a:pt x="2306354" y="3999419"/>
                </a:moveTo>
                <a:lnTo>
                  <a:pt x="2323441" y="4001042"/>
                </a:lnTo>
                <a:cubicBezTo>
                  <a:pt x="2355827" y="4001569"/>
                  <a:pt x="2387719" y="4004550"/>
                  <a:pt x="2418903" y="4010107"/>
                </a:cubicBezTo>
                <a:cubicBezTo>
                  <a:pt x="2424479" y="4009688"/>
                  <a:pt x="2429807" y="4010636"/>
                  <a:pt x="2435115" y="4011646"/>
                </a:cubicBezTo>
                <a:lnTo>
                  <a:pt x="2435233" y="4012794"/>
                </a:lnTo>
                <a:cubicBezTo>
                  <a:pt x="2747312" y="4064450"/>
                  <a:pt x="3000542" y="4283539"/>
                  <a:pt x="3093904" y="4572001"/>
                </a:cubicBezTo>
                <a:lnTo>
                  <a:pt x="2956357" y="4572001"/>
                </a:lnTo>
                <a:cubicBezTo>
                  <a:pt x="2872974" y="4357380"/>
                  <a:pt x="2682605" y="4194541"/>
                  <a:pt x="2448603" y="4144250"/>
                </a:cubicBezTo>
                <a:cubicBezTo>
                  <a:pt x="2483097" y="4319651"/>
                  <a:pt x="2585320" y="4471530"/>
                  <a:pt x="2728418" y="4572001"/>
                </a:cubicBezTo>
                <a:lnTo>
                  <a:pt x="2534177" y="4572001"/>
                </a:lnTo>
                <a:cubicBezTo>
                  <a:pt x="2418045" y="4452596"/>
                  <a:pt x="2339482" y="4298519"/>
                  <a:pt x="2315117" y="4127511"/>
                </a:cubicBezTo>
                <a:cubicBezTo>
                  <a:pt x="2314950" y="4127458"/>
                  <a:pt x="2314781" y="4127453"/>
                  <a:pt x="2314612" y="4127448"/>
                </a:cubicBezTo>
                <a:lnTo>
                  <a:pt x="2314074" y="4120772"/>
                </a:lnTo>
                <a:cubicBezTo>
                  <a:pt x="2309015" y="4090522"/>
                  <a:pt x="2306564" y="4059631"/>
                  <a:pt x="2306606" y="4028296"/>
                </a:cubicBezTo>
                <a:cubicBezTo>
                  <a:pt x="2305294" y="4022668"/>
                  <a:pt x="2305236" y="4017001"/>
                  <a:pt x="2305236" y="4011320"/>
                </a:cubicBezTo>
                <a:lnTo>
                  <a:pt x="2305830" y="3999880"/>
                </a:lnTo>
                <a:lnTo>
                  <a:pt x="2306328" y="3999913"/>
                </a:lnTo>
                <a:close/>
                <a:moveTo>
                  <a:pt x="2283603" y="3999419"/>
                </a:moveTo>
                <a:lnTo>
                  <a:pt x="2283629" y="3999913"/>
                </a:lnTo>
                <a:lnTo>
                  <a:pt x="2284127" y="3999880"/>
                </a:lnTo>
                <a:lnTo>
                  <a:pt x="2284721" y="4011320"/>
                </a:lnTo>
                <a:cubicBezTo>
                  <a:pt x="2284721" y="4017001"/>
                  <a:pt x="2284662" y="4022668"/>
                  <a:pt x="2283350" y="4028296"/>
                </a:cubicBezTo>
                <a:cubicBezTo>
                  <a:pt x="2283392" y="4059631"/>
                  <a:pt x="2280942" y="4090522"/>
                  <a:pt x="2275883" y="4120772"/>
                </a:cubicBezTo>
                <a:lnTo>
                  <a:pt x="2275345" y="4127448"/>
                </a:lnTo>
                <a:cubicBezTo>
                  <a:pt x="2275175" y="4127453"/>
                  <a:pt x="2275007" y="4127458"/>
                  <a:pt x="2274839" y="4127511"/>
                </a:cubicBezTo>
                <a:cubicBezTo>
                  <a:pt x="2250474" y="4298519"/>
                  <a:pt x="2171912" y="4452596"/>
                  <a:pt x="2055780" y="4572001"/>
                </a:cubicBezTo>
                <a:lnTo>
                  <a:pt x="1861539" y="4572001"/>
                </a:lnTo>
                <a:cubicBezTo>
                  <a:pt x="2004637" y="4471530"/>
                  <a:pt x="2106860" y="4319650"/>
                  <a:pt x="2141354" y="4144250"/>
                </a:cubicBezTo>
                <a:cubicBezTo>
                  <a:pt x="1907352" y="4194541"/>
                  <a:pt x="1716983" y="4357380"/>
                  <a:pt x="1633600" y="4572001"/>
                </a:cubicBezTo>
                <a:lnTo>
                  <a:pt x="1496052" y="4572001"/>
                </a:lnTo>
                <a:cubicBezTo>
                  <a:pt x="1589416" y="4283539"/>
                  <a:pt x="1842645" y="4064450"/>
                  <a:pt x="2154724" y="4012794"/>
                </a:cubicBezTo>
                <a:lnTo>
                  <a:pt x="2154841" y="4011646"/>
                </a:lnTo>
                <a:cubicBezTo>
                  <a:pt x="2160150" y="4010636"/>
                  <a:pt x="2165478" y="4009688"/>
                  <a:pt x="2171054" y="4010107"/>
                </a:cubicBezTo>
                <a:cubicBezTo>
                  <a:pt x="2202237" y="4004550"/>
                  <a:pt x="2234130" y="4001569"/>
                  <a:pt x="2266515" y="4001042"/>
                </a:cubicBezTo>
                <a:close/>
                <a:moveTo>
                  <a:pt x="614203" y="3999419"/>
                </a:moveTo>
                <a:lnTo>
                  <a:pt x="631290" y="4001042"/>
                </a:lnTo>
                <a:cubicBezTo>
                  <a:pt x="663676" y="4001569"/>
                  <a:pt x="695568" y="4004550"/>
                  <a:pt x="726752" y="4010107"/>
                </a:cubicBezTo>
                <a:cubicBezTo>
                  <a:pt x="732328" y="4009688"/>
                  <a:pt x="737656" y="4010636"/>
                  <a:pt x="742964" y="4011646"/>
                </a:cubicBezTo>
                <a:lnTo>
                  <a:pt x="743081" y="4012794"/>
                </a:lnTo>
                <a:cubicBezTo>
                  <a:pt x="1055161" y="4064450"/>
                  <a:pt x="1308390" y="4283539"/>
                  <a:pt x="1401754" y="4572001"/>
                </a:cubicBezTo>
                <a:lnTo>
                  <a:pt x="1264205" y="4572001"/>
                </a:lnTo>
                <a:cubicBezTo>
                  <a:pt x="1180823" y="4357380"/>
                  <a:pt x="990454" y="4194541"/>
                  <a:pt x="756452" y="4144250"/>
                </a:cubicBezTo>
                <a:cubicBezTo>
                  <a:pt x="790946" y="4319651"/>
                  <a:pt x="893169" y="4471530"/>
                  <a:pt x="1036266" y="4572001"/>
                </a:cubicBezTo>
                <a:lnTo>
                  <a:pt x="842026" y="4572001"/>
                </a:lnTo>
                <a:cubicBezTo>
                  <a:pt x="725894" y="4452596"/>
                  <a:pt x="647331" y="4298519"/>
                  <a:pt x="622966" y="4127511"/>
                </a:cubicBezTo>
                <a:cubicBezTo>
                  <a:pt x="622799" y="4127458"/>
                  <a:pt x="622630" y="4127453"/>
                  <a:pt x="622461" y="4127448"/>
                </a:cubicBezTo>
                <a:lnTo>
                  <a:pt x="621923" y="4120772"/>
                </a:lnTo>
                <a:cubicBezTo>
                  <a:pt x="616864" y="4090522"/>
                  <a:pt x="614413" y="4059631"/>
                  <a:pt x="614455" y="4028296"/>
                </a:cubicBezTo>
                <a:cubicBezTo>
                  <a:pt x="613143" y="4022668"/>
                  <a:pt x="613085" y="4017001"/>
                  <a:pt x="613085" y="4011320"/>
                </a:cubicBezTo>
                <a:lnTo>
                  <a:pt x="613679" y="3999880"/>
                </a:lnTo>
                <a:lnTo>
                  <a:pt x="614177" y="3999913"/>
                </a:lnTo>
                <a:close/>
                <a:moveTo>
                  <a:pt x="591452" y="3999419"/>
                </a:moveTo>
                <a:lnTo>
                  <a:pt x="591478" y="3999913"/>
                </a:lnTo>
                <a:lnTo>
                  <a:pt x="591976" y="3999880"/>
                </a:lnTo>
                <a:lnTo>
                  <a:pt x="592570" y="4011320"/>
                </a:lnTo>
                <a:cubicBezTo>
                  <a:pt x="592570" y="4017001"/>
                  <a:pt x="592511" y="4022668"/>
                  <a:pt x="591199" y="4028296"/>
                </a:cubicBezTo>
                <a:cubicBezTo>
                  <a:pt x="591242" y="4059631"/>
                  <a:pt x="588791" y="4090522"/>
                  <a:pt x="583732" y="4120772"/>
                </a:cubicBezTo>
                <a:lnTo>
                  <a:pt x="583194" y="4127448"/>
                </a:lnTo>
                <a:cubicBezTo>
                  <a:pt x="583024" y="4127453"/>
                  <a:pt x="582856" y="4127458"/>
                  <a:pt x="582689" y="4127511"/>
                </a:cubicBezTo>
                <a:cubicBezTo>
                  <a:pt x="558275" y="4298863"/>
                  <a:pt x="479445" y="4453216"/>
                  <a:pt x="362360" y="4572001"/>
                </a:cubicBezTo>
                <a:lnTo>
                  <a:pt x="169811" y="4572001"/>
                </a:lnTo>
                <a:cubicBezTo>
                  <a:pt x="312603" y="4471357"/>
                  <a:pt x="414729" y="4319551"/>
                  <a:pt x="449203" y="4144250"/>
                </a:cubicBezTo>
                <a:cubicBezTo>
                  <a:pt x="258971" y="4185134"/>
                  <a:pt x="97576" y="4300399"/>
                  <a:pt x="0" y="4458139"/>
                </a:cubicBezTo>
                <a:lnTo>
                  <a:pt x="0" y="4251345"/>
                </a:lnTo>
                <a:cubicBezTo>
                  <a:pt x="121484" y="4128438"/>
                  <a:pt x="282199" y="4042650"/>
                  <a:pt x="462573" y="4012794"/>
                </a:cubicBezTo>
                <a:lnTo>
                  <a:pt x="462690" y="4011646"/>
                </a:lnTo>
                <a:cubicBezTo>
                  <a:pt x="467999" y="4010636"/>
                  <a:pt x="473327" y="4009688"/>
                  <a:pt x="478903" y="4010107"/>
                </a:cubicBezTo>
                <a:cubicBezTo>
                  <a:pt x="510086" y="4004550"/>
                  <a:pt x="541979" y="4001569"/>
                  <a:pt x="574365" y="4001042"/>
                </a:cubicBezTo>
                <a:close/>
                <a:moveTo>
                  <a:pt x="11452667" y="3304913"/>
                </a:moveTo>
                <a:cubicBezTo>
                  <a:pt x="11177477" y="3363591"/>
                  <a:pt x="10962633" y="3576701"/>
                  <a:pt x="10909358" y="3845480"/>
                </a:cubicBezTo>
                <a:cubicBezTo>
                  <a:pt x="11184548" y="3786801"/>
                  <a:pt x="11399391" y="3573691"/>
                  <a:pt x="11452667" y="3304913"/>
                </a:cubicBezTo>
                <a:close/>
                <a:moveTo>
                  <a:pt x="10058800" y="3304913"/>
                </a:moveTo>
                <a:cubicBezTo>
                  <a:pt x="10112076" y="3573691"/>
                  <a:pt x="10326919" y="3786801"/>
                  <a:pt x="10602109" y="3845480"/>
                </a:cubicBezTo>
                <a:cubicBezTo>
                  <a:pt x="10548834" y="3576701"/>
                  <a:pt x="10333990" y="3363591"/>
                  <a:pt x="10058800" y="3304913"/>
                </a:cubicBezTo>
                <a:close/>
                <a:moveTo>
                  <a:pt x="9760514" y="3304913"/>
                </a:moveTo>
                <a:cubicBezTo>
                  <a:pt x="9485324" y="3363591"/>
                  <a:pt x="9270480" y="3576701"/>
                  <a:pt x="9217205" y="3845480"/>
                </a:cubicBezTo>
                <a:cubicBezTo>
                  <a:pt x="9492395" y="3786801"/>
                  <a:pt x="9707238" y="3573691"/>
                  <a:pt x="9760514" y="3304913"/>
                </a:cubicBezTo>
                <a:close/>
                <a:moveTo>
                  <a:pt x="8366649" y="3304913"/>
                </a:moveTo>
                <a:cubicBezTo>
                  <a:pt x="8419925" y="3573691"/>
                  <a:pt x="8634768" y="3786801"/>
                  <a:pt x="8909958" y="3845480"/>
                </a:cubicBezTo>
                <a:cubicBezTo>
                  <a:pt x="8856683" y="3576701"/>
                  <a:pt x="8641839" y="3363591"/>
                  <a:pt x="8366649" y="3304913"/>
                </a:cubicBezTo>
                <a:close/>
                <a:moveTo>
                  <a:pt x="8068363" y="3304913"/>
                </a:moveTo>
                <a:cubicBezTo>
                  <a:pt x="7793173" y="3363591"/>
                  <a:pt x="7578329" y="3576701"/>
                  <a:pt x="7525054" y="3845480"/>
                </a:cubicBezTo>
                <a:cubicBezTo>
                  <a:pt x="7800244" y="3786801"/>
                  <a:pt x="8015087" y="3573691"/>
                  <a:pt x="8068363" y="3304913"/>
                </a:cubicBezTo>
                <a:close/>
                <a:moveTo>
                  <a:pt x="6674498" y="3304913"/>
                </a:moveTo>
                <a:cubicBezTo>
                  <a:pt x="6727774" y="3573691"/>
                  <a:pt x="6942617" y="3786801"/>
                  <a:pt x="7217807" y="3845480"/>
                </a:cubicBezTo>
                <a:cubicBezTo>
                  <a:pt x="7164532" y="3576701"/>
                  <a:pt x="6949688" y="3363591"/>
                  <a:pt x="6674498" y="3304913"/>
                </a:cubicBezTo>
                <a:close/>
                <a:moveTo>
                  <a:pt x="6376212" y="3304913"/>
                </a:moveTo>
                <a:cubicBezTo>
                  <a:pt x="6101022" y="3363591"/>
                  <a:pt x="5886178" y="3576701"/>
                  <a:pt x="5832903" y="3845480"/>
                </a:cubicBezTo>
                <a:cubicBezTo>
                  <a:pt x="6108093" y="3786801"/>
                  <a:pt x="6322936" y="3573691"/>
                  <a:pt x="6376212" y="3304913"/>
                </a:cubicBezTo>
                <a:close/>
                <a:moveTo>
                  <a:pt x="4982347" y="3304913"/>
                </a:moveTo>
                <a:cubicBezTo>
                  <a:pt x="5035623" y="3573691"/>
                  <a:pt x="5250466" y="3786801"/>
                  <a:pt x="5525656" y="3845480"/>
                </a:cubicBezTo>
                <a:cubicBezTo>
                  <a:pt x="5472381" y="3576701"/>
                  <a:pt x="5257537" y="3363591"/>
                  <a:pt x="4982347" y="3304913"/>
                </a:cubicBezTo>
                <a:close/>
                <a:moveTo>
                  <a:pt x="4684061" y="3304913"/>
                </a:moveTo>
                <a:cubicBezTo>
                  <a:pt x="4408871" y="3363591"/>
                  <a:pt x="4194027" y="3576701"/>
                  <a:pt x="4140752" y="3845480"/>
                </a:cubicBezTo>
                <a:cubicBezTo>
                  <a:pt x="4415942" y="3786801"/>
                  <a:pt x="4630785" y="3573691"/>
                  <a:pt x="4684061" y="3304913"/>
                </a:cubicBezTo>
                <a:close/>
                <a:moveTo>
                  <a:pt x="3290196" y="3304913"/>
                </a:moveTo>
                <a:cubicBezTo>
                  <a:pt x="3343472" y="3573691"/>
                  <a:pt x="3558315" y="3786801"/>
                  <a:pt x="3833505" y="3845480"/>
                </a:cubicBezTo>
                <a:cubicBezTo>
                  <a:pt x="3780230" y="3576701"/>
                  <a:pt x="3565386" y="3363591"/>
                  <a:pt x="3290196" y="3304913"/>
                </a:cubicBezTo>
                <a:close/>
                <a:moveTo>
                  <a:pt x="2991910" y="3304913"/>
                </a:moveTo>
                <a:cubicBezTo>
                  <a:pt x="2716720" y="3363591"/>
                  <a:pt x="2501876" y="3576701"/>
                  <a:pt x="2448601" y="3845480"/>
                </a:cubicBezTo>
                <a:cubicBezTo>
                  <a:pt x="2723791" y="3786801"/>
                  <a:pt x="2938634" y="3573691"/>
                  <a:pt x="2991910" y="3304913"/>
                </a:cubicBezTo>
                <a:close/>
                <a:moveTo>
                  <a:pt x="1598045" y="3304913"/>
                </a:moveTo>
                <a:cubicBezTo>
                  <a:pt x="1651321" y="3573691"/>
                  <a:pt x="1866164" y="3786801"/>
                  <a:pt x="2141354" y="3845480"/>
                </a:cubicBezTo>
                <a:cubicBezTo>
                  <a:pt x="2088079" y="3576701"/>
                  <a:pt x="1873235" y="3363591"/>
                  <a:pt x="1598045" y="3304913"/>
                </a:cubicBezTo>
                <a:close/>
                <a:moveTo>
                  <a:pt x="1299759" y="3304913"/>
                </a:moveTo>
                <a:cubicBezTo>
                  <a:pt x="1024569" y="3363591"/>
                  <a:pt x="809725" y="3576701"/>
                  <a:pt x="756450" y="3845480"/>
                </a:cubicBezTo>
                <a:cubicBezTo>
                  <a:pt x="1031640" y="3786801"/>
                  <a:pt x="1246483" y="3573691"/>
                  <a:pt x="1299759" y="3304913"/>
                </a:cubicBezTo>
                <a:close/>
                <a:moveTo>
                  <a:pt x="0" y="3200906"/>
                </a:moveTo>
                <a:cubicBezTo>
                  <a:pt x="306658" y="3291386"/>
                  <a:pt x="537576" y="3547942"/>
                  <a:pt x="582690" y="3862087"/>
                </a:cubicBezTo>
                <a:cubicBezTo>
                  <a:pt x="582857" y="3862140"/>
                  <a:pt x="583026" y="3862145"/>
                  <a:pt x="583195" y="3862150"/>
                </a:cubicBezTo>
                <a:lnTo>
                  <a:pt x="583735" y="3868787"/>
                </a:lnTo>
                <a:cubicBezTo>
                  <a:pt x="588792" y="3898794"/>
                  <a:pt x="591242" y="3929436"/>
                  <a:pt x="591199" y="3960518"/>
                </a:cubicBezTo>
                <a:cubicBezTo>
                  <a:pt x="592511" y="3966104"/>
                  <a:pt x="592570" y="3971728"/>
                  <a:pt x="592570" y="3977366"/>
                </a:cubicBezTo>
                <a:cubicBezTo>
                  <a:pt x="592570" y="3981158"/>
                  <a:pt x="592543" y="3984944"/>
                  <a:pt x="591977" y="3988716"/>
                </a:cubicBezTo>
                <a:lnTo>
                  <a:pt x="591478" y="3988683"/>
                </a:lnTo>
                <a:lnTo>
                  <a:pt x="591452" y="3989174"/>
                </a:lnTo>
                <a:lnTo>
                  <a:pt x="574334" y="3987561"/>
                </a:lnTo>
                <a:cubicBezTo>
                  <a:pt x="541959" y="3987038"/>
                  <a:pt x="510079" y="3984080"/>
                  <a:pt x="478907" y="3978570"/>
                </a:cubicBezTo>
                <a:cubicBezTo>
                  <a:pt x="473330" y="3978986"/>
                  <a:pt x="468001" y="3978045"/>
                  <a:pt x="462690" y="3977042"/>
                </a:cubicBezTo>
                <a:lnTo>
                  <a:pt x="462574" y="3975903"/>
                </a:lnTo>
                <a:cubicBezTo>
                  <a:pt x="282200" y="3946281"/>
                  <a:pt x="121485" y="3861168"/>
                  <a:pt x="0" y="3739225"/>
                </a:cubicBezTo>
                <a:lnTo>
                  <a:pt x="0" y="3534056"/>
                </a:lnTo>
                <a:cubicBezTo>
                  <a:pt x="97584" y="3690562"/>
                  <a:pt x="258975" y="3804918"/>
                  <a:pt x="449203" y="3845480"/>
                </a:cubicBezTo>
                <a:cubicBezTo>
                  <a:pt x="402182" y="3608252"/>
                  <a:pt x="229297" y="3414390"/>
                  <a:pt x="0" y="3332205"/>
                </a:cubicBezTo>
                <a:close/>
                <a:moveTo>
                  <a:pt x="11608704" y="3161219"/>
                </a:moveTo>
                <a:lnTo>
                  <a:pt x="11625791" y="3162829"/>
                </a:lnTo>
                <a:cubicBezTo>
                  <a:pt x="11658177" y="3163352"/>
                  <a:pt x="11690070" y="3166310"/>
                  <a:pt x="11721253" y="3171823"/>
                </a:cubicBezTo>
                <a:cubicBezTo>
                  <a:pt x="11726829" y="3171407"/>
                  <a:pt x="11732157" y="3172348"/>
                  <a:pt x="11737466" y="3173350"/>
                </a:cubicBezTo>
                <a:lnTo>
                  <a:pt x="11737583" y="3174489"/>
                </a:lnTo>
                <a:cubicBezTo>
                  <a:pt x="11914088" y="3203476"/>
                  <a:pt x="12071767" y="3285599"/>
                  <a:pt x="12192000" y="3403667"/>
                </a:cubicBezTo>
                <a:lnTo>
                  <a:pt x="12192000" y="3603658"/>
                </a:lnTo>
                <a:cubicBezTo>
                  <a:pt x="12093732" y="3453636"/>
                  <a:pt x="11935983" y="3344367"/>
                  <a:pt x="11750953" y="3304913"/>
                </a:cubicBezTo>
                <a:cubicBezTo>
                  <a:pt x="11797422" y="3539349"/>
                  <a:pt x="11966808" y="3731433"/>
                  <a:pt x="12192000" y="3815480"/>
                </a:cubicBezTo>
                <a:lnTo>
                  <a:pt x="12192000" y="3947482"/>
                </a:lnTo>
                <a:cubicBezTo>
                  <a:pt x="11889465" y="3854506"/>
                  <a:pt x="11662185" y="3599697"/>
                  <a:pt x="11617468" y="3288305"/>
                </a:cubicBezTo>
                <a:cubicBezTo>
                  <a:pt x="11617300" y="3288253"/>
                  <a:pt x="11617132" y="3288248"/>
                  <a:pt x="11616962" y="3288243"/>
                </a:cubicBezTo>
                <a:lnTo>
                  <a:pt x="11616424" y="3281619"/>
                </a:lnTo>
                <a:cubicBezTo>
                  <a:pt x="11611365" y="3251607"/>
                  <a:pt x="11608914" y="3220958"/>
                  <a:pt x="11608957" y="3189869"/>
                </a:cubicBezTo>
                <a:cubicBezTo>
                  <a:pt x="11607645" y="3184286"/>
                  <a:pt x="11607586" y="3178663"/>
                  <a:pt x="11607586" y="3173027"/>
                </a:cubicBezTo>
                <a:lnTo>
                  <a:pt x="11608180" y="3161677"/>
                </a:lnTo>
                <a:lnTo>
                  <a:pt x="11608678" y="3161709"/>
                </a:lnTo>
                <a:close/>
                <a:moveTo>
                  <a:pt x="11594916" y="3161219"/>
                </a:moveTo>
                <a:lnTo>
                  <a:pt x="11594942" y="3161709"/>
                </a:lnTo>
                <a:lnTo>
                  <a:pt x="11595440" y="3161677"/>
                </a:lnTo>
                <a:lnTo>
                  <a:pt x="11596034" y="3173027"/>
                </a:lnTo>
                <a:cubicBezTo>
                  <a:pt x="11596034" y="3178663"/>
                  <a:pt x="11595975" y="3184286"/>
                  <a:pt x="11594663" y="3189869"/>
                </a:cubicBezTo>
                <a:cubicBezTo>
                  <a:pt x="11594706" y="3220958"/>
                  <a:pt x="11592255" y="3251607"/>
                  <a:pt x="11587196" y="3281619"/>
                </a:cubicBezTo>
                <a:lnTo>
                  <a:pt x="11586658" y="3288243"/>
                </a:lnTo>
                <a:cubicBezTo>
                  <a:pt x="11586488" y="3288248"/>
                  <a:pt x="11586320" y="3288253"/>
                  <a:pt x="11586152" y="3288305"/>
                </a:cubicBezTo>
                <a:cubicBezTo>
                  <a:pt x="11535877" y="3638399"/>
                  <a:pt x="11254838" y="3916971"/>
                  <a:pt x="10895987" y="3975903"/>
                </a:cubicBezTo>
                <a:lnTo>
                  <a:pt x="10895871" y="3977042"/>
                </a:lnTo>
                <a:cubicBezTo>
                  <a:pt x="10890560" y="3978045"/>
                  <a:pt x="10885231" y="3978986"/>
                  <a:pt x="10879654" y="3978570"/>
                </a:cubicBezTo>
                <a:cubicBezTo>
                  <a:pt x="10848482" y="3984080"/>
                  <a:pt x="10816602" y="3987038"/>
                  <a:pt x="10784227" y="3987561"/>
                </a:cubicBezTo>
                <a:lnTo>
                  <a:pt x="10767109" y="3989174"/>
                </a:lnTo>
                <a:lnTo>
                  <a:pt x="10767083" y="3988683"/>
                </a:lnTo>
                <a:lnTo>
                  <a:pt x="10766584" y="3988716"/>
                </a:lnTo>
                <a:cubicBezTo>
                  <a:pt x="10766018" y="3984944"/>
                  <a:pt x="10765991" y="3981158"/>
                  <a:pt x="10765991" y="3977366"/>
                </a:cubicBezTo>
                <a:cubicBezTo>
                  <a:pt x="10765991" y="3971728"/>
                  <a:pt x="10766050" y="3966104"/>
                  <a:pt x="10767362" y="3960518"/>
                </a:cubicBezTo>
                <a:cubicBezTo>
                  <a:pt x="10767319" y="3929436"/>
                  <a:pt x="10769769" y="3898794"/>
                  <a:pt x="10774826" y="3868787"/>
                </a:cubicBezTo>
                <a:lnTo>
                  <a:pt x="10775366" y="3862150"/>
                </a:lnTo>
                <a:cubicBezTo>
                  <a:pt x="10775535" y="3862145"/>
                  <a:pt x="10775704" y="3862140"/>
                  <a:pt x="10775872" y="3862087"/>
                </a:cubicBezTo>
                <a:cubicBezTo>
                  <a:pt x="10826148" y="3511992"/>
                  <a:pt x="11107187" y="3233421"/>
                  <a:pt x="11466037" y="3174489"/>
                </a:cubicBezTo>
                <a:lnTo>
                  <a:pt x="11466154" y="3173350"/>
                </a:lnTo>
                <a:cubicBezTo>
                  <a:pt x="11471463" y="3172348"/>
                  <a:pt x="11476791" y="3171407"/>
                  <a:pt x="11482367" y="3171823"/>
                </a:cubicBezTo>
                <a:cubicBezTo>
                  <a:pt x="11513550" y="3166310"/>
                  <a:pt x="11545443" y="3163352"/>
                  <a:pt x="11577829" y="3162829"/>
                </a:cubicBezTo>
                <a:close/>
                <a:moveTo>
                  <a:pt x="9916551" y="3161219"/>
                </a:moveTo>
                <a:lnTo>
                  <a:pt x="9933638" y="3162829"/>
                </a:lnTo>
                <a:cubicBezTo>
                  <a:pt x="9966024" y="3163352"/>
                  <a:pt x="9997917" y="3166310"/>
                  <a:pt x="10029100" y="3171823"/>
                </a:cubicBezTo>
                <a:cubicBezTo>
                  <a:pt x="10034676" y="3171407"/>
                  <a:pt x="10040004" y="3172348"/>
                  <a:pt x="10045313" y="3173350"/>
                </a:cubicBezTo>
                <a:lnTo>
                  <a:pt x="10045430" y="3174489"/>
                </a:lnTo>
                <a:cubicBezTo>
                  <a:pt x="10404280" y="3233421"/>
                  <a:pt x="10685319" y="3511992"/>
                  <a:pt x="10735596" y="3862087"/>
                </a:cubicBezTo>
                <a:cubicBezTo>
                  <a:pt x="10735763" y="3862140"/>
                  <a:pt x="10735932" y="3862145"/>
                  <a:pt x="10736101" y="3862150"/>
                </a:cubicBezTo>
                <a:lnTo>
                  <a:pt x="10736641" y="3868787"/>
                </a:lnTo>
                <a:cubicBezTo>
                  <a:pt x="10741698" y="3898794"/>
                  <a:pt x="10744148" y="3929436"/>
                  <a:pt x="10744105" y="3960518"/>
                </a:cubicBezTo>
                <a:cubicBezTo>
                  <a:pt x="10745417" y="3966104"/>
                  <a:pt x="10745476" y="3971728"/>
                  <a:pt x="10745476" y="3977366"/>
                </a:cubicBezTo>
                <a:cubicBezTo>
                  <a:pt x="10745476" y="3981158"/>
                  <a:pt x="10745449" y="3984944"/>
                  <a:pt x="10744883" y="3988716"/>
                </a:cubicBezTo>
                <a:lnTo>
                  <a:pt x="10744384" y="3988683"/>
                </a:lnTo>
                <a:lnTo>
                  <a:pt x="10744358" y="3989174"/>
                </a:lnTo>
                <a:lnTo>
                  <a:pt x="10727240" y="3987561"/>
                </a:lnTo>
                <a:cubicBezTo>
                  <a:pt x="10694865" y="3987038"/>
                  <a:pt x="10662985" y="3984080"/>
                  <a:pt x="10631813" y="3978570"/>
                </a:cubicBezTo>
                <a:cubicBezTo>
                  <a:pt x="10626236" y="3978986"/>
                  <a:pt x="10620907" y="3978045"/>
                  <a:pt x="10615596" y="3977042"/>
                </a:cubicBezTo>
                <a:lnTo>
                  <a:pt x="10615480" y="3975903"/>
                </a:lnTo>
                <a:cubicBezTo>
                  <a:pt x="10256629" y="3916971"/>
                  <a:pt x="9975590" y="3638399"/>
                  <a:pt x="9925315" y="3288305"/>
                </a:cubicBezTo>
                <a:cubicBezTo>
                  <a:pt x="9925147" y="3288253"/>
                  <a:pt x="9924979" y="3288248"/>
                  <a:pt x="9924809" y="3288243"/>
                </a:cubicBezTo>
                <a:lnTo>
                  <a:pt x="9924271" y="3281619"/>
                </a:lnTo>
                <a:cubicBezTo>
                  <a:pt x="9919212" y="3251607"/>
                  <a:pt x="9916761" y="3220958"/>
                  <a:pt x="9916804" y="3189869"/>
                </a:cubicBezTo>
                <a:cubicBezTo>
                  <a:pt x="9915492" y="3184286"/>
                  <a:pt x="9915433" y="3178663"/>
                  <a:pt x="9915433" y="3173027"/>
                </a:cubicBezTo>
                <a:lnTo>
                  <a:pt x="9916027" y="3161677"/>
                </a:lnTo>
                <a:lnTo>
                  <a:pt x="9916525" y="3161709"/>
                </a:lnTo>
                <a:close/>
                <a:moveTo>
                  <a:pt x="9902763" y="3161219"/>
                </a:moveTo>
                <a:lnTo>
                  <a:pt x="9902789" y="3161709"/>
                </a:lnTo>
                <a:lnTo>
                  <a:pt x="9903287" y="3161677"/>
                </a:lnTo>
                <a:lnTo>
                  <a:pt x="9903881" y="3173027"/>
                </a:lnTo>
                <a:cubicBezTo>
                  <a:pt x="9903881" y="3178663"/>
                  <a:pt x="9903822" y="3184286"/>
                  <a:pt x="9902510" y="3189869"/>
                </a:cubicBezTo>
                <a:cubicBezTo>
                  <a:pt x="9902553" y="3220958"/>
                  <a:pt x="9900102" y="3251607"/>
                  <a:pt x="9895043" y="3281619"/>
                </a:cubicBezTo>
                <a:lnTo>
                  <a:pt x="9894505" y="3288243"/>
                </a:lnTo>
                <a:cubicBezTo>
                  <a:pt x="9894335" y="3288248"/>
                  <a:pt x="9894167" y="3288253"/>
                  <a:pt x="9893999" y="3288305"/>
                </a:cubicBezTo>
                <a:cubicBezTo>
                  <a:pt x="9843724" y="3638399"/>
                  <a:pt x="9562685" y="3916971"/>
                  <a:pt x="9203834" y="3975903"/>
                </a:cubicBezTo>
                <a:lnTo>
                  <a:pt x="9203718" y="3977042"/>
                </a:lnTo>
                <a:cubicBezTo>
                  <a:pt x="9198407" y="3978045"/>
                  <a:pt x="9193078" y="3978986"/>
                  <a:pt x="9187501" y="3978570"/>
                </a:cubicBezTo>
                <a:cubicBezTo>
                  <a:pt x="9156329" y="3984080"/>
                  <a:pt x="9124449" y="3987038"/>
                  <a:pt x="9092074" y="3987561"/>
                </a:cubicBezTo>
                <a:lnTo>
                  <a:pt x="9074956" y="3989174"/>
                </a:lnTo>
                <a:lnTo>
                  <a:pt x="9074930" y="3988683"/>
                </a:lnTo>
                <a:lnTo>
                  <a:pt x="9074431" y="3988716"/>
                </a:lnTo>
                <a:cubicBezTo>
                  <a:pt x="9073865" y="3984944"/>
                  <a:pt x="9073838" y="3981158"/>
                  <a:pt x="9073838" y="3977366"/>
                </a:cubicBezTo>
                <a:cubicBezTo>
                  <a:pt x="9073838" y="3971728"/>
                  <a:pt x="9073897" y="3966104"/>
                  <a:pt x="9075209" y="3960518"/>
                </a:cubicBezTo>
                <a:cubicBezTo>
                  <a:pt x="9075166" y="3929436"/>
                  <a:pt x="9077616" y="3898794"/>
                  <a:pt x="9082673" y="3868787"/>
                </a:cubicBezTo>
                <a:lnTo>
                  <a:pt x="9083213" y="3862150"/>
                </a:lnTo>
                <a:cubicBezTo>
                  <a:pt x="9083382" y="3862145"/>
                  <a:pt x="9083551" y="3862140"/>
                  <a:pt x="9083718" y="3862087"/>
                </a:cubicBezTo>
                <a:cubicBezTo>
                  <a:pt x="9133995" y="3511992"/>
                  <a:pt x="9415034" y="3233421"/>
                  <a:pt x="9773884" y="3174489"/>
                </a:cubicBezTo>
                <a:lnTo>
                  <a:pt x="9774001" y="3173350"/>
                </a:lnTo>
                <a:cubicBezTo>
                  <a:pt x="9779310" y="3172348"/>
                  <a:pt x="9784638" y="3171407"/>
                  <a:pt x="9790214" y="3171823"/>
                </a:cubicBezTo>
                <a:cubicBezTo>
                  <a:pt x="9821397" y="3166310"/>
                  <a:pt x="9853290" y="3163352"/>
                  <a:pt x="9885676" y="3162829"/>
                </a:cubicBezTo>
                <a:close/>
                <a:moveTo>
                  <a:pt x="8224400" y="3161219"/>
                </a:moveTo>
                <a:lnTo>
                  <a:pt x="8241488" y="3162829"/>
                </a:lnTo>
                <a:cubicBezTo>
                  <a:pt x="8273873" y="3163352"/>
                  <a:pt x="8305766" y="3166310"/>
                  <a:pt x="8336949" y="3171823"/>
                </a:cubicBezTo>
                <a:cubicBezTo>
                  <a:pt x="8342525" y="3171407"/>
                  <a:pt x="8347853" y="3172348"/>
                  <a:pt x="8353162" y="3173350"/>
                </a:cubicBezTo>
                <a:lnTo>
                  <a:pt x="8353279" y="3174489"/>
                </a:lnTo>
                <a:cubicBezTo>
                  <a:pt x="8712129" y="3233421"/>
                  <a:pt x="8993168" y="3511992"/>
                  <a:pt x="9043444" y="3862087"/>
                </a:cubicBezTo>
                <a:cubicBezTo>
                  <a:pt x="9043612" y="3862140"/>
                  <a:pt x="9043781" y="3862145"/>
                  <a:pt x="9043950" y="3862150"/>
                </a:cubicBezTo>
                <a:lnTo>
                  <a:pt x="9044490" y="3868787"/>
                </a:lnTo>
                <a:cubicBezTo>
                  <a:pt x="9049547" y="3898794"/>
                  <a:pt x="9051997" y="3929436"/>
                  <a:pt x="9051954" y="3960518"/>
                </a:cubicBezTo>
                <a:cubicBezTo>
                  <a:pt x="9053266" y="3966104"/>
                  <a:pt x="9053325" y="3971728"/>
                  <a:pt x="9053325" y="3977366"/>
                </a:cubicBezTo>
                <a:cubicBezTo>
                  <a:pt x="9053325" y="3981158"/>
                  <a:pt x="9053298" y="3984944"/>
                  <a:pt x="9052732" y="3988716"/>
                </a:cubicBezTo>
                <a:lnTo>
                  <a:pt x="9052233" y="3988683"/>
                </a:lnTo>
                <a:lnTo>
                  <a:pt x="9052207" y="3989174"/>
                </a:lnTo>
                <a:lnTo>
                  <a:pt x="9035089" y="3987561"/>
                </a:lnTo>
                <a:cubicBezTo>
                  <a:pt x="9002714" y="3987038"/>
                  <a:pt x="8970834" y="3984080"/>
                  <a:pt x="8939662" y="3978570"/>
                </a:cubicBezTo>
                <a:cubicBezTo>
                  <a:pt x="8934085" y="3978986"/>
                  <a:pt x="8928756" y="3978045"/>
                  <a:pt x="8923445" y="3977042"/>
                </a:cubicBezTo>
                <a:lnTo>
                  <a:pt x="8923329" y="3975903"/>
                </a:lnTo>
                <a:cubicBezTo>
                  <a:pt x="8564478" y="3916971"/>
                  <a:pt x="8283439" y="3638399"/>
                  <a:pt x="8233164" y="3288305"/>
                </a:cubicBezTo>
                <a:cubicBezTo>
                  <a:pt x="8232996" y="3288253"/>
                  <a:pt x="8232828" y="3288248"/>
                  <a:pt x="8232658" y="3288243"/>
                </a:cubicBezTo>
                <a:lnTo>
                  <a:pt x="8232120" y="3281619"/>
                </a:lnTo>
                <a:cubicBezTo>
                  <a:pt x="8227061" y="3251607"/>
                  <a:pt x="8224611" y="3220958"/>
                  <a:pt x="8224653" y="3189869"/>
                </a:cubicBezTo>
                <a:cubicBezTo>
                  <a:pt x="8223341" y="3184286"/>
                  <a:pt x="8223282" y="3178663"/>
                  <a:pt x="8223282" y="3173027"/>
                </a:cubicBezTo>
                <a:lnTo>
                  <a:pt x="8223876" y="3161677"/>
                </a:lnTo>
                <a:lnTo>
                  <a:pt x="8224374" y="3161709"/>
                </a:lnTo>
                <a:close/>
                <a:moveTo>
                  <a:pt x="8210612" y="3161219"/>
                </a:moveTo>
                <a:lnTo>
                  <a:pt x="8210638" y="3161709"/>
                </a:lnTo>
                <a:lnTo>
                  <a:pt x="8211136" y="3161677"/>
                </a:lnTo>
                <a:lnTo>
                  <a:pt x="8211730" y="3173027"/>
                </a:lnTo>
                <a:cubicBezTo>
                  <a:pt x="8211730" y="3178663"/>
                  <a:pt x="8211672" y="3184286"/>
                  <a:pt x="8210360" y="3189869"/>
                </a:cubicBezTo>
                <a:cubicBezTo>
                  <a:pt x="8210402" y="3220958"/>
                  <a:pt x="8207951" y="3251607"/>
                  <a:pt x="8202893" y="3281619"/>
                </a:cubicBezTo>
                <a:lnTo>
                  <a:pt x="8202354" y="3288243"/>
                </a:lnTo>
                <a:cubicBezTo>
                  <a:pt x="8202185" y="3288248"/>
                  <a:pt x="8202016" y="3288253"/>
                  <a:pt x="8201849" y="3288305"/>
                </a:cubicBezTo>
                <a:cubicBezTo>
                  <a:pt x="8151573" y="3638399"/>
                  <a:pt x="7870534" y="3916971"/>
                  <a:pt x="7511683" y="3975903"/>
                </a:cubicBezTo>
                <a:lnTo>
                  <a:pt x="7511567" y="3977042"/>
                </a:lnTo>
                <a:cubicBezTo>
                  <a:pt x="7506256" y="3978045"/>
                  <a:pt x="7500927" y="3978986"/>
                  <a:pt x="7495350" y="3978570"/>
                </a:cubicBezTo>
                <a:cubicBezTo>
                  <a:pt x="7464178" y="3984080"/>
                  <a:pt x="7432298" y="3987038"/>
                  <a:pt x="7399924" y="3987561"/>
                </a:cubicBezTo>
                <a:lnTo>
                  <a:pt x="7382805" y="3989174"/>
                </a:lnTo>
                <a:lnTo>
                  <a:pt x="7382779" y="3988683"/>
                </a:lnTo>
                <a:lnTo>
                  <a:pt x="7382280" y="3988716"/>
                </a:lnTo>
                <a:cubicBezTo>
                  <a:pt x="7381714" y="3984944"/>
                  <a:pt x="7381687" y="3981158"/>
                  <a:pt x="7381687" y="3977366"/>
                </a:cubicBezTo>
                <a:cubicBezTo>
                  <a:pt x="7381687" y="3971728"/>
                  <a:pt x="7381746" y="3966104"/>
                  <a:pt x="7383058" y="3960518"/>
                </a:cubicBezTo>
                <a:cubicBezTo>
                  <a:pt x="7383016" y="3929436"/>
                  <a:pt x="7385465" y="3898794"/>
                  <a:pt x="7390522" y="3868787"/>
                </a:cubicBezTo>
                <a:lnTo>
                  <a:pt x="7391062" y="3862150"/>
                </a:lnTo>
                <a:cubicBezTo>
                  <a:pt x="7391231" y="3862145"/>
                  <a:pt x="7391400" y="3862140"/>
                  <a:pt x="7391568" y="3862087"/>
                </a:cubicBezTo>
                <a:cubicBezTo>
                  <a:pt x="7441844" y="3511992"/>
                  <a:pt x="7722883" y="3233421"/>
                  <a:pt x="8081734" y="3174489"/>
                </a:cubicBezTo>
                <a:lnTo>
                  <a:pt x="8081851" y="3173350"/>
                </a:lnTo>
                <a:cubicBezTo>
                  <a:pt x="8087159" y="3172348"/>
                  <a:pt x="8092487" y="3171407"/>
                  <a:pt x="8098063" y="3171823"/>
                </a:cubicBezTo>
                <a:cubicBezTo>
                  <a:pt x="8129247" y="3166310"/>
                  <a:pt x="8161139" y="3163352"/>
                  <a:pt x="8193525" y="3162829"/>
                </a:cubicBezTo>
                <a:close/>
                <a:moveTo>
                  <a:pt x="6532249" y="3161219"/>
                </a:moveTo>
                <a:lnTo>
                  <a:pt x="6549337" y="3162829"/>
                </a:lnTo>
                <a:cubicBezTo>
                  <a:pt x="6581722" y="3163352"/>
                  <a:pt x="6613615" y="3166310"/>
                  <a:pt x="6644798" y="3171823"/>
                </a:cubicBezTo>
                <a:cubicBezTo>
                  <a:pt x="6650374" y="3171407"/>
                  <a:pt x="6655702" y="3172348"/>
                  <a:pt x="6661011" y="3173350"/>
                </a:cubicBezTo>
                <a:lnTo>
                  <a:pt x="6661128" y="3174489"/>
                </a:lnTo>
                <a:cubicBezTo>
                  <a:pt x="7019978" y="3233421"/>
                  <a:pt x="7301017" y="3511992"/>
                  <a:pt x="7351294" y="3862087"/>
                </a:cubicBezTo>
                <a:cubicBezTo>
                  <a:pt x="7351461" y="3862140"/>
                  <a:pt x="7351631" y="3862145"/>
                  <a:pt x="7351799" y="3862150"/>
                </a:cubicBezTo>
                <a:lnTo>
                  <a:pt x="7352340" y="3868787"/>
                </a:lnTo>
                <a:cubicBezTo>
                  <a:pt x="7357396" y="3898794"/>
                  <a:pt x="7359846" y="3929436"/>
                  <a:pt x="7359804" y="3960518"/>
                </a:cubicBezTo>
                <a:cubicBezTo>
                  <a:pt x="7361116" y="3966104"/>
                  <a:pt x="7361174" y="3971728"/>
                  <a:pt x="7361174" y="3977366"/>
                </a:cubicBezTo>
                <a:cubicBezTo>
                  <a:pt x="7361174" y="3981158"/>
                  <a:pt x="7361147" y="3984944"/>
                  <a:pt x="7360581" y="3988716"/>
                </a:cubicBezTo>
                <a:lnTo>
                  <a:pt x="7360082" y="3988683"/>
                </a:lnTo>
                <a:lnTo>
                  <a:pt x="7360056" y="3989174"/>
                </a:lnTo>
                <a:lnTo>
                  <a:pt x="7342938" y="3987561"/>
                </a:lnTo>
                <a:cubicBezTo>
                  <a:pt x="7310564" y="3987038"/>
                  <a:pt x="7278683" y="3984080"/>
                  <a:pt x="7247511" y="3978570"/>
                </a:cubicBezTo>
                <a:cubicBezTo>
                  <a:pt x="7241934" y="3978986"/>
                  <a:pt x="7236605" y="3978045"/>
                  <a:pt x="7231295" y="3977042"/>
                </a:cubicBezTo>
                <a:lnTo>
                  <a:pt x="7231179" y="3975903"/>
                </a:lnTo>
                <a:cubicBezTo>
                  <a:pt x="6872327" y="3916971"/>
                  <a:pt x="6591288" y="3638399"/>
                  <a:pt x="6541013" y="3288305"/>
                </a:cubicBezTo>
                <a:cubicBezTo>
                  <a:pt x="6540845" y="3288253"/>
                  <a:pt x="6540677" y="3288248"/>
                  <a:pt x="6540507" y="3288243"/>
                </a:cubicBezTo>
                <a:lnTo>
                  <a:pt x="6539969" y="3281619"/>
                </a:lnTo>
                <a:cubicBezTo>
                  <a:pt x="6534910" y="3251607"/>
                  <a:pt x="6532460" y="3220958"/>
                  <a:pt x="6532502" y="3189869"/>
                </a:cubicBezTo>
                <a:cubicBezTo>
                  <a:pt x="6531190" y="3184286"/>
                  <a:pt x="6531131" y="3178663"/>
                  <a:pt x="6531131" y="3173027"/>
                </a:cubicBezTo>
                <a:lnTo>
                  <a:pt x="6531725" y="3161677"/>
                </a:lnTo>
                <a:lnTo>
                  <a:pt x="6532223" y="3161709"/>
                </a:lnTo>
                <a:close/>
                <a:moveTo>
                  <a:pt x="6518461" y="3161219"/>
                </a:moveTo>
                <a:lnTo>
                  <a:pt x="6518487" y="3161709"/>
                </a:lnTo>
                <a:lnTo>
                  <a:pt x="6518985" y="3161677"/>
                </a:lnTo>
                <a:lnTo>
                  <a:pt x="6519579" y="3173027"/>
                </a:lnTo>
                <a:cubicBezTo>
                  <a:pt x="6519579" y="3178663"/>
                  <a:pt x="6519520" y="3184286"/>
                  <a:pt x="6518208" y="3189869"/>
                </a:cubicBezTo>
                <a:cubicBezTo>
                  <a:pt x="6518250" y="3220958"/>
                  <a:pt x="6515800" y="3251607"/>
                  <a:pt x="6510741" y="3281619"/>
                </a:cubicBezTo>
                <a:lnTo>
                  <a:pt x="6510203" y="3288243"/>
                </a:lnTo>
                <a:cubicBezTo>
                  <a:pt x="6510033" y="3288248"/>
                  <a:pt x="6509865" y="3288253"/>
                  <a:pt x="6509697" y="3288305"/>
                </a:cubicBezTo>
                <a:cubicBezTo>
                  <a:pt x="6459422" y="3638399"/>
                  <a:pt x="6178383" y="3916971"/>
                  <a:pt x="5819531" y="3975903"/>
                </a:cubicBezTo>
                <a:lnTo>
                  <a:pt x="5819415" y="3977042"/>
                </a:lnTo>
                <a:cubicBezTo>
                  <a:pt x="5814105" y="3978045"/>
                  <a:pt x="5808776" y="3978986"/>
                  <a:pt x="5803199" y="3978570"/>
                </a:cubicBezTo>
                <a:cubicBezTo>
                  <a:pt x="5772027" y="3984080"/>
                  <a:pt x="5740146" y="3987038"/>
                  <a:pt x="5707772" y="3987561"/>
                </a:cubicBezTo>
                <a:lnTo>
                  <a:pt x="5690654" y="3989174"/>
                </a:lnTo>
                <a:lnTo>
                  <a:pt x="5690628" y="3988683"/>
                </a:lnTo>
                <a:lnTo>
                  <a:pt x="5690129" y="3988716"/>
                </a:lnTo>
                <a:cubicBezTo>
                  <a:pt x="5689563" y="3984944"/>
                  <a:pt x="5689536" y="3981158"/>
                  <a:pt x="5689536" y="3977366"/>
                </a:cubicBezTo>
                <a:cubicBezTo>
                  <a:pt x="5689536" y="3971728"/>
                  <a:pt x="5689594" y="3966104"/>
                  <a:pt x="5690906" y="3960518"/>
                </a:cubicBezTo>
                <a:cubicBezTo>
                  <a:pt x="5690864" y="3929436"/>
                  <a:pt x="5693314" y="3898794"/>
                  <a:pt x="5698370" y="3868787"/>
                </a:cubicBezTo>
                <a:lnTo>
                  <a:pt x="5698911" y="3862150"/>
                </a:lnTo>
                <a:cubicBezTo>
                  <a:pt x="5699079" y="3862145"/>
                  <a:pt x="5699249" y="3862140"/>
                  <a:pt x="5699416" y="3862087"/>
                </a:cubicBezTo>
                <a:cubicBezTo>
                  <a:pt x="5749693" y="3511992"/>
                  <a:pt x="6030732" y="3233421"/>
                  <a:pt x="6389582" y="3174489"/>
                </a:cubicBezTo>
                <a:lnTo>
                  <a:pt x="6389699" y="3173350"/>
                </a:lnTo>
                <a:cubicBezTo>
                  <a:pt x="6395008" y="3172348"/>
                  <a:pt x="6400336" y="3171407"/>
                  <a:pt x="6405912" y="3171823"/>
                </a:cubicBezTo>
                <a:cubicBezTo>
                  <a:pt x="6437095" y="3166310"/>
                  <a:pt x="6468988" y="3163352"/>
                  <a:pt x="6501373" y="3162829"/>
                </a:cubicBezTo>
                <a:close/>
                <a:moveTo>
                  <a:pt x="4840098" y="3161219"/>
                </a:moveTo>
                <a:lnTo>
                  <a:pt x="4857185" y="3162829"/>
                </a:lnTo>
                <a:cubicBezTo>
                  <a:pt x="4889571" y="3163352"/>
                  <a:pt x="4921463" y="3166310"/>
                  <a:pt x="4952647" y="3171823"/>
                </a:cubicBezTo>
                <a:cubicBezTo>
                  <a:pt x="4958223" y="3171407"/>
                  <a:pt x="4963551" y="3172348"/>
                  <a:pt x="4968859" y="3173350"/>
                </a:cubicBezTo>
                <a:lnTo>
                  <a:pt x="4968976" y="3174489"/>
                </a:lnTo>
                <a:cubicBezTo>
                  <a:pt x="5327827" y="3233421"/>
                  <a:pt x="5608866" y="3511992"/>
                  <a:pt x="5659142" y="3862087"/>
                </a:cubicBezTo>
                <a:cubicBezTo>
                  <a:pt x="5659310" y="3862140"/>
                  <a:pt x="5659479" y="3862145"/>
                  <a:pt x="5659648" y="3862150"/>
                </a:cubicBezTo>
                <a:lnTo>
                  <a:pt x="5660188" y="3868787"/>
                </a:lnTo>
                <a:cubicBezTo>
                  <a:pt x="5665245" y="3898794"/>
                  <a:pt x="5667694" y="3929436"/>
                  <a:pt x="5667652" y="3960518"/>
                </a:cubicBezTo>
                <a:cubicBezTo>
                  <a:pt x="5668964" y="3966104"/>
                  <a:pt x="5669023" y="3971728"/>
                  <a:pt x="5669023" y="3977366"/>
                </a:cubicBezTo>
                <a:cubicBezTo>
                  <a:pt x="5669023" y="3981158"/>
                  <a:pt x="5668996" y="3984944"/>
                  <a:pt x="5668430" y="3988716"/>
                </a:cubicBezTo>
                <a:lnTo>
                  <a:pt x="5667931" y="3988683"/>
                </a:lnTo>
                <a:lnTo>
                  <a:pt x="5667905" y="3989174"/>
                </a:lnTo>
                <a:lnTo>
                  <a:pt x="5650786" y="3987561"/>
                </a:lnTo>
                <a:cubicBezTo>
                  <a:pt x="5618412" y="3987038"/>
                  <a:pt x="5586532" y="3984080"/>
                  <a:pt x="5555360" y="3978570"/>
                </a:cubicBezTo>
                <a:cubicBezTo>
                  <a:pt x="5549783" y="3978986"/>
                  <a:pt x="5544454" y="3978045"/>
                  <a:pt x="5539143" y="3977042"/>
                </a:cubicBezTo>
                <a:lnTo>
                  <a:pt x="5539027" y="3975903"/>
                </a:lnTo>
                <a:cubicBezTo>
                  <a:pt x="5180176" y="3916971"/>
                  <a:pt x="4899137" y="3638399"/>
                  <a:pt x="4848861" y="3288305"/>
                </a:cubicBezTo>
                <a:cubicBezTo>
                  <a:pt x="4848694" y="3288253"/>
                  <a:pt x="4848525" y="3288248"/>
                  <a:pt x="4848356" y="3288243"/>
                </a:cubicBezTo>
                <a:lnTo>
                  <a:pt x="4847817" y="3281619"/>
                </a:lnTo>
                <a:cubicBezTo>
                  <a:pt x="4842759" y="3251607"/>
                  <a:pt x="4840308" y="3220958"/>
                  <a:pt x="4840350" y="3189869"/>
                </a:cubicBezTo>
                <a:cubicBezTo>
                  <a:pt x="4839038" y="3184286"/>
                  <a:pt x="4838980" y="3178663"/>
                  <a:pt x="4838980" y="3173027"/>
                </a:cubicBezTo>
                <a:lnTo>
                  <a:pt x="4839574" y="3161677"/>
                </a:lnTo>
                <a:lnTo>
                  <a:pt x="4840072" y="3161709"/>
                </a:lnTo>
                <a:close/>
                <a:moveTo>
                  <a:pt x="4826310" y="3161219"/>
                </a:moveTo>
                <a:lnTo>
                  <a:pt x="4826336" y="3161709"/>
                </a:lnTo>
                <a:lnTo>
                  <a:pt x="4826834" y="3161677"/>
                </a:lnTo>
                <a:lnTo>
                  <a:pt x="4827428" y="3173027"/>
                </a:lnTo>
                <a:cubicBezTo>
                  <a:pt x="4827428" y="3178663"/>
                  <a:pt x="4827369" y="3184286"/>
                  <a:pt x="4826057" y="3189869"/>
                </a:cubicBezTo>
                <a:cubicBezTo>
                  <a:pt x="4826099" y="3220958"/>
                  <a:pt x="4823649" y="3251607"/>
                  <a:pt x="4818590" y="3281619"/>
                </a:cubicBezTo>
                <a:lnTo>
                  <a:pt x="4818052" y="3288243"/>
                </a:lnTo>
                <a:cubicBezTo>
                  <a:pt x="4817882" y="3288248"/>
                  <a:pt x="4817714" y="3288253"/>
                  <a:pt x="4817546" y="3288305"/>
                </a:cubicBezTo>
                <a:cubicBezTo>
                  <a:pt x="4767271" y="3638399"/>
                  <a:pt x="4486232" y="3916971"/>
                  <a:pt x="4127381" y="3975903"/>
                </a:cubicBezTo>
                <a:lnTo>
                  <a:pt x="4127264" y="3977042"/>
                </a:lnTo>
                <a:cubicBezTo>
                  <a:pt x="4121954" y="3978045"/>
                  <a:pt x="4116625" y="3978986"/>
                  <a:pt x="4111048" y="3978570"/>
                </a:cubicBezTo>
                <a:cubicBezTo>
                  <a:pt x="4079876" y="3984080"/>
                  <a:pt x="4047996" y="3987038"/>
                  <a:pt x="4015621" y="3987561"/>
                </a:cubicBezTo>
                <a:lnTo>
                  <a:pt x="3998503" y="3989174"/>
                </a:lnTo>
                <a:lnTo>
                  <a:pt x="3998477" y="3988683"/>
                </a:lnTo>
                <a:lnTo>
                  <a:pt x="3997978" y="3988716"/>
                </a:lnTo>
                <a:cubicBezTo>
                  <a:pt x="3997412" y="3984944"/>
                  <a:pt x="3997385" y="3981158"/>
                  <a:pt x="3997385" y="3977366"/>
                </a:cubicBezTo>
                <a:cubicBezTo>
                  <a:pt x="3997385" y="3971728"/>
                  <a:pt x="3997443" y="3966104"/>
                  <a:pt x="3998755" y="3960518"/>
                </a:cubicBezTo>
                <a:cubicBezTo>
                  <a:pt x="3998713" y="3929436"/>
                  <a:pt x="4001163" y="3898794"/>
                  <a:pt x="4006219" y="3868787"/>
                </a:cubicBezTo>
                <a:lnTo>
                  <a:pt x="4006760" y="3862150"/>
                </a:lnTo>
                <a:cubicBezTo>
                  <a:pt x="4006928" y="3862145"/>
                  <a:pt x="4007098" y="3862140"/>
                  <a:pt x="4007265" y="3862087"/>
                </a:cubicBezTo>
                <a:cubicBezTo>
                  <a:pt x="4057542" y="3511992"/>
                  <a:pt x="4338581" y="3233421"/>
                  <a:pt x="4697431" y="3174489"/>
                </a:cubicBezTo>
                <a:lnTo>
                  <a:pt x="4697548" y="3173350"/>
                </a:lnTo>
                <a:cubicBezTo>
                  <a:pt x="4702857" y="3172348"/>
                  <a:pt x="4708185" y="3171407"/>
                  <a:pt x="4713761" y="3171823"/>
                </a:cubicBezTo>
                <a:cubicBezTo>
                  <a:pt x="4744944" y="3166310"/>
                  <a:pt x="4776837" y="3163352"/>
                  <a:pt x="4809222" y="3162829"/>
                </a:cubicBezTo>
                <a:close/>
                <a:moveTo>
                  <a:pt x="3147947" y="3161219"/>
                </a:moveTo>
                <a:lnTo>
                  <a:pt x="3165034" y="3162829"/>
                </a:lnTo>
                <a:cubicBezTo>
                  <a:pt x="3197420" y="3163352"/>
                  <a:pt x="3229312" y="3166310"/>
                  <a:pt x="3260496" y="3171823"/>
                </a:cubicBezTo>
                <a:cubicBezTo>
                  <a:pt x="3266072" y="3171407"/>
                  <a:pt x="3271400" y="3172348"/>
                  <a:pt x="3276708" y="3173350"/>
                </a:cubicBezTo>
                <a:lnTo>
                  <a:pt x="3276826" y="3174489"/>
                </a:lnTo>
                <a:cubicBezTo>
                  <a:pt x="3635676" y="3233421"/>
                  <a:pt x="3916715" y="3511992"/>
                  <a:pt x="3966991" y="3862087"/>
                </a:cubicBezTo>
                <a:cubicBezTo>
                  <a:pt x="3967159" y="3862140"/>
                  <a:pt x="3967328" y="3862145"/>
                  <a:pt x="3967497" y="3862150"/>
                </a:cubicBezTo>
                <a:lnTo>
                  <a:pt x="3968037" y="3868787"/>
                </a:lnTo>
                <a:cubicBezTo>
                  <a:pt x="3973094" y="3898794"/>
                  <a:pt x="3975543" y="3929436"/>
                  <a:pt x="3975501" y="3960518"/>
                </a:cubicBezTo>
                <a:cubicBezTo>
                  <a:pt x="3976813" y="3966104"/>
                  <a:pt x="3976872" y="3971728"/>
                  <a:pt x="3976872" y="3977366"/>
                </a:cubicBezTo>
                <a:cubicBezTo>
                  <a:pt x="3976872" y="3981158"/>
                  <a:pt x="3976845" y="3984944"/>
                  <a:pt x="3976279" y="3988716"/>
                </a:cubicBezTo>
                <a:lnTo>
                  <a:pt x="3975780" y="3988683"/>
                </a:lnTo>
                <a:lnTo>
                  <a:pt x="3975754" y="3989174"/>
                </a:lnTo>
                <a:lnTo>
                  <a:pt x="3958635" y="3987561"/>
                </a:lnTo>
                <a:cubicBezTo>
                  <a:pt x="3926261" y="3987038"/>
                  <a:pt x="3894381" y="3984080"/>
                  <a:pt x="3863209" y="3978570"/>
                </a:cubicBezTo>
                <a:cubicBezTo>
                  <a:pt x="3857632" y="3978986"/>
                  <a:pt x="3852303" y="3978045"/>
                  <a:pt x="3846992" y="3977042"/>
                </a:cubicBezTo>
                <a:lnTo>
                  <a:pt x="3846876" y="3975903"/>
                </a:lnTo>
                <a:cubicBezTo>
                  <a:pt x="3488025" y="3916971"/>
                  <a:pt x="3206986" y="3638399"/>
                  <a:pt x="3156710" y="3288305"/>
                </a:cubicBezTo>
                <a:cubicBezTo>
                  <a:pt x="3156543" y="3288253"/>
                  <a:pt x="3156374" y="3288248"/>
                  <a:pt x="3156205" y="3288243"/>
                </a:cubicBezTo>
                <a:lnTo>
                  <a:pt x="3155667" y="3281619"/>
                </a:lnTo>
                <a:cubicBezTo>
                  <a:pt x="3150608" y="3251607"/>
                  <a:pt x="3148157" y="3220958"/>
                  <a:pt x="3148199" y="3189869"/>
                </a:cubicBezTo>
                <a:cubicBezTo>
                  <a:pt x="3146887" y="3184286"/>
                  <a:pt x="3146829" y="3178663"/>
                  <a:pt x="3146829" y="3173027"/>
                </a:cubicBezTo>
                <a:lnTo>
                  <a:pt x="3147423" y="3161677"/>
                </a:lnTo>
                <a:lnTo>
                  <a:pt x="3147921" y="3161709"/>
                </a:lnTo>
                <a:close/>
                <a:moveTo>
                  <a:pt x="3134159" y="3161219"/>
                </a:moveTo>
                <a:lnTo>
                  <a:pt x="3134185" y="3161709"/>
                </a:lnTo>
                <a:lnTo>
                  <a:pt x="3134683" y="3161677"/>
                </a:lnTo>
                <a:lnTo>
                  <a:pt x="3135277" y="3173027"/>
                </a:lnTo>
                <a:cubicBezTo>
                  <a:pt x="3135277" y="3178663"/>
                  <a:pt x="3135218" y="3184286"/>
                  <a:pt x="3133906" y="3189869"/>
                </a:cubicBezTo>
                <a:cubicBezTo>
                  <a:pt x="3133948" y="3220958"/>
                  <a:pt x="3131498" y="3251607"/>
                  <a:pt x="3126439" y="3281619"/>
                </a:cubicBezTo>
                <a:lnTo>
                  <a:pt x="3125901" y="3288243"/>
                </a:lnTo>
                <a:cubicBezTo>
                  <a:pt x="3125731" y="3288248"/>
                  <a:pt x="3125563" y="3288253"/>
                  <a:pt x="3125395" y="3288305"/>
                </a:cubicBezTo>
                <a:cubicBezTo>
                  <a:pt x="3075120" y="3638399"/>
                  <a:pt x="2794081" y="3916971"/>
                  <a:pt x="2435230" y="3975903"/>
                </a:cubicBezTo>
                <a:lnTo>
                  <a:pt x="2435113" y="3977042"/>
                </a:lnTo>
                <a:cubicBezTo>
                  <a:pt x="2429803" y="3978045"/>
                  <a:pt x="2424474" y="3978986"/>
                  <a:pt x="2418897" y="3978570"/>
                </a:cubicBezTo>
                <a:cubicBezTo>
                  <a:pt x="2387725" y="3984080"/>
                  <a:pt x="2355845" y="3987038"/>
                  <a:pt x="2323470" y="3987561"/>
                </a:cubicBezTo>
                <a:lnTo>
                  <a:pt x="2306352" y="3989174"/>
                </a:lnTo>
                <a:lnTo>
                  <a:pt x="2306326" y="3988683"/>
                </a:lnTo>
                <a:lnTo>
                  <a:pt x="2305827" y="3988716"/>
                </a:lnTo>
                <a:cubicBezTo>
                  <a:pt x="2305261" y="3984944"/>
                  <a:pt x="2305234" y="3981158"/>
                  <a:pt x="2305234" y="3977366"/>
                </a:cubicBezTo>
                <a:cubicBezTo>
                  <a:pt x="2305234" y="3971728"/>
                  <a:pt x="2305292" y="3966104"/>
                  <a:pt x="2306604" y="3960518"/>
                </a:cubicBezTo>
                <a:cubicBezTo>
                  <a:pt x="2306562" y="3929436"/>
                  <a:pt x="2309012" y="3898794"/>
                  <a:pt x="2314068" y="3868787"/>
                </a:cubicBezTo>
                <a:lnTo>
                  <a:pt x="2314609" y="3862150"/>
                </a:lnTo>
                <a:cubicBezTo>
                  <a:pt x="2314777" y="3862145"/>
                  <a:pt x="2314947" y="3862140"/>
                  <a:pt x="2315114" y="3862087"/>
                </a:cubicBezTo>
                <a:cubicBezTo>
                  <a:pt x="2365391" y="3511992"/>
                  <a:pt x="2646430" y="3233421"/>
                  <a:pt x="3005280" y="3174489"/>
                </a:cubicBezTo>
                <a:lnTo>
                  <a:pt x="3005397" y="3173350"/>
                </a:lnTo>
                <a:cubicBezTo>
                  <a:pt x="3010706" y="3172348"/>
                  <a:pt x="3016034" y="3171407"/>
                  <a:pt x="3021610" y="3171823"/>
                </a:cubicBezTo>
                <a:cubicBezTo>
                  <a:pt x="3052793" y="3166310"/>
                  <a:pt x="3084686" y="3163352"/>
                  <a:pt x="3117071" y="3162829"/>
                </a:cubicBezTo>
                <a:close/>
                <a:moveTo>
                  <a:pt x="1455796" y="3161219"/>
                </a:moveTo>
                <a:lnTo>
                  <a:pt x="1472883" y="3162829"/>
                </a:lnTo>
                <a:cubicBezTo>
                  <a:pt x="1505269" y="3163352"/>
                  <a:pt x="1537161" y="3166310"/>
                  <a:pt x="1568345" y="3171823"/>
                </a:cubicBezTo>
                <a:cubicBezTo>
                  <a:pt x="1573921" y="3171407"/>
                  <a:pt x="1579249" y="3172348"/>
                  <a:pt x="1584557" y="3173350"/>
                </a:cubicBezTo>
                <a:lnTo>
                  <a:pt x="1584675" y="3174489"/>
                </a:lnTo>
                <a:cubicBezTo>
                  <a:pt x="1943525" y="3233421"/>
                  <a:pt x="2224564" y="3511992"/>
                  <a:pt x="2274840" y="3862087"/>
                </a:cubicBezTo>
                <a:cubicBezTo>
                  <a:pt x="2275008" y="3862140"/>
                  <a:pt x="2275177" y="3862145"/>
                  <a:pt x="2275346" y="3862150"/>
                </a:cubicBezTo>
                <a:lnTo>
                  <a:pt x="2275886" y="3868787"/>
                </a:lnTo>
                <a:cubicBezTo>
                  <a:pt x="2280943" y="3898794"/>
                  <a:pt x="2283392" y="3929436"/>
                  <a:pt x="2283350" y="3960518"/>
                </a:cubicBezTo>
                <a:cubicBezTo>
                  <a:pt x="2284662" y="3966104"/>
                  <a:pt x="2284721" y="3971728"/>
                  <a:pt x="2284721" y="3977366"/>
                </a:cubicBezTo>
                <a:cubicBezTo>
                  <a:pt x="2284721" y="3981158"/>
                  <a:pt x="2284694" y="3984944"/>
                  <a:pt x="2284128" y="3988716"/>
                </a:cubicBezTo>
                <a:lnTo>
                  <a:pt x="2283629" y="3988683"/>
                </a:lnTo>
                <a:lnTo>
                  <a:pt x="2283603" y="3989174"/>
                </a:lnTo>
                <a:lnTo>
                  <a:pt x="2266484" y="3987561"/>
                </a:lnTo>
                <a:cubicBezTo>
                  <a:pt x="2234110" y="3987038"/>
                  <a:pt x="2202230" y="3984080"/>
                  <a:pt x="2171058" y="3978570"/>
                </a:cubicBezTo>
                <a:cubicBezTo>
                  <a:pt x="2165481" y="3978986"/>
                  <a:pt x="2160152" y="3978045"/>
                  <a:pt x="2154841" y="3977042"/>
                </a:cubicBezTo>
                <a:lnTo>
                  <a:pt x="2154725" y="3975903"/>
                </a:lnTo>
                <a:cubicBezTo>
                  <a:pt x="1795874" y="3916971"/>
                  <a:pt x="1514835" y="3638399"/>
                  <a:pt x="1464559" y="3288305"/>
                </a:cubicBezTo>
                <a:cubicBezTo>
                  <a:pt x="1464392" y="3288253"/>
                  <a:pt x="1464223" y="3288248"/>
                  <a:pt x="1464054" y="3288243"/>
                </a:cubicBezTo>
                <a:lnTo>
                  <a:pt x="1463515" y="3281619"/>
                </a:lnTo>
                <a:cubicBezTo>
                  <a:pt x="1458457" y="3251607"/>
                  <a:pt x="1456006" y="3220958"/>
                  <a:pt x="1456048" y="3189869"/>
                </a:cubicBezTo>
                <a:cubicBezTo>
                  <a:pt x="1454736" y="3184286"/>
                  <a:pt x="1454678" y="3178663"/>
                  <a:pt x="1454678" y="3173027"/>
                </a:cubicBezTo>
                <a:lnTo>
                  <a:pt x="1455272" y="3161677"/>
                </a:lnTo>
                <a:lnTo>
                  <a:pt x="1455770" y="3161709"/>
                </a:lnTo>
                <a:close/>
                <a:moveTo>
                  <a:pt x="1442008" y="3161219"/>
                </a:moveTo>
                <a:lnTo>
                  <a:pt x="1442034" y="3161709"/>
                </a:lnTo>
                <a:lnTo>
                  <a:pt x="1442532" y="3161677"/>
                </a:lnTo>
                <a:lnTo>
                  <a:pt x="1443126" y="3173027"/>
                </a:lnTo>
                <a:cubicBezTo>
                  <a:pt x="1443126" y="3178663"/>
                  <a:pt x="1443067" y="3184286"/>
                  <a:pt x="1441755" y="3189869"/>
                </a:cubicBezTo>
                <a:cubicBezTo>
                  <a:pt x="1441797" y="3220958"/>
                  <a:pt x="1439347" y="3251607"/>
                  <a:pt x="1434288" y="3281619"/>
                </a:cubicBezTo>
                <a:lnTo>
                  <a:pt x="1433750" y="3288243"/>
                </a:lnTo>
                <a:cubicBezTo>
                  <a:pt x="1433580" y="3288248"/>
                  <a:pt x="1433412" y="3288253"/>
                  <a:pt x="1433244" y="3288305"/>
                </a:cubicBezTo>
                <a:cubicBezTo>
                  <a:pt x="1382969" y="3638399"/>
                  <a:pt x="1101930" y="3916971"/>
                  <a:pt x="743079" y="3975903"/>
                </a:cubicBezTo>
                <a:lnTo>
                  <a:pt x="742962" y="3977042"/>
                </a:lnTo>
                <a:cubicBezTo>
                  <a:pt x="737652" y="3978045"/>
                  <a:pt x="732323" y="3978986"/>
                  <a:pt x="726746" y="3978570"/>
                </a:cubicBezTo>
                <a:cubicBezTo>
                  <a:pt x="695574" y="3984080"/>
                  <a:pt x="663693" y="3987038"/>
                  <a:pt x="631319" y="3987561"/>
                </a:cubicBezTo>
                <a:lnTo>
                  <a:pt x="614201" y="3989174"/>
                </a:lnTo>
                <a:lnTo>
                  <a:pt x="614175" y="3988683"/>
                </a:lnTo>
                <a:lnTo>
                  <a:pt x="613676" y="3988716"/>
                </a:lnTo>
                <a:cubicBezTo>
                  <a:pt x="613110" y="3984944"/>
                  <a:pt x="613083" y="3981158"/>
                  <a:pt x="613083" y="3977366"/>
                </a:cubicBezTo>
                <a:cubicBezTo>
                  <a:pt x="613083" y="3971728"/>
                  <a:pt x="613141" y="3966104"/>
                  <a:pt x="614453" y="3960518"/>
                </a:cubicBezTo>
                <a:cubicBezTo>
                  <a:pt x="614411" y="3929436"/>
                  <a:pt x="616861" y="3898794"/>
                  <a:pt x="621917" y="3868787"/>
                </a:cubicBezTo>
                <a:lnTo>
                  <a:pt x="622458" y="3862150"/>
                </a:lnTo>
                <a:cubicBezTo>
                  <a:pt x="622626" y="3862145"/>
                  <a:pt x="622796" y="3862140"/>
                  <a:pt x="622963" y="3862087"/>
                </a:cubicBezTo>
                <a:cubicBezTo>
                  <a:pt x="673240" y="3511992"/>
                  <a:pt x="954279" y="3233421"/>
                  <a:pt x="1313129" y="3174489"/>
                </a:cubicBezTo>
                <a:lnTo>
                  <a:pt x="1313246" y="3173350"/>
                </a:lnTo>
                <a:cubicBezTo>
                  <a:pt x="1318555" y="3172348"/>
                  <a:pt x="1323883" y="3171407"/>
                  <a:pt x="1329459" y="3171823"/>
                </a:cubicBezTo>
                <a:cubicBezTo>
                  <a:pt x="1360642" y="3166310"/>
                  <a:pt x="1392535" y="3163352"/>
                  <a:pt x="1424920" y="3162829"/>
                </a:cubicBezTo>
                <a:close/>
                <a:moveTo>
                  <a:pt x="10909360" y="2447425"/>
                </a:moveTo>
                <a:cubicBezTo>
                  <a:pt x="10962636" y="2718331"/>
                  <a:pt x="11177479" y="2933128"/>
                  <a:pt x="11452669" y="2992271"/>
                </a:cubicBezTo>
                <a:cubicBezTo>
                  <a:pt x="11399394" y="2721365"/>
                  <a:pt x="11184550" y="2506568"/>
                  <a:pt x="10909360" y="2447425"/>
                </a:cubicBezTo>
                <a:close/>
                <a:moveTo>
                  <a:pt x="10602109" y="2447425"/>
                </a:moveTo>
                <a:cubicBezTo>
                  <a:pt x="10326919" y="2506568"/>
                  <a:pt x="10112075" y="2721365"/>
                  <a:pt x="10058800" y="2992271"/>
                </a:cubicBezTo>
                <a:cubicBezTo>
                  <a:pt x="10333990" y="2933128"/>
                  <a:pt x="10548833" y="2718331"/>
                  <a:pt x="10602109" y="2447425"/>
                </a:cubicBezTo>
                <a:close/>
                <a:moveTo>
                  <a:pt x="9217207" y="2447425"/>
                </a:moveTo>
                <a:cubicBezTo>
                  <a:pt x="9270483" y="2718331"/>
                  <a:pt x="9485326" y="2933128"/>
                  <a:pt x="9760516" y="2992271"/>
                </a:cubicBezTo>
                <a:cubicBezTo>
                  <a:pt x="9707241" y="2721365"/>
                  <a:pt x="9492397" y="2506568"/>
                  <a:pt x="9217207" y="2447425"/>
                </a:cubicBezTo>
                <a:close/>
                <a:moveTo>
                  <a:pt x="8909958" y="2447425"/>
                </a:moveTo>
                <a:cubicBezTo>
                  <a:pt x="8634768" y="2506568"/>
                  <a:pt x="8419924" y="2721365"/>
                  <a:pt x="8366649" y="2992271"/>
                </a:cubicBezTo>
                <a:cubicBezTo>
                  <a:pt x="8641839" y="2933128"/>
                  <a:pt x="8856682" y="2718331"/>
                  <a:pt x="8909958" y="2447425"/>
                </a:cubicBezTo>
                <a:close/>
                <a:moveTo>
                  <a:pt x="7525056" y="2447425"/>
                </a:moveTo>
                <a:cubicBezTo>
                  <a:pt x="7578332" y="2718331"/>
                  <a:pt x="7793175" y="2933128"/>
                  <a:pt x="8068365" y="2992271"/>
                </a:cubicBezTo>
                <a:cubicBezTo>
                  <a:pt x="8015090" y="2721365"/>
                  <a:pt x="7800246" y="2506568"/>
                  <a:pt x="7525056" y="2447425"/>
                </a:cubicBezTo>
                <a:close/>
                <a:moveTo>
                  <a:pt x="7217807" y="2447425"/>
                </a:moveTo>
                <a:cubicBezTo>
                  <a:pt x="6942617" y="2506568"/>
                  <a:pt x="6727773" y="2721365"/>
                  <a:pt x="6674498" y="2992271"/>
                </a:cubicBezTo>
                <a:cubicBezTo>
                  <a:pt x="6949688" y="2933128"/>
                  <a:pt x="7164531" y="2718331"/>
                  <a:pt x="7217807" y="2447425"/>
                </a:cubicBezTo>
                <a:close/>
                <a:moveTo>
                  <a:pt x="5832905" y="2447425"/>
                </a:moveTo>
                <a:cubicBezTo>
                  <a:pt x="5886181" y="2718331"/>
                  <a:pt x="6101024" y="2933128"/>
                  <a:pt x="6376214" y="2992271"/>
                </a:cubicBezTo>
                <a:cubicBezTo>
                  <a:pt x="6322939" y="2721365"/>
                  <a:pt x="6108095" y="2506568"/>
                  <a:pt x="5832905" y="2447425"/>
                </a:cubicBezTo>
                <a:close/>
                <a:moveTo>
                  <a:pt x="5525656" y="2447425"/>
                </a:moveTo>
                <a:cubicBezTo>
                  <a:pt x="5250466" y="2506568"/>
                  <a:pt x="5035622" y="2721365"/>
                  <a:pt x="4982347" y="2992271"/>
                </a:cubicBezTo>
                <a:cubicBezTo>
                  <a:pt x="5257537" y="2933128"/>
                  <a:pt x="5472380" y="2718331"/>
                  <a:pt x="5525656" y="2447425"/>
                </a:cubicBezTo>
                <a:close/>
                <a:moveTo>
                  <a:pt x="4140754" y="2447425"/>
                </a:moveTo>
                <a:cubicBezTo>
                  <a:pt x="4194030" y="2718331"/>
                  <a:pt x="4408873" y="2933128"/>
                  <a:pt x="4684063" y="2992271"/>
                </a:cubicBezTo>
                <a:cubicBezTo>
                  <a:pt x="4630788" y="2721365"/>
                  <a:pt x="4415944" y="2506568"/>
                  <a:pt x="4140754" y="2447425"/>
                </a:cubicBezTo>
                <a:close/>
                <a:moveTo>
                  <a:pt x="3833505" y="2447425"/>
                </a:moveTo>
                <a:cubicBezTo>
                  <a:pt x="3558315" y="2506568"/>
                  <a:pt x="3343471" y="2721365"/>
                  <a:pt x="3290196" y="2992271"/>
                </a:cubicBezTo>
                <a:cubicBezTo>
                  <a:pt x="3565386" y="2933128"/>
                  <a:pt x="3780229" y="2718331"/>
                  <a:pt x="3833505" y="2447425"/>
                </a:cubicBezTo>
                <a:close/>
                <a:moveTo>
                  <a:pt x="2448603" y="2447425"/>
                </a:moveTo>
                <a:cubicBezTo>
                  <a:pt x="2501879" y="2718331"/>
                  <a:pt x="2716722" y="2933128"/>
                  <a:pt x="2991912" y="2992271"/>
                </a:cubicBezTo>
                <a:cubicBezTo>
                  <a:pt x="2938637" y="2721365"/>
                  <a:pt x="2723793" y="2506568"/>
                  <a:pt x="2448603" y="2447425"/>
                </a:cubicBezTo>
                <a:close/>
                <a:moveTo>
                  <a:pt x="2141354" y="2447425"/>
                </a:moveTo>
                <a:cubicBezTo>
                  <a:pt x="1866164" y="2506568"/>
                  <a:pt x="1651320" y="2721365"/>
                  <a:pt x="1598045" y="2992271"/>
                </a:cubicBezTo>
                <a:cubicBezTo>
                  <a:pt x="1873235" y="2933128"/>
                  <a:pt x="2088078" y="2718331"/>
                  <a:pt x="2141354" y="2447425"/>
                </a:cubicBezTo>
                <a:close/>
                <a:moveTo>
                  <a:pt x="756452" y="2447425"/>
                </a:moveTo>
                <a:cubicBezTo>
                  <a:pt x="809728" y="2718331"/>
                  <a:pt x="1024571" y="2933128"/>
                  <a:pt x="1299761" y="2992271"/>
                </a:cubicBezTo>
                <a:cubicBezTo>
                  <a:pt x="1246486" y="2721365"/>
                  <a:pt x="1031642" y="2506568"/>
                  <a:pt x="756452" y="2447425"/>
                </a:cubicBezTo>
                <a:close/>
                <a:moveTo>
                  <a:pt x="12192000" y="2344615"/>
                </a:moveTo>
                <a:lnTo>
                  <a:pt x="12192000" y="2477663"/>
                </a:lnTo>
                <a:cubicBezTo>
                  <a:pt x="11966807" y="2562375"/>
                  <a:pt x="11797421" y="2755980"/>
                  <a:pt x="11750953" y="2992271"/>
                </a:cubicBezTo>
                <a:cubicBezTo>
                  <a:pt x="11935988" y="2952504"/>
                  <a:pt x="12093739" y="2842365"/>
                  <a:pt x="12192000" y="2691161"/>
                </a:cubicBezTo>
                <a:lnTo>
                  <a:pt x="12192000" y="2892735"/>
                </a:lnTo>
                <a:cubicBezTo>
                  <a:pt x="12071770" y="3011736"/>
                  <a:pt x="11914089" y="3094511"/>
                  <a:pt x="11737582" y="3123727"/>
                </a:cubicBezTo>
                <a:lnTo>
                  <a:pt x="11737466" y="3124875"/>
                </a:lnTo>
                <a:cubicBezTo>
                  <a:pt x="11732155" y="3125886"/>
                  <a:pt x="11726826" y="3126834"/>
                  <a:pt x="11721249" y="3126415"/>
                </a:cubicBezTo>
                <a:cubicBezTo>
                  <a:pt x="11690077" y="3131969"/>
                  <a:pt x="11658197" y="3134950"/>
                  <a:pt x="11625822" y="3135477"/>
                </a:cubicBezTo>
                <a:lnTo>
                  <a:pt x="11608704" y="3137103"/>
                </a:lnTo>
                <a:lnTo>
                  <a:pt x="11608678" y="3136608"/>
                </a:lnTo>
                <a:lnTo>
                  <a:pt x="11608179" y="3136641"/>
                </a:lnTo>
                <a:cubicBezTo>
                  <a:pt x="11607613" y="3132839"/>
                  <a:pt x="11607586" y="3129023"/>
                  <a:pt x="11607586" y="3125201"/>
                </a:cubicBezTo>
                <a:cubicBezTo>
                  <a:pt x="11607586" y="3119519"/>
                  <a:pt x="11607645" y="3113850"/>
                  <a:pt x="11608957" y="3108220"/>
                </a:cubicBezTo>
                <a:cubicBezTo>
                  <a:pt x="11608914" y="3076892"/>
                  <a:pt x="11611364" y="3046007"/>
                  <a:pt x="11616421" y="3015763"/>
                </a:cubicBezTo>
                <a:lnTo>
                  <a:pt x="11616961" y="3009073"/>
                </a:lnTo>
                <a:cubicBezTo>
                  <a:pt x="11617130" y="3009068"/>
                  <a:pt x="11617299" y="3009063"/>
                  <a:pt x="11617466" y="3009010"/>
                </a:cubicBezTo>
                <a:cubicBezTo>
                  <a:pt x="11662185" y="2695154"/>
                  <a:pt x="11889463" y="2438329"/>
                  <a:pt x="12192000" y="2344615"/>
                </a:cubicBezTo>
                <a:close/>
                <a:moveTo>
                  <a:pt x="10767111" y="2302594"/>
                </a:moveTo>
                <a:lnTo>
                  <a:pt x="10784198" y="2304217"/>
                </a:lnTo>
                <a:cubicBezTo>
                  <a:pt x="10816584" y="2304744"/>
                  <a:pt x="10848477" y="2307725"/>
                  <a:pt x="10879660" y="2313282"/>
                </a:cubicBezTo>
                <a:cubicBezTo>
                  <a:pt x="10885236" y="2312863"/>
                  <a:pt x="10890564" y="2313811"/>
                  <a:pt x="10895873" y="2314821"/>
                </a:cubicBezTo>
                <a:lnTo>
                  <a:pt x="10895990" y="2315969"/>
                </a:lnTo>
                <a:cubicBezTo>
                  <a:pt x="11254840" y="2375367"/>
                  <a:pt x="11535879" y="2656144"/>
                  <a:pt x="11586156" y="3009010"/>
                </a:cubicBezTo>
                <a:cubicBezTo>
                  <a:pt x="11586323" y="3009063"/>
                  <a:pt x="11586492" y="3009068"/>
                  <a:pt x="11586661" y="3009073"/>
                </a:cubicBezTo>
                <a:lnTo>
                  <a:pt x="11587201" y="3015763"/>
                </a:lnTo>
                <a:cubicBezTo>
                  <a:pt x="11592258" y="3046007"/>
                  <a:pt x="11594708" y="3076892"/>
                  <a:pt x="11594665" y="3108220"/>
                </a:cubicBezTo>
                <a:cubicBezTo>
                  <a:pt x="11595977" y="3113850"/>
                  <a:pt x="11596036" y="3119519"/>
                  <a:pt x="11596036" y="3125201"/>
                </a:cubicBezTo>
                <a:cubicBezTo>
                  <a:pt x="11596036" y="3129023"/>
                  <a:pt x="11596009" y="3132839"/>
                  <a:pt x="11595443" y="3136641"/>
                </a:cubicBezTo>
                <a:lnTo>
                  <a:pt x="11594944" y="3136608"/>
                </a:lnTo>
                <a:lnTo>
                  <a:pt x="11594918" y="3137103"/>
                </a:lnTo>
                <a:lnTo>
                  <a:pt x="11577800" y="3135477"/>
                </a:lnTo>
                <a:cubicBezTo>
                  <a:pt x="11545425" y="3134950"/>
                  <a:pt x="11513545" y="3131969"/>
                  <a:pt x="11482373" y="3126415"/>
                </a:cubicBezTo>
                <a:cubicBezTo>
                  <a:pt x="11476796" y="3126834"/>
                  <a:pt x="11471467" y="3125886"/>
                  <a:pt x="11466156" y="3124875"/>
                </a:cubicBezTo>
                <a:lnTo>
                  <a:pt x="11466040" y="3123727"/>
                </a:lnTo>
                <a:cubicBezTo>
                  <a:pt x="11107189" y="3064328"/>
                  <a:pt x="10826150" y="2783551"/>
                  <a:pt x="10775875" y="2430686"/>
                </a:cubicBezTo>
                <a:cubicBezTo>
                  <a:pt x="10775707" y="2430633"/>
                  <a:pt x="10775539" y="2430628"/>
                  <a:pt x="10775369" y="2430623"/>
                </a:cubicBezTo>
                <a:lnTo>
                  <a:pt x="10774831" y="2423947"/>
                </a:lnTo>
                <a:cubicBezTo>
                  <a:pt x="10769772" y="2393697"/>
                  <a:pt x="10767321" y="2362806"/>
                  <a:pt x="10767364" y="2331471"/>
                </a:cubicBezTo>
                <a:cubicBezTo>
                  <a:pt x="10766052" y="2325843"/>
                  <a:pt x="10765993" y="2320176"/>
                  <a:pt x="10765993" y="2314495"/>
                </a:cubicBezTo>
                <a:lnTo>
                  <a:pt x="10766587" y="2303055"/>
                </a:lnTo>
                <a:lnTo>
                  <a:pt x="10767085" y="2303088"/>
                </a:lnTo>
                <a:close/>
                <a:moveTo>
                  <a:pt x="10744358" y="2302594"/>
                </a:moveTo>
                <a:lnTo>
                  <a:pt x="10744384" y="2303088"/>
                </a:lnTo>
                <a:lnTo>
                  <a:pt x="10744882" y="2303055"/>
                </a:lnTo>
                <a:lnTo>
                  <a:pt x="10745476" y="2314495"/>
                </a:lnTo>
                <a:cubicBezTo>
                  <a:pt x="10745476" y="2320176"/>
                  <a:pt x="10745417" y="2325843"/>
                  <a:pt x="10744105" y="2331471"/>
                </a:cubicBezTo>
                <a:cubicBezTo>
                  <a:pt x="10744148" y="2362806"/>
                  <a:pt x="10741697" y="2393697"/>
                  <a:pt x="10736638" y="2423947"/>
                </a:cubicBezTo>
                <a:lnTo>
                  <a:pt x="10736100" y="2430623"/>
                </a:lnTo>
                <a:cubicBezTo>
                  <a:pt x="10735930" y="2430628"/>
                  <a:pt x="10735762" y="2430633"/>
                  <a:pt x="10735594" y="2430686"/>
                </a:cubicBezTo>
                <a:cubicBezTo>
                  <a:pt x="10685319" y="2783551"/>
                  <a:pt x="10404280" y="3064328"/>
                  <a:pt x="10045429" y="3123727"/>
                </a:cubicBezTo>
                <a:lnTo>
                  <a:pt x="10045313" y="3124875"/>
                </a:lnTo>
                <a:cubicBezTo>
                  <a:pt x="10040002" y="3125886"/>
                  <a:pt x="10034673" y="3126834"/>
                  <a:pt x="10029096" y="3126415"/>
                </a:cubicBezTo>
                <a:cubicBezTo>
                  <a:pt x="9997924" y="3131969"/>
                  <a:pt x="9966044" y="3134950"/>
                  <a:pt x="9933669" y="3135477"/>
                </a:cubicBezTo>
                <a:lnTo>
                  <a:pt x="9916551" y="3137103"/>
                </a:lnTo>
                <a:lnTo>
                  <a:pt x="9916525" y="3136608"/>
                </a:lnTo>
                <a:lnTo>
                  <a:pt x="9916026" y="3136641"/>
                </a:lnTo>
                <a:cubicBezTo>
                  <a:pt x="9915460" y="3132839"/>
                  <a:pt x="9915433" y="3129023"/>
                  <a:pt x="9915433" y="3125201"/>
                </a:cubicBezTo>
                <a:cubicBezTo>
                  <a:pt x="9915433" y="3119519"/>
                  <a:pt x="9915492" y="3113850"/>
                  <a:pt x="9916804" y="3108220"/>
                </a:cubicBezTo>
                <a:cubicBezTo>
                  <a:pt x="9916761" y="3076892"/>
                  <a:pt x="9919211" y="3046007"/>
                  <a:pt x="9924268" y="3015763"/>
                </a:cubicBezTo>
                <a:lnTo>
                  <a:pt x="9924808" y="3009073"/>
                </a:lnTo>
                <a:cubicBezTo>
                  <a:pt x="9924977" y="3009068"/>
                  <a:pt x="9925146" y="3009063"/>
                  <a:pt x="9925314" y="3009010"/>
                </a:cubicBezTo>
                <a:cubicBezTo>
                  <a:pt x="9975590" y="2656144"/>
                  <a:pt x="10256629" y="2375367"/>
                  <a:pt x="10615479" y="2315969"/>
                </a:cubicBezTo>
                <a:lnTo>
                  <a:pt x="10615596" y="2314821"/>
                </a:lnTo>
                <a:cubicBezTo>
                  <a:pt x="10620905" y="2313811"/>
                  <a:pt x="10626233" y="2312863"/>
                  <a:pt x="10631809" y="2313282"/>
                </a:cubicBezTo>
                <a:cubicBezTo>
                  <a:pt x="10662992" y="2307725"/>
                  <a:pt x="10694885" y="2304744"/>
                  <a:pt x="10727271" y="2304217"/>
                </a:cubicBezTo>
                <a:close/>
                <a:moveTo>
                  <a:pt x="9074958" y="2302594"/>
                </a:moveTo>
                <a:lnTo>
                  <a:pt x="9092045" y="2304217"/>
                </a:lnTo>
                <a:cubicBezTo>
                  <a:pt x="9124431" y="2304744"/>
                  <a:pt x="9156324" y="2307725"/>
                  <a:pt x="9187507" y="2313282"/>
                </a:cubicBezTo>
                <a:cubicBezTo>
                  <a:pt x="9193083" y="2312863"/>
                  <a:pt x="9198411" y="2313811"/>
                  <a:pt x="9203720" y="2314821"/>
                </a:cubicBezTo>
                <a:lnTo>
                  <a:pt x="9203837" y="2315969"/>
                </a:lnTo>
                <a:cubicBezTo>
                  <a:pt x="9562687" y="2375367"/>
                  <a:pt x="9843726" y="2656144"/>
                  <a:pt x="9894002" y="3009010"/>
                </a:cubicBezTo>
                <a:cubicBezTo>
                  <a:pt x="9894170" y="3009063"/>
                  <a:pt x="9894339" y="3009068"/>
                  <a:pt x="9894508" y="3009073"/>
                </a:cubicBezTo>
                <a:lnTo>
                  <a:pt x="9895048" y="3015763"/>
                </a:lnTo>
                <a:cubicBezTo>
                  <a:pt x="9900105" y="3046007"/>
                  <a:pt x="9902555" y="3076892"/>
                  <a:pt x="9902512" y="3108220"/>
                </a:cubicBezTo>
                <a:cubicBezTo>
                  <a:pt x="9903824" y="3113850"/>
                  <a:pt x="9903883" y="3119519"/>
                  <a:pt x="9903883" y="3125201"/>
                </a:cubicBezTo>
                <a:cubicBezTo>
                  <a:pt x="9903883" y="3129023"/>
                  <a:pt x="9903856" y="3132839"/>
                  <a:pt x="9903290" y="3136641"/>
                </a:cubicBezTo>
                <a:lnTo>
                  <a:pt x="9902791" y="3136608"/>
                </a:lnTo>
                <a:lnTo>
                  <a:pt x="9902765" y="3137103"/>
                </a:lnTo>
                <a:lnTo>
                  <a:pt x="9885647" y="3135477"/>
                </a:lnTo>
                <a:cubicBezTo>
                  <a:pt x="9853272" y="3134950"/>
                  <a:pt x="9821392" y="3131969"/>
                  <a:pt x="9790220" y="3126415"/>
                </a:cubicBezTo>
                <a:cubicBezTo>
                  <a:pt x="9784643" y="3126834"/>
                  <a:pt x="9779314" y="3125886"/>
                  <a:pt x="9774003" y="3124875"/>
                </a:cubicBezTo>
                <a:lnTo>
                  <a:pt x="9773887" y="3123727"/>
                </a:lnTo>
                <a:cubicBezTo>
                  <a:pt x="9415036" y="3064328"/>
                  <a:pt x="9133997" y="2783551"/>
                  <a:pt x="9083722" y="2430686"/>
                </a:cubicBezTo>
                <a:cubicBezTo>
                  <a:pt x="9083554" y="2430633"/>
                  <a:pt x="9083386" y="2430628"/>
                  <a:pt x="9083216" y="2430623"/>
                </a:cubicBezTo>
                <a:lnTo>
                  <a:pt x="9082678" y="2423947"/>
                </a:lnTo>
                <a:cubicBezTo>
                  <a:pt x="9077619" y="2393697"/>
                  <a:pt x="9075168" y="2362806"/>
                  <a:pt x="9075211" y="2331471"/>
                </a:cubicBezTo>
                <a:cubicBezTo>
                  <a:pt x="9073899" y="2325843"/>
                  <a:pt x="9073840" y="2320176"/>
                  <a:pt x="9073840" y="2314495"/>
                </a:cubicBezTo>
                <a:lnTo>
                  <a:pt x="9074434" y="2303055"/>
                </a:lnTo>
                <a:lnTo>
                  <a:pt x="9074932" y="2303088"/>
                </a:lnTo>
                <a:close/>
                <a:moveTo>
                  <a:pt x="9052207" y="2302594"/>
                </a:moveTo>
                <a:lnTo>
                  <a:pt x="9052233" y="2303088"/>
                </a:lnTo>
                <a:lnTo>
                  <a:pt x="9052731" y="2303055"/>
                </a:lnTo>
                <a:lnTo>
                  <a:pt x="9053325" y="2314495"/>
                </a:lnTo>
                <a:cubicBezTo>
                  <a:pt x="9053325" y="2320176"/>
                  <a:pt x="9053266" y="2325843"/>
                  <a:pt x="9051954" y="2331471"/>
                </a:cubicBezTo>
                <a:cubicBezTo>
                  <a:pt x="9051997" y="2362806"/>
                  <a:pt x="9049546" y="2393697"/>
                  <a:pt x="9044487" y="2423947"/>
                </a:cubicBezTo>
                <a:lnTo>
                  <a:pt x="9043949" y="2430623"/>
                </a:lnTo>
                <a:cubicBezTo>
                  <a:pt x="9043779" y="2430628"/>
                  <a:pt x="9043611" y="2430633"/>
                  <a:pt x="9043443" y="2430686"/>
                </a:cubicBezTo>
                <a:cubicBezTo>
                  <a:pt x="8993168" y="2783551"/>
                  <a:pt x="8712129" y="3064328"/>
                  <a:pt x="8353278" y="3123727"/>
                </a:cubicBezTo>
                <a:lnTo>
                  <a:pt x="8353162" y="3124875"/>
                </a:lnTo>
                <a:cubicBezTo>
                  <a:pt x="8347851" y="3125886"/>
                  <a:pt x="8342522" y="3126834"/>
                  <a:pt x="8336945" y="3126415"/>
                </a:cubicBezTo>
                <a:cubicBezTo>
                  <a:pt x="8305773" y="3131969"/>
                  <a:pt x="8273893" y="3134950"/>
                  <a:pt x="8241519" y="3135477"/>
                </a:cubicBezTo>
                <a:lnTo>
                  <a:pt x="8224400" y="3137103"/>
                </a:lnTo>
                <a:lnTo>
                  <a:pt x="8224374" y="3136608"/>
                </a:lnTo>
                <a:lnTo>
                  <a:pt x="8223875" y="3136641"/>
                </a:lnTo>
                <a:cubicBezTo>
                  <a:pt x="8223309" y="3132839"/>
                  <a:pt x="8223282" y="3129023"/>
                  <a:pt x="8223282" y="3125201"/>
                </a:cubicBezTo>
                <a:cubicBezTo>
                  <a:pt x="8223282" y="3119519"/>
                  <a:pt x="8223341" y="3113850"/>
                  <a:pt x="8224653" y="3108220"/>
                </a:cubicBezTo>
                <a:cubicBezTo>
                  <a:pt x="8224611" y="3076892"/>
                  <a:pt x="8227060" y="3046007"/>
                  <a:pt x="8232117" y="3015763"/>
                </a:cubicBezTo>
                <a:lnTo>
                  <a:pt x="8232657" y="3009073"/>
                </a:lnTo>
                <a:cubicBezTo>
                  <a:pt x="8232826" y="3009068"/>
                  <a:pt x="8232995" y="3009063"/>
                  <a:pt x="8233163" y="3009010"/>
                </a:cubicBezTo>
                <a:cubicBezTo>
                  <a:pt x="8283439" y="2656144"/>
                  <a:pt x="8564478" y="2375367"/>
                  <a:pt x="8923328" y="2315969"/>
                </a:cubicBezTo>
                <a:lnTo>
                  <a:pt x="8923445" y="2314821"/>
                </a:lnTo>
                <a:cubicBezTo>
                  <a:pt x="8928754" y="2313811"/>
                  <a:pt x="8934082" y="2312863"/>
                  <a:pt x="8939658" y="2313282"/>
                </a:cubicBezTo>
                <a:cubicBezTo>
                  <a:pt x="8970841" y="2307725"/>
                  <a:pt x="9002734" y="2304744"/>
                  <a:pt x="9035120" y="2304217"/>
                </a:cubicBezTo>
                <a:close/>
                <a:moveTo>
                  <a:pt x="7382807" y="2302594"/>
                </a:moveTo>
                <a:lnTo>
                  <a:pt x="7399895" y="2304217"/>
                </a:lnTo>
                <a:cubicBezTo>
                  <a:pt x="7432280" y="2304744"/>
                  <a:pt x="7464173" y="2307725"/>
                  <a:pt x="7495356" y="2313282"/>
                </a:cubicBezTo>
                <a:cubicBezTo>
                  <a:pt x="7500932" y="2312863"/>
                  <a:pt x="7506260" y="2313811"/>
                  <a:pt x="7511569" y="2314821"/>
                </a:cubicBezTo>
                <a:lnTo>
                  <a:pt x="7511686" y="2315969"/>
                </a:lnTo>
                <a:cubicBezTo>
                  <a:pt x="7870536" y="2375367"/>
                  <a:pt x="8151575" y="2656144"/>
                  <a:pt x="8201852" y="3009010"/>
                </a:cubicBezTo>
                <a:cubicBezTo>
                  <a:pt x="8202019" y="3009063"/>
                  <a:pt x="8202189" y="3009068"/>
                  <a:pt x="8202357" y="3009073"/>
                </a:cubicBezTo>
                <a:lnTo>
                  <a:pt x="8202898" y="3015763"/>
                </a:lnTo>
                <a:cubicBezTo>
                  <a:pt x="8207954" y="3046007"/>
                  <a:pt x="8210404" y="3076892"/>
                  <a:pt x="8210362" y="3108220"/>
                </a:cubicBezTo>
                <a:cubicBezTo>
                  <a:pt x="8211674" y="3113850"/>
                  <a:pt x="8211732" y="3119519"/>
                  <a:pt x="8211732" y="3125201"/>
                </a:cubicBezTo>
                <a:cubicBezTo>
                  <a:pt x="8211732" y="3129023"/>
                  <a:pt x="8211705" y="3132839"/>
                  <a:pt x="8211139" y="3136641"/>
                </a:cubicBezTo>
                <a:lnTo>
                  <a:pt x="8210640" y="3136608"/>
                </a:lnTo>
                <a:lnTo>
                  <a:pt x="8210614" y="3137103"/>
                </a:lnTo>
                <a:lnTo>
                  <a:pt x="8193496" y="3135477"/>
                </a:lnTo>
                <a:cubicBezTo>
                  <a:pt x="8161122" y="3134950"/>
                  <a:pt x="8129241" y="3131969"/>
                  <a:pt x="8098069" y="3126415"/>
                </a:cubicBezTo>
                <a:cubicBezTo>
                  <a:pt x="8092492" y="3126834"/>
                  <a:pt x="8087163" y="3125886"/>
                  <a:pt x="8081853" y="3124875"/>
                </a:cubicBezTo>
                <a:lnTo>
                  <a:pt x="8081737" y="3123727"/>
                </a:lnTo>
                <a:cubicBezTo>
                  <a:pt x="7722885" y="3064328"/>
                  <a:pt x="7441846" y="2783551"/>
                  <a:pt x="7391571" y="2430686"/>
                </a:cubicBezTo>
                <a:cubicBezTo>
                  <a:pt x="7391403" y="2430633"/>
                  <a:pt x="7391235" y="2430628"/>
                  <a:pt x="7391065" y="2430623"/>
                </a:cubicBezTo>
                <a:lnTo>
                  <a:pt x="7390527" y="2423947"/>
                </a:lnTo>
                <a:cubicBezTo>
                  <a:pt x="7385468" y="2393697"/>
                  <a:pt x="7383018" y="2362806"/>
                  <a:pt x="7383060" y="2331471"/>
                </a:cubicBezTo>
                <a:cubicBezTo>
                  <a:pt x="7381748" y="2325843"/>
                  <a:pt x="7381689" y="2320176"/>
                  <a:pt x="7381689" y="2314495"/>
                </a:cubicBezTo>
                <a:lnTo>
                  <a:pt x="7382283" y="2303055"/>
                </a:lnTo>
                <a:lnTo>
                  <a:pt x="7382781" y="2303088"/>
                </a:lnTo>
                <a:close/>
                <a:moveTo>
                  <a:pt x="7360056" y="2302594"/>
                </a:moveTo>
                <a:lnTo>
                  <a:pt x="7360082" y="2303088"/>
                </a:lnTo>
                <a:lnTo>
                  <a:pt x="7360580" y="2303055"/>
                </a:lnTo>
                <a:lnTo>
                  <a:pt x="7361174" y="2314495"/>
                </a:lnTo>
                <a:cubicBezTo>
                  <a:pt x="7361174" y="2320176"/>
                  <a:pt x="7361116" y="2325843"/>
                  <a:pt x="7359804" y="2331471"/>
                </a:cubicBezTo>
                <a:cubicBezTo>
                  <a:pt x="7359846" y="2362806"/>
                  <a:pt x="7357395" y="2393697"/>
                  <a:pt x="7352337" y="2423947"/>
                </a:cubicBezTo>
                <a:lnTo>
                  <a:pt x="7351798" y="2430623"/>
                </a:lnTo>
                <a:cubicBezTo>
                  <a:pt x="7351629" y="2430628"/>
                  <a:pt x="7351460" y="2430633"/>
                  <a:pt x="7351293" y="2430686"/>
                </a:cubicBezTo>
                <a:cubicBezTo>
                  <a:pt x="7301017" y="2783551"/>
                  <a:pt x="7019978" y="3064328"/>
                  <a:pt x="6661127" y="3123727"/>
                </a:cubicBezTo>
                <a:lnTo>
                  <a:pt x="6661011" y="3124875"/>
                </a:lnTo>
                <a:cubicBezTo>
                  <a:pt x="6655700" y="3125886"/>
                  <a:pt x="6650371" y="3126834"/>
                  <a:pt x="6644794" y="3126415"/>
                </a:cubicBezTo>
                <a:cubicBezTo>
                  <a:pt x="6613622" y="3131969"/>
                  <a:pt x="6581742" y="3134950"/>
                  <a:pt x="6549368" y="3135477"/>
                </a:cubicBezTo>
                <a:lnTo>
                  <a:pt x="6532249" y="3137103"/>
                </a:lnTo>
                <a:lnTo>
                  <a:pt x="6532223" y="3136608"/>
                </a:lnTo>
                <a:lnTo>
                  <a:pt x="6531724" y="3136641"/>
                </a:lnTo>
                <a:cubicBezTo>
                  <a:pt x="6531158" y="3132839"/>
                  <a:pt x="6531131" y="3129023"/>
                  <a:pt x="6531131" y="3125201"/>
                </a:cubicBezTo>
                <a:cubicBezTo>
                  <a:pt x="6531131" y="3119519"/>
                  <a:pt x="6531190" y="3113850"/>
                  <a:pt x="6532502" y="3108220"/>
                </a:cubicBezTo>
                <a:cubicBezTo>
                  <a:pt x="6532460" y="3076892"/>
                  <a:pt x="6534909" y="3046007"/>
                  <a:pt x="6539966" y="3015763"/>
                </a:cubicBezTo>
                <a:lnTo>
                  <a:pt x="6540506" y="3009073"/>
                </a:lnTo>
                <a:cubicBezTo>
                  <a:pt x="6540675" y="3009068"/>
                  <a:pt x="6540844" y="3009063"/>
                  <a:pt x="6541012" y="3009010"/>
                </a:cubicBezTo>
                <a:cubicBezTo>
                  <a:pt x="6591288" y="2656144"/>
                  <a:pt x="6872327" y="2375367"/>
                  <a:pt x="7231178" y="2315969"/>
                </a:cubicBezTo>
                <a:lnTo>
                  <a:pt x="7231295" y="2314821"/>
                </a:lnTo>
                <a:cubicBezTo>
                  <a:pt x="7236603" y="2313811"/>
                  <a:pt x="7241931" y="2312863"/>
                  <a:pt x="7247507" y="2313282"/>
                </a:cubicBezTo>
                <a:cubicBezTo>
                  <a:pt x="7278691" y="2307725"/>
                  <a:pt x="7310583" y="2304744"/>
                  <a:pt x="7342969" y="2304217"/>
                </a:cubicBezTo>
                <a:close/>
                <a:moveTo>
                  <a:pt x="5690656" y="2302594"/>
                </a:moveTo>
                <a:lnTo>
                  <a:pt x="5707743" y="2304217"/>
                </a:lnTo>
                <a:cubicBezTo>
                  <a:pt x="5740129" y="2304744"/>
                  <a:pt x="5772021" y="2307725"/>
                  <a:pt x="5803205" y="2313282"/>
                </a:cubicBezTo>
                <a:cubicBezTo>
                  <a:pt x="5808781" y="2312863"/>
                  <a:pt x="5814109" y="2313811"/>
                  <a:pt x="5819417" y="2314821"/>
                </a:cubicBezTo>
                <a:lnTo>
                  <a:pt x="5819534" y="2315969"/>
                </a:lnTo>
                <a:cubicBezTo>
                  <a:pt x="6178385" y="2375367"/>
                  <a:pt x="6459424" y="2656144"/>
                  <a:pt x="6509700" y="3009010"/>
                </a:cubicBezTo>
                <a:cubicBezTo>
                  <a:pt x="6509868" y="3009063"/>
                  <a:pt x="6510037" y="3009068"/>
                  <a:pt x="6510206" y="3009073"/>
                </a:cubicBezTo>
                <a:lnTo>
                  <a:pt x="6510746" y="3015763"/>
                </a:lnTo>
                <a:cubicBezTo>
                  <a:pt x="6515803" y="3046007"/>
                  <a:pt x="6518252" y="3076892"/>
                  <a:pt x="6518210" y="3108220"/>
                </a:cubicBezTo>
                <a:cubicBezTo>
                  <a:pt x="6519522" y="3113850"/>
                  <a:pt x="6519581" y="3119519"/>
                  <a:pt x="6519581" y="3125201"/>
                </a:cubicBezTo>
                <a:cubicBezTo>
                  <a:pt x="6519581" y="3129023"/>
                  <a:pt x="6519554" y="3132839"/>
                  <a:pt x="6518988" y="3136641"/>
                </a:cubicBezTo>
                <a:lnTo>
                  <a:pt x="6518489" y="3136608"/>
                </a:lnTo>
                <a:lnTo>
                  <a:pt x="6518463" y="3137103"/>
                </a:lnTo>
                <a:lnTo>
                  <a:pt x="6501344" y="3135477"/>
                </a:lnTo>
                <a:cubicBezTo>
                  <a:pt x="6468970" y="3134950"/>
                  <a:pt x="6437090" y="3131969"/>
                  <a:pt x="6405918" y="3126415"/>
                </a:cubicBezTo>
                <a:cubicBezTo>
                  <a:pt x="6400341" y="3126834"/>
                  <a:pt x="6395012" y="3125886"/>
                  <a:pt x="6389701" y="3124875"/>
                </a:cubicBezTo>
                <a:lnTo>
                  <a:pt x="6389585" y="3123727"/>
                </a:lnTo>
                <a:cubicBezTo>
                  <a:pt x="6030734" y="3064328"/>
                  <a:pt x="5749695" y="2783551"/>
                  <a:pt x="5699419" y="2430686"/>
                </a:cubicBezTo>
                <a:cubicBezTo>
                  <a:pt x="5699252" y="2430633"/>
                  <a:pt x="5699083" y="2430628"/>
                  <a:pt x="5698914" y="2430623"/>
                </a:cubicBezTo>
                <a:lnTo>
                  <a:pt x="5698375" y="2423947"/>
                </a:lnTo>
                <a:cubicBezTo>
                  <a:pt x="5693317" y="2393697"/>
                  <a:pt x="5690866" y="2362806"/>
                  <a:pt x="5690908" y="2331471"/>
                </a:cubicBezTo>
                <a:cubicBezTo>
                  <a:pt x="5689596" y="2325843"/>
                  <a:pt x="5689538" y="2320176"/>
                  <a:pt x="5689538" y="2314495"/>
                </a:cubicBezTo>
                <a:lnTo>
                  <a:pt x="5690132" y="2303055"/>
                </a:lnTo>
                <a:lnTo>
                  <a:pt x="5690630" y="2303088"/>
                </a:lnTo>
                <a:close/>
                <a:moveTo>
                  <a:pt x="5667905" y="2302594"/>
                </a:moveTo>
                <a:lnTo>
                  <a:pt x="5667931" y="2303088"/>
                </a:lnTo>
                <a:lnTo>
                  <a:pt x="5668429" y="2303055"/>
                </a:lnTo>
                <a:lnTo>
                  <a:pt x="5669023" y="2314495"/>
                </a:lnTo>
                <a:cubicBezTo>
                  <a:pt x="5669023" y="2320176"/>
                  <a:pt x="5668964" y="2325843"/>
                  <a:pt x="5667652" y="2331471"/>
                </a:cubicBezTo>
                <a:cubicBezTo>
                  <a:pt x="5667694" y="2362806"/>
                  <a:pt x="5665244" y="2393697"/>
                  <a:pt x="5660185" y="2423947"/>
                </a:cubicBezTo>
                <a:lnTo>
                  <a:pt x="5659647" y="2430623"/>
                </a:lnTo>
                <a:cubicBezTo>
                  <a:pt x="5659477" y="2430628"/>
                  <a:pt x="5659309" y="2430633"/>
                  <a:pt x="5659141" y="2430686"/>
                </a:cubicBezTo>
                <a:cubicBezTo>
                  <a:pt x="5608866" y="2783551"/>
                  <a:pt x="5327827" y="3064328"/>
                  <a:pt x="4968975" y="3123727"/>
                </a:cubicBezTo>
                <a:lnTo>
                  <a:pt x="4968859" y="3124875"/>
                </a:lnTo>
                <a:cubicBezTo>
                  <a:pt x="4963549" y="3125886"/>
                  <a:pt x="4958220" y="3126834"/>
                  <a:pt x="4952643" y="3126415"/>
                </a:cubicBezTo>
                <a:cubicBezTo>
                  <a:pt x="4921471" y="3131969"/>
                  <a:pt x="4889590" y="3134950"/>
                  <a:pt x="4857216" y="3135477"/>
                </a:cubicBezTo>
                <a:lnTo>
                  <a:pt x="4840098" y="3137103"/>
                </a:lnTo>
                <a:lnTo>
                  <a:pt x="4840072" y="3136608"/>
                </a:lnTo>
                <a:lnTo>
                  <a:pt x="4839573" y="3136641"/>
                </a:lnTo>
                <a:cubicBezTo>
                  <a:pt x="4839007" y="3132839"/>
                  <a:pt x="4838980" y="3129023"/>
                  <a:pt x="4838980" y="3125201"/>
                </a:cubicBezTo>
                <a:cubicBezTo>
                  <a:pt x="4838980" y="3119519"/>
                  <a:pt x="4839038" y="3113850"/>
                  <a:pt x="4840350" y="3108220"/>
                </a:cubicBezTo>
                <a:cubicBezTo>
                  <a:pt x="4840308" y="3076892"/>
                  <a:pt x="4842758" y="3046007"/>
                  <a:pt x="4847814" y="3015763"/>
                </a:cubicBezTo>
                <a:lnTo>
                  <a:pt x="4848355" y="3009073"/>
                </a:lnTo>
                <a:cubicBezTo>
                  <a:pt x="4848523" y="3009068"/>
                  <a:pt x="4848693" y="3009063"/>
                  <a:pt x="4848860" y="3009010"/>
                </a:cubicBezTo>
                <a:cubicBezTo>
                  <a:pt x="4899137" y="2656144"/>
                  <a:pt x="5180176" y="2375367"/>
                  <a:pt x="5539026" y="2315969"/>
                </a:cubicBezTo>
                <a:lnTo>
                  <a:pt x="5539143" y="2314821"/>
                </a:lnTo>
                <a:cubicBezTo>
                  <a:pt x="5544452" y="2313811"/>
                  <a:pt x="5549780" y="2312863"/>
                  <a:pt x="5555356" y="2313282"/>
                </a:cubicBezTo>
                <a:cubicBezTo>
                  <a:pt x="5586539" y="2307725"/>
                  <a:pt x="5618432" y="2304744"/>
                  <a:pt x="5650817" y="2304217"/>
                </a:cubicBezTo>
                <a:close/>
                <a:moveTo>
                  <a:pt x="3998505" y="2302594"/>
                </a:moveTo>
                <a:lnTo>
                  <a:pt x="4015592" y="2304217"/>
                </a:lnTo>
                <a:cubicBezTo>
                  <a:pt x="4047978" y="2304744"/>
                  <a:pt x="4079870" y="2307725"/>
                  <a:pt x="4111054" y="2313282"/>
                </a:cubicBezTo>
                <a:cubicBezTo>
                  <a:pt x="4116630" y="2312863"/>
                  <a:pt x="4121958" y="2313811"/>
                  <a:pt x="4127266" y="2314821"/>
                </a:cubicBezTo>
                <a:lnTo>
                  <a:pt x="4127384" y="2315969"/>
                </a:lnTo>
                <a:cubicBezTo>
                  <a:pt x="4486234" y="2375367"/>
                  <a:pt x="4767273" y="2656144"/>
                  <a:pt x="4817549" y="3009010"/>
                </a:cubicBezTo>
                <a:cubicBezTo>
                  <a:pt x="4817717" y="3009063"/>
                  <a:pt x="4817886" y="3009068"/>
                  <a:pt x="4818055" y="3009073"/>
                </a:cubicBezTo>
                <a:lnTo>
                  <a:pt x="4818595" y="3015763"/>
                </a:lnTo>
                <a:cubicBezTo>
                  <a:pt x="4823652" y="3046007"/>
                  <a:pt x="4826101" y="3076892"/>
                  <a:pt x="4826059" y="3108220"/>
                </a:cubicBezTo>
                <a:cubicBezTo>
                  <a:pt x="4827371" y="3113850"/>
                  <a:pt x="4827430" y="3119519"/>
                  <a:pt x="4827430" y="3125201"/>
                </a:cubicBezTo>
                <a:cubicBezTo>
                  <a:pt x="4827430" y="3129023"/>
                  <a:pt x="4827403" y="3132839"/>
                  <a:pt x="4826837" y="3136641"/>
                </a:cubicBezTo>
                <a:lnTo>
                  <a:pt x="4826338" y="3136608"/>
                </a:lnTo>
                <a:lnTo>
                  <a:pt x="4826312" y="3137103"/>
                </a:lnTo>
                <a:lnTo>
                  <a:pt x="4809193" y="3135477"/>
                </a:lnTo>
                <a:cubicBezTo>
                  <a:pt x="4776819" y="3134950"/>
                  <a:pt x="4744939" y="3131969"/>
                  <a:pt x="4713767" y="3126415"/>
                </a:cubicBezTo>
                <a:cubicBezTo>
                  <a:pt x="4708190" y="3126834"/>
                  <a:pt x="4702861" y="3125886"/>
                  <a:pt x="4697550" y="3124875"/>
                </a:cubicBezTo>
                <a:lnTo>
                  <a:pt x="4697434" y="3123727"/>
                </a:lnTo>
                <a:cubicBezTo>
                  <a:pt x="4338583" y="3064328"/>
                  <a:pt x="4057544" y="2783551"/>
                  <a:pt x="4007268" y="2430686"/>
                </a:cubicBezTo>
                <a:cubicBezTo>
                  <a:pt x="4007101" y="2430633"/>
                  <a:pt x="4006932" y="2430628"/>
                  <a:pt x="4006763" y="2430623"/>
                </a:cubicBezTo>
                <a:lnTo>
                  <a:pt x="4006225" y="2423947"/>
                </a:lnTo>
                <a:cubicBezTo>
                  <a:pt x="4001166" y="2393697"/>
                  <a:pt x="3998715" y="2362806"/>
                  <a:pt x="3998757" y="2331471"/>
                </a:cubicBezTo>
                <a:cubicBezTo>
                  <a:pt x="3997445" y="2325843"/>
                  <a:pt x="3997387" y="2320176"/>
                  <a:pt x="3997387" y="2314495"/>
                </a:cubicBezTo>
                <a:lnTo>
                  <a:pt x="3997981" y="2303055"/>
                </a:lnTo>
                <a:lnTo>
                  <a:pt x="3998479" y="2303088"/>
                </a:lnTo>
                <a:close/>
                <a:moveTo>
                  <a:pt x="3975754" y="2302594"/>
                </a:moveTo>
                <a:lnTo>
                  <a:pt x="3975780" y="2303088"/>
                </a:lnTo>
                <a:lnTo>
                  <a:pt x="3976278" y="2303055"/>
                </a:lnTo>
                <a:lnTo>
                  <a:pt x="3976872" y="2314495"/>
                </a:lnTo>
                <a:cubicBezTo>
                  <a:pt x="3976872" y="2320176"/>
                  <a:pt x="3976813" y="2325843"/>
                  <a:pt x="3975501" y="2331471"/>
                </a:cubicBezTo>
                <a:cubicBezTo>
                  <a:pt x="3975543" y="2362806"/>
                  <a:pt x="3973093" y="2393697"/>
                  <a:pt x="3968034" y="2423947"/>
                </a:cubicBezTo>
                <a:lnTo>
                  <a:pt x="3967496" y="2430623"/>
                </a:lnTo>
                <a:cubicBezTo>
                  <a:pt x="3967326" y="2430628"/>
                  <a:pt x="3967158" y="2430633"/>
                  <a:pt x="3966990" y="2430686"/>
                </a:cubicBezTo>
                <a:cubicBezTo>
                  <a:pt x="3916715" y="2783551"/>
                  <a:pt x="3635676" y="3064328"/>
                  <a:pt x="3276825" y="3123727"/>
                </a:cubicBezTo>
                <a:lnTo>
                  <a:pt x="3276708" y="3124875"/>
                </a:lnTo>
                <a:cubicBezTo>
                  <a:pt x="3271398" y="3125886"/>
                  <a:pt x="3266069" y="3126834"/>
                  <a:pt x="3260492" y="3126415"/>
                </a:cubicBezTo>
                <a:cubicBezTo>
                  <a:pt x="3229320" y="3131969"/>
                  <a:pt x="3197440" y="3134950"/>
                  <a:pt x="3165065" y="3135477"/>
                </a:cubicBezTo>
                <a:lnTo>
                  <a:pt x="3147947" y="3137103"/>
                </a:lnTo>
                <a:lnTo>
                  <a:pt x="3147921" y="3136608"/>
                </a:lnTo>
                <a:lnTo>
                  <a:pt x="3147422" y="3136641"/>
                </a:lnTo>
                <a:cubicBezTo>
                  <a:pt x="3146856" y="3132839"/>
                  <a:pt x="3146829" y="3129023"/>
                  <a:pt x="3146829" y="3125201"/>
                </a:cubicBezTo>
                <a:cubicBezTo>
                  <a:pt x="3146829" y="3119519"/>
                  <a:pt x="3146887" y="3113850"/>
                  <a:pt x="3148199" y="3108220"/>
                </a:cubicBezTo>
                <a:cubicBezTo>
                  <a:pt x="3148157" y="3076892"/>
                  <a:pt x="3150607" y="3046007"/>
                  <a:pt x="3155663" y="3015763"/>
                </a:cubicBezTo>
                <a:lnTo>
                  <a:pt x="3156204" y="3009073"/>
                </a:lnTo>
                <a:cubicBezTo>
                  <a:pt x="3156372" y="3009068"/>
                  <a:pt x="3156542" y="3009063"/>
                  <a:pt x="3156709" y="3009010"/>
                </a:cubicBezTo>
                <a:cubicBezTo>
                  <a:pt x="3206986" y="2656144"/>
                  <a:pt x="3488025" y="2375367"/>
                  <a:pt x="3846875" y="2315969"/>
                </a:cubicBezTo>
                <a:lnTo>
                  <a:pt x="3846992" y="2314821"/>
                </a:lnTo>
                <a:cubicBezTo>
                  <a:pt x="3852301" y="2313811"/>
                  <a:pt x="3857629" y="2312863"/>
                  <a:pt x="3863205" y="2313282"/>
                </a:cubicBezTo>
                <a:cubicBezTo>
                  <a:pt x="3894388" y="2307725"/>
                  <a:pt x="3926281" y="2304744"/>
                  <a:pt x="3958666" y="2304217"/>
                </a:cubicBezTo>
                <a:close/>
                <a:moveTo>
                  <a:pt x="2306354" y="2302594"/>
                </a:moveTo>
                <a:lnTo>
                  <a:pt x="2323441" y="2304217"/>
                </a:lnTo>
                <a:cubicBezTo>
                  <a:pt x="2355827" y="2304744"/>
                  <a:pt x="2387719" y="2307725"/>
                  <a:pt x="2418903" y="2313282"/>
                </a:cubicBezTo>
                <a:cubicBezTo>
                  <a:pt x="2424479" y="2312863"/>
                  <a:pt x="2429807" y="2313811"/>
                  <a:pt x="2435115" y="2314821"/>
                </a:cubicBezTo>
                <a:lnTo>
                  <a:pt x="2435233" y="2315969"/>
                </a:lnTo>
                <a:cubicBezTo>
                  <a:pt x="2794083" y="2375367"/>
                  <a:pt x="3075122" y="2656144"/>
                  <a:pt x="3125398" y="3009010"/>
                </a:cubicBezTo>
                <a:cubicBezTo>
                  <a:pt x="3125566" y="3009063"/>
                  <a:pt x="3125735" y="3009068"/>
                  <a:pt x="3125904" y="3009073"/>
                </a:cubicBezTo>
                <a:lnTo>
                  <a:pt x="3126444" y="3015763"/>
                </a:lnTo>
                <a:cubicBezTo>
                  <a:pt x="3131501" y="3046007"/>
                  <a:pt x="3133950" y="3076892"/>
                  <a:pt x="3133908" y="3108220"/>
                </a:cubicBezTo>
                <a:cubicBezTo>
                  <a:pt x="3135220" y="3113850"/>
                  <a:pt x="3135279" y="3119519"/>
                  <a:pt x="3135279" y="3125201"/>
                </a:cubicBezTo>
                <a:cubicBezTo>
                  <a:pt x="3135279" y="3129023"/>
                  <a:pt x="3135252" y="3132839"/>
                  <a:pt x="3134686" y="3136641"/>
                </a:cubicBezTo>
                <a:lnTo>
                  <a:pt x="3134187" y="3136608"/>
                </a:lnTo>
                <a:lnTo>
                  <a:pt x="3134161" y="3137103"/>
                </a:lnTo>
                <a:lnTo>
                  <a:pt x="3117042" y="3135477"/>
                </a:lnTo>
                <a:cubicBezTo>
                  <a:pt x="3084668" y="3134950"/>
                  <a:pt x="3052788" y="3131969"/>
                  <a:pt x="3021616" y="3126415"/>
                </a:cubicBezTo>
                <a:cubicBezTo>
                  <a:pt x="3016039" y="3126834"/>
                  <a:pt x="3010710" y="3125886"/>
                  <a:pt x="3005399" y="3124875"/>
                </a:cubicBezTo>
                <a:lnTo>
                  <a:pt x="3005283" y="3123727"/>
                </a:lnTo>
                <a:cubicBezTo>
                  <a:pt x="2646432" y="3064328"/>
                  <a:pt x="2365393" y="2783551"/>
                  <a:pt x="2315117" y="2430686"/>
                </a:cubicBezTo>
                <a:cubicBezTo>
                  <a:pt x="2314950" y="2430633"/>
                  <a:pt x="2314781" y="2430628"/>
                  <a:pt x="2314612" y="2430623"/>
                </a:cubicBezTo>
                <a:lnTo>
                  <a:pt x="2314074" y="2423947"/>
                </a:lnTo>
                <a:cubicBezTo>
                  <a:pt x="2309015" y="2393697"/>
                  <a:pt x="2306564" y="2362806"/>
                  <a:pt x="2306606" y="2331471"/>
                </a:cubicBezTo>
                <a:cubicBezTo>
                  <a:pt x="2305294" y="2325843"/>
                  <a:pt x="2305236" y="2320176"/>
                  <a:pt x="2305236" y="2314495"/>
                </a:cubicBezTo>
                <a:lnTo>
                  <a:pt x="2305830" y="2303055"/>
                </a:lnTo>
                <a:lnTo>
                  <a:pt x="2306328" y="2303088"/>
                </a:lnTo>
                <a:close/>
                <a:moveTo>
                  <a:pt x="2283603" y="2302594"/>
                </a:moveTo>
                <a:lnTo>
                  <a:pt x="2283629" y="2303088"/>
                </a:lnTo>
                <a:lnTo>
                  <a:pt x="2284127" y="2303055"/>
                </a:lnTo>
                <a:lnTo>
                  <a:pt x="2284721" y="2314495"/>
                </a:lnTo>
                <a:cubicBezTo>
                  <a:pt x="2284721" y="2320176"/>
                  <a:pt x="2284662" y="2325843"/>
                  <a:pt x="2283350" y="2331471"/>
                </a:cubicBezTo>
                <a:cubicBezTo>
                  <a:pt x="2283392" y="2362806"/>
                  <a:pt x="2280942" y="2393697"/>
                  <a:pt x="2275883" y="2423947"/>
                </a:cubicBezTo>
                <a:lnTo>
                  <a:pt x="2275345" y="2430623"/>
                </a:lnTo>
                <a:cubicBezTo>
                  <a:pt x="2275175" y="2430628"/>
                  <a:pt x="2275007" y="2430633"/>
                  <a:pt x="2274839" y="2430686"/>
                </a:cubicBezTo>
                <a:cubicBezTo>
                  <a:pt x="2224564" y="2783551"/>
                  <a:pt x="1943525" y="3064328"/>
                  <a:pt x="1584673" y="3123727"/>
                </a:cubicBezTo>
                <a:lnTo>
                  <a:pt x="1584557" y="3124875"/>
                </a:lnTo>
                <a:cubicBezTo>
                  <a:pt x="1579247" y="3125886"/>
                  <a:pt x="1573918" y="3126834"/>
                  <a:pt x="1568341" y="3126415"/>
                </a:cubicBezTo>
                <a:cubicBezTo>
                  <a:pt x="1537169" y="3131969"/>
                  <a:pt x="1505289" y="3134950"/>
                  <a:pt x="1472914" y="3135477"/>
                </a:cubicBezTo>
                <a:lnTo>
                  <a:pt x="1455796" y="3137103"/>
                </a:lnTo>
                <a:lnTo>
                  <a:pt x="1455770" y="3136608"/>
                </a:lnTo>
                <a:lnTo>
                  <a:pt x="1455271" y="3136641"/>
                </a:lnTo>
                <a:cubicBezTo>
                  <a:pt x="1454705" y="3132839"/>
                  <a:pt x="1454678" y="3129023"/>
                  <a:pt x="1454678" y="3125201"/>
                </a:cubicBezTo>
                <a:cubicBezTo>
                  <a:pt x="1454678" y="3119519"/>
                  <a:pt x="1454736" y="3113850"/>
                  <a:pt x="1456048" y="3108220"/>
                </a:cubicBezTo>
                <a:cubicBezTo>
                  <a:pt x="1456006" y="3076892"/>
                  <a:pt x="1458456" y="3046007"/>
                  <a:pt x="1463513" y="3015763"/>
                </a:cubicBezTo>
                <a:lnTo>
                  <a:pt x="1464053" y="3009073"/>
                </a:lnTo>
                <a:cubicBezTo>
                  <a:pt x="1464221" y="3009068"/>
                  <a:pt x="1464391" y="3009063"/>
                  <a:pt x="1464558" y="3009010"/>
                </a:cubicBezTo>
                <a:cubicBezTo>
                  <a:pt x="1514835" y="2656144"/>
                  <a:pt x="1795874" y="2375367"/>
                  <a:pt x="2154724" y="2315969"/>
                </a:cubicBezTo>
                <a:lnTo>
                  <a:pt x="2154841" y="2314821"/>
                </a:lnTo>
                <a:cubicBezTo>
                  <a:pt x="2160150" y="2313811"/>
                  <a:pt x="2165478" y="2312863"/>
                  <a:pt x="2171054" y="2313282"/>
                </a:cubicBezTo>
                <a:cubicBezTo>
                  <a:pt x="2202237" y="2307725"/>
                  <a:pt x="2234130" y="2304744"/>
                  <a:pt x="2266515" y="2304217"/>
                </a:cubicBezTo>
                <a:close/>
                <a:moveTo>
                  <a:pt x="614203" y="2302594"/>
                </a:moveTo>
                <a:lnTo>
                  <a:pt x="631290" y="2304217"/>
                </a:lnTo>
                <a:cubicBezTo>
                  <a:pt x="663676" y="2304744"/>
                  <a:pt x="695568" y="2307725"/>
                  <a:pt x="726752" y="2313282"/>
                </a:cubicBezTo>
                <a:cubicBezTo>
                  <a:pt x="732328" y="2312863"/>
                  <a:pt x="737656" y="2313811"/>
                  <a:pt x="742964" y="2314821"/>
                </a:cubicBezTo>
                <a:lnTo>
                  <a:pt x="743081" y="2315969"/>
                </a:lnTo>
                <a:cubicBezTo>
                  <a:pt x="1101932" y="2375367"/>
                  <a:pt x="1382971" y="2656144"/>
                  <a:pt x="1433247" y="3009010"/>
                </a:cubicBezTo>
                <a:cubicBezTo>
                  <a:pt x="1433415" y="3009063"/>
                  <a:pt x="1433584" y="3009068"/>
                  <a:pt x="1433753" y="3009073"/>
                </a:cubicBezTo>
                <a:lnTo>
                  <a:pt x="1434293" y="3015763"/>
                </a:lnTo>
                <a:cubicBezTo>
                  <a:pt x="1439350" y="3046007"/>
                  <a:pt x="1441799" y="3076892"/>
                  <a:pt x="1441757" y="3108220"/>
                </a:cubicBezTo>
                <a:cubicBezTo>
                  <a:pt x="1443069" y="3113850"/>
                  <a:pt x="1443128" y="3119519"/>
                  <a:pt x="1443128" y="3125201"/>
                </a:cubicBezTo>
                <a:cubicBezTo>
                  <a:pt x="1443128" y="3129023"/>
                  <a:pt x="1443101" y="3132839"/>
                  <a:pt x="1442535" y="3136641"/>
                </a:cubicBezTo>
                <a:lnTo>
                  <a:pt x="1442036" y="3136608"/>
                </a:lnTo>
                <a:lnTo>
                  <a:pt x="1442010" y="3137103"/>
                </a:lnTo>
                <a:lnTo>
                  <a:pt x="1424891" y="3135477"/>
                </a:lnTo>
                <a:cubicBezTo>
                  <a:pt x="1392517" y="3134950"/>
                  <a:pt x="1360637" y="3131969"/>
                  <a:pt x="1329465" y="3126415"/>
                </a:cubicBezTo>
                <a:cubicBezTo>
                  <a:pt x="1323888" y="3126834"/>
                  <a:pt x="1318559" y="3125886"/>
                  <a:pt x="1313248" y="3124875"/>
                </a:cubicBezTo>
                <a:lnTo>
                  <a:pt x="1313132" y="3123727"/>
                </a:lnTo>
                <a:cubicBezTo>
                  <a:pt x="954281" y="3064328"/>
                  <a:pt x="673242" y="2783551"/>
                  <a:pt x="622966" y="2430686"/>
                </a:cubicBezTo>
                <a:cubicBezTo>
                  <a:pt x="622799" y="2430633"/>
                  <a:pt x="622630" y="2430628"/>
                  <a:pt x="622461" y="2430623"/>
                </a:cubicBezTo>
                <a:lnTo>
                  <a:pt x="621923" y="2423947"/>
                </a:lnTo>
                <a:cubicBezTo>
                  <a:pt x="616864" y="2393697"/>
                  <a:pt x="614413" y="2362806"/>
                  <a:pt x="614455" y="2331471"/>
                </a:cubicBezTo>
                <a:cubicBezTo>
                  <a:pt x="613143" y="2325843"/>
                  <a:pt x="613085" y="2320176"/>
                  <a:pt x="613085" y="2314495"/>
                </a:cubicBezTo>
                <a:lnTo>
                  <a:pt x="613679" y="2303055"/>
                </a:lnTo>
                <a:lnTo>
                  <a:pt x="614177" y="2303088"/>
                </a:lnTo>
                <a:close/>
                <a:moveTo>
                  <a:pt x="591452" y="2302594"/>
                </a:moveTo>
                <a:lnTo>
                  <a:pt x="591478" y="2303088"/>
                </a:lnTo>
                <a:lnTo>
                  <a:pt x="591976" y="2303055"/>
                </a:lnTo>
                <a:lnTo>
                  <a:pt x="592570" y="2314495"/>
                </a:lnTo>
                <a:cubicBezTo>
                  <a:pt x="592570" y="2320176"/>
                  <a:pt x="592511" y="2325843"/>
                  <a:pt x="591199" y="2331471"/>
                </a:cubicBezTo>
                <a:cubicBezTo>
                  <a:pt x="591242" y="2362806"/>
                  <a:pt x="588791" y="2393697"/>
                  <a:pt x="583732" y="2423947"/>
                </a:cubicBezTo>
                <a:lnTo>
                  <a:pt x="583194" y="2430623"/>
                </a:lnTo>
                <a:cubicBezTo>
                  <a:pt x="583024" y="2430628"/>
                  <a:pt x="582856" y="2430633"/>
                  <a:pt x="582689" y="2430686"/>
                </a:cubicBezTo>
                <a:cubicBezTo>
                  <a:pt x="537576" y="2747315"/>
                  <a:pt x="306662" y="3005901"/>
                  <a:pt x="0" y="3097101"/>
                </a:cubicBezTo>
                <a:lnTo>
                  <a:pt x="0" y="2964763"/>
                </a:lnTo>
                <a:cubicBezTo>
                  <a:pt x="229298" y="2881926"/>
                  <a:pt x="402181" y="2686530"/>
                  <a:pt x="449203" y="2447425"/>
                </a:cubicBezTo>
                <a:cubicBezTo>
                  <a:pt x="258971" y="2488309"/>
                  <a:pt x="97576" y="2603574"/>
                  <a:pt x="0" y="2761314"/>
                </a:cubicBezTo>
                <a:lnTo>
                  <a:pt x="0" y="2554520"/>
                </a:lnTo>
                <a:cubicBezTo>
                  <a:pt x="121484" y="2431613"/>
                  <a:pt x="282199" y="2345825"/>
                  <a:pt x="462573" y="2315969"/>
                </a:cubicBezTo>
                <a:lnTo>
                  <a:pt x="462690" y="2314821"/>
                </a:lnTo>
                <a:cubicBezTo>
                  <a:pt x="467999" y="2313811"/>
                  <a:pt x="473327" y="2312863"/>
                  <a:pt x="478903" y="2313282"/>
                </a:cubicBezTo>
                <a:cubicBezTo>
                  <a:pt x="510086" y="2307725"/>
                  <a:pt x="541979" y="2304744"/>
                  <a:pt x="574365" y="2304217"/>
                </a:cubicBezTo>
                <a:close/>
                <a:moveTo>
                  <a:pt x="11452667" y="1608087"/>
                </a:moveTo>
                <a:cubicBezTo>
                  <a:pt x="11177477" y="1666766"/>
                  <a:pt x="10962633" y="1879876"/>
                  <a:pt x="10909358" y="2148655"/>
                </a:cubicBezTo>
                <a:cubicBezTo>
                  <a:pt x="11184548" y="2089976"/>
                  <a:pt x="11399391" y="1876866"/>
                  <a:pt x="11452667" y="1608087"/>
                </a:cubicBezTo>
                <a:close/>
                <a:moveTo>
                  <a:pt x="10058800" y="1608087"/>
                </a:moveTo>
                <a:cubicBezTo>
                  <a:pt x="10112076" y="1876866"/>
                  <a:pt x="10326919" y="2089976"/>
                  <a:pt x="10602109" y="2148655"/>
                </a:cubicBezTo>
                <a:cubicBezTo>
                  <a:pt x="10548834" y="1879876"/>
                  <a:pt x="10333990" y="1666766"/>
                  <a:pt x="10058800" y="1608087"/>
                </a:cubicBezTo>
                <a:close/>
                <a:moveTo>
                  <a:pt x="9760514" y="1608087"/>
                </a:moveTo>
                <a:cubicBezTo>
                  <a:pt x="9485324" y="1666766"/>
                  <a:pt x="9270480" y="1879876"/>
                  <a:pt x="9217205" y="2148655"/>
                </a:cubicBezTo>
                <a:cubicBezTo>
                  <a:pt x="9492395" y="2089976"/>
                  <a:pt x="9707238" y="1876866"/>
                  <a:pt x="9760514" y="1608087"/>
                </a:cubicBezTo>
                <a:close/>
                <a:moveTo>
                  <a:pt x="8366649" y="1608087"/>
                </a:moveTo>
                <a:cubicBezTo>
                  <a:pt x="8419925" y="1876866"/>
                  <a:pt x="8634768" y="2089976"/>
                  <a:pt x="8909958" y="2148655"/>
                </a:cubicBezTo>
                <a:cubicBezTo>
                  <a:pt x="8856683" y="1879876"/>
                  <a:pt x="8641839" y="1666766"/>
                  <a:pt x="8366649" y="1608087"/>
                </a:cubicBezTo>
                <a:close/>
                <a:moveTo>
                  <a:pt x="8068363" y="1608087"/>
                </a:moveTo>
                <a:cubicBezTo>
                  <a:pt x="7793173" y="1666766"/>
                  <a:pt x="7578329" y="1879876"/>
                  <a:pt x="7525054" y="2148655"/>
                </a:cubicBezTo>
                <a:cubicBezTo>
                  <a:pt x="7800244" y="2089976"/>
                  <a:pt x="8015087" y="1876866"/>
                  <a:pt x="8068363" y="1608087"/>
                </a:cubicBezTo>
                <a:close/>
                <a:moveTo>
                  <a:pt x="6674498" y="1608087"/>
                </a:moveTo>
                <a:cubicBezTo>
                  <a:pt x="6727774" y="1876866"/>
                  <a:pt x="6942617" y="2089976"/>
                  <a:pt x="7217807" y="2148655"/>
                </a:cubicBezTo>
                <a:cubicBezTo>
                  <a:pt x="7164532" y="1879876"/>
                  <a:pt x="6949688" y="1666766"/>
                  <a:pt x="6674498" y="1608087"/>
                </a:cubicBezTo>
                <a:close/>
                <a:moveTo>
                  <a:pt x="6376212" y="1608087"/>
                </a:moveTo>
                <a:cubicBezTo>
                  <a:pt x="6101022" y="1666766"/>
                  <a:pt x="5886178" y="1879876"/>
                  <a:pt x="5832903" y="2148655"/>
                </a:cubicBezTo>
                <a:cubicBezTo>
                  <a:pt x="6108093" y="2089976"/>
                  <a:pt x="6322936" y="1876866"/>
                  <a:pt x="6376212" y="1608087"/>
                </a:cubicBezTo>
                <a:close/>
                <a:moveTo>
                  <a:pt x="4982347" y="1608087"/>
                </a:moveTo>
                <a:cubicBezTo>
                  <a:pt x="5035623" y="1876866"/>
                  <a:pt x="5250466" y="2089976"/>
                  <a:pt x="5525656" y="2148655"/>
                </a:cubicBezTo>
                <a:cubicBezTo>
                  <a:pt x="5472381" y="1879876"/>
                  <a:pt x="5257537" y="1666766"/>
                  <a:pt x="4982347" y="1608087"/>
                </a:cubicBezTo>
                <a:close/>
                <a:moveTo>
                  <a:pt x="4684061" y="1608087"/>
                </a:moveTo>
                <a:cubicBezTo>
                  <a:pt x="4408871" y="1666766"/>
                  <a:pt x="4194027" y="1879876"/>
                  <a:pt x="4140752" y="2148655"/>
                </a:cubicBezTo>
                <a:cubicBezTo>
                  <a:pt x="4415942" y="2089976"/>
                  <a:pt x="4630785" y="1876866"/>
                  <a:pt x="4684061" y="1608087"/>
                </a:cubicBezTo>
                <a:close/>
                <a:moveTo>
                  <a:pt x="3290196" y="1608087"/>
                </a:moveTo>
                <a:cubicBezTo>
                  <a:pt x="3343472" y="1876866"/>
                  <a:pt x="3558315" y="2089976"/>
                  <a:pt x="3833505" y="2148655"/>
                </a:cubicBezTo>
                <a:cubicBezTo>
                  <a:pt x="3780230" y="1879876"/>
                  <a:pt x="3565386" y="1666766"/>
                  <a:pt x="3290196" y="1608087"/>
                </a:cubicBezTo>
                <a:close/>
                <a:moveTo>
                  <a:pt x="2991910" y="1608087"/>
                </a:moveTo>
                <a:cubicBezTo>
                  <a:pt x="2716720" y="1666766"/>
                  <a:pt x="2501876" y="1879876"/>
                  <a:pt x="2448601" y="2148655"/>
                </a:cubicBezTo>
                <a:cubicBezTo>
                  <a:pt x="2723791" y="2089976"/>
                  <a:pt x="2938634" y="1876866"/>
                  <a:pt x="2991910" y="1608087"/>
                </a:cubicBezTo>
                <a:close/>
                <a:moveTo>
                  <a:pt x="1598045" y="1608087"/>
                </a:moveTo>
                <a:cubicBezTo>
                  <a:pt x="1651321" y="1876866"/>
                  <a:pt x="1866164" y="2089976"/>
                  <a:pt x="2141354" y="2148655"/>
                </a:cubicBezTo>
                <a:cubicBezTo>
                  <a:pt x="2088079" y="1879876"/>
                  <a:pt x="1873235" y="1666766"/>
                  <a:pt x="1598045" y="1608087"/>
                </a:cubicBezTo>
                <a:close/>
                <a:moveTo>
                  <a:pt x="1299759" y="1608087"/>
                </a:moveTo>
                <a:cubicBezTo>
                  <a:pt x="1024569" y="1666766"/>
                  <a:pt x="809725" y="1879876"/>
                  <a:pt x="756450" y="2148655"/>
                </a:cubicBezTo>
                <a:cubicBezTo>
                  <a:pt x="1031640" y="2089976"/>
                  <a:pt x="1246483" y="1876866"/>
                  <a:pt x="1299759" y="1608087"/>
                </a:cubicBezTo>
                <a:close/>
                <a:moveTo>
                  <a:pt x="0" y="1504081"/>
                </a:moveTo>
                <a:cubicBezTo>
                  <a:pt x="306658" y="1594561"/>
                  <a:pt x="537576" y="1851117"/>
                  <a:pt x="582690" y="2165262"/>
                </a:cubicBezTo>
                <a:cubicBezTo>
                  <a:pt x="582857" y="2165315"/>
                  <a:pt x="583026" y="2165320"/>
                  <a:pt x="583195" y="2165325"/>
                </a:cubicBezTo>
                <a:lnTo>
                  <a:pt x="583735" y="2171962"/>
                </a:lnTo>
                <a:cubicBezTo>
                  <a:pt x="588792" y="2201969"/>
                  <a:pt x="591242" y="2232611"/>
                  <a:pt x="591199" y="2263693"/>
                </a:cubicBezTo>
                <a:cubicBezTo>
                  <a:pt x="592511" y="2269279"/>
                  <a:pt x="592570" y="2274903"/>
                  <a:pt x="592570" y="2280541"/>
                </a:cubicBezTo>
                <a:cubicBezTo>
                  <a:pt x="592570" y="2284333"/>
                  <a:pt x="592543" y="2288119"/>
                  <a:pt x="591977" y="2291891"/>
                </a:cubicBezTo>
                <a:lnTo>
                  <a:pt x="591478" y="2291858"/>
                </a:lnTo>
                <a:lnTo>
                  <a:pt x="591452" y="2292349"/>
                </a:lnTo>
                <a:lnTo>
                  <a:pt x="574334" y="2290736"/>
                </a:lnTo>
                <a:cubicBezTo>
                  <a:pt x="541959" y="2290213"/>
                  <a:pt x="510079" y="2287255"/>
                  <a:pt x="478907" y="2281745"/>
                </a:cubicBezTo>
                <a:cubicBezTo>
                  <a:pt x="473330" y="2282161"/>
                  <a:pt x="468001" y="2281220"/>
                  <a:pt x="462690" y="2280217"/>
                </a:cubicBezTo>
                <a:lnTo>
                  <a:pt x="462574" y="2279078"/>
                </a:lnTo>
                <a:cubicBezTo>
                  <a:pt x="282200" y="2249456"/>
                  <a:pt x="121485" y="2164343"/>
                  <a:pt x="0" y="2042401"/>
                </a:cubicBezTo>
                <a:lnTo>
                  <a:pt x="0" y="1837231"/>
                </a:lnTo>
                <a:cubicBezTo>
                  <a:pt x="97584" y="1993737"/>
                  <a:pt x="258975" y="2108093"/>
                  <a:pt x="449203" y="2148655"/>
                </a:cubicBezTo>
                <a:cubicBezTo>
                  <a:pt x="402182" y="1911427"/>
                  <a:pt x="229297" y="1717565"/>
                  <a:pt x="0" y="1635380"/>
                </a:cubicBezTo>
                <a:close/>
                <a:moveTo>
                  <a:pt x="11608704" y="1464394"/>
                </a:moveTo>
                <a:lnTo>
                  <a:pt x="11625791" y="1466004"/>
                </a:lnTo>
                <a:cubicBezTo>
                  <a:pt x="11658177" y="1466527"/>
                  <a:pt x="11690070" y="1469485"/>
                  <a:pt x="11721253" y="1474998"/>
                </a:cubicBezTo>
                <a:cubicBezTo>
                  <a:pt x="11726829" y="1474582"/>
                  <a:pt x="11732157" y="1475523"/>
                  <a:pt x="11737466" y="1476525"/>
                </a:cubicBezTo>
                <a:lnTo>
                  <a:pt x="11737583" y="1477664"/>
                </a:lnTo>
                <a:cubicBezTo>
                  <a:pt x="11914088" y="1506650"/>
                  <a:pt x="12071767" y="1588774"/>
                  <a:pt x="12192000" y="1706842"/>
                </a:cubicBezTo>
                <a:lnTo>
                  <a:pt x="12192000" y="1906833"/>
                </a:lnTo>
                <a:cubicBezTo>
                  <a:pt x="12093732" y="1756811"/>
                  <a:pt x="11935983" y="1647542"/>
                  <a:pt x="11750953" y="1608088"/>
                </a:cubicBezTo>
                <a:cubicBezTo>
                  <a:pt x="11797422" y="1842524"/>
                  <a:pt x="11966808" y="2034608"/>
                  <a:pt x="12192000" y="2118654"/>
                </a:cubicBezTo>
                <a:lnTo>
                  <a:pt x="12192000" y="2250657"/>
                </a:lnTo>
                <a:cubicBezTo>
                  <a:pt x="11889465" y="2157681"/>
                  <a:pt x="11662185" y="1902872"/>
                  <a:pt x="11617468" y="1591480"/>
                </a:cubicBezTo>
                <a:cubicBezTo>
                  <a:pt x="11617300" y="1591427"/>
                  <a:pt x="11617132" y="1591423"/>
                  <a:pt x="11616962" y="1591418"/>
                </a:cubicBezTo>
                <a:lnTo>
                  <a:pt x="11616424" y="1584794"/>
                </a:lnTo>
                <a:cubicBezTo>
                  <a:pt x="11611365" y="1554782"/>
                  <a:pt x="11608914" y="1524133"/>
                  <a:pt x="11608957" y="1493044"/>
                </a:cubicBezTo>
                <a:cubicBezTo>
                  <a:pt x="11607645" y="1487460"/>
                  <a:pt x="11607586" y="1481838"/>
                  <a:pt x="11607586" y="1476202"/>
                </a:cubicBezTo>
                <a:lnTo>
                  <a:pt x="11608180" y="1464851"/>
                </a:lnTo>
                <a:lnTo>
                  <a:pt x="11608678" y="1464884"/>
                </a:lnTo>
                <a:close/>
                <a:moveTo>
                  <a:pt x="11594916" y="1464394"/>
                </a:moveTo>
                <a:lnTo>
                  <a:pt x="11594942" y="1464884"/>
                </a:lnTo>
                <a:lnTo>
                  <a:pt x="11595440" y="1464852"/>
                </a:lnTo>
                <a:lnTo>
                  <a:pt x="11596034" y="1476202"/>
                </a:lnTo>
                <a:cubicBezTo>
                  <a:pt x="11596034" y="1481838"/>
                  <a:pt x="11595975" y="1487460"/>
                  <a:pt x="11594663" y="1493044"/>
                </a:cubicBezTo>
                <a:cubicBezTo>
                  <a:pt x="11594706" y="1524133"/>
                  <a:pt x="11592255" y="1554782"/>
                  <a:pt x="11587196" y="1584794"/>
                </a:cubicBezTo>
                <a:lnTo>
                  <a:pt x="11586658" y="1591418"/>
                </a:lnTo>
                <a:cubicBezTo>
                  <a:pt x="11586488" y="1591423"/>
                  <a:pt x="11586320" y="1591427"/>
                  <a:pt x="11586152" y="1591480"/>
                </a:cubicBezTo>
                <a:cubicBezTo>
                  <a:pt x="11535877" y="1941574"/>
                  <a:pt x="11254838" y="2220146"/>
                  <a:pt x="10895987" y="2279078"/>
                </a:cubicBezTo>
                <a:lnTo>
                  <a:pt x="10895871" y="2280217"/>
                </a:lnTo>
                <a:cubicBezTo>
                  <a:pt x="10890560" y="2281220"/>
                  <a:pt x="10885231" y="2282161"/>
                  <a:pt x="10879654" y="2281745"/>
                </a:cubicBezTo>
                <a:cubicBezTo>
                  <a:pt x="10848482" y="2287255"/>
                  <a:pt x="10816602" y="2290213"/>
                  <a:pt x="10784227" y="2290736"/>
                </a:cubicBezTo>
                <a:lnTo>
                  <a:pt x="10767109" y="2292349"/>
                </a:lnTo>
                <a:lnTo>
                  <a:pt x="10767083" y="2291858"/>
                </a:lnTo>
                <a:lnTo>
                  <a:pt x="10766584" y="2291891"/>
                </a:lnTo>
                <a:cubicBezTo>
                  <a:pt x="10766018" y="2288119"/>
                  <a:pt x="10765991" y="2284333"/>
                  <a:pt x="10765991" y="2280541"/>
                </a:cubicBezTo>
                <a:cubicBezTo>
                  <a:pt x="10765991" y="2274903"/>
                  <a:pt x="10766050" y="2269279"/>
                  <a:pt x="10767362" y="2263693"/>
                </a:cubicBezTo>
                <a:cubicBezTo>
                  <a:pt x="10767319" y="2232611"/>
                  <a:pt x="10769769" y="2201969"/>
                  <a:pt x="10774826" y="2171962"/>
                </a:cubicBezTo>
                <a:lnTo>
                  <a:pt x="10775366" y="2165325"/>
                </a:lnTo>
                <a:cubicBezTo>
                  <a:pt x="10775535" y="2165320"/>
                  <a:pt x="10775704" y="2165315"/>
                  <a:pt x="10775872" y="2165262"/>
                </a:cubicBezTo>
                <a:cubicBezTo>
                  <a:pt x="10826148" y="1815167"/>
                  <a:pt x="11107187" y="1536596"/>
                  <a:pt x="11466037" y="1477664"/>
                </a:cubicBezTo>
                <a:lnTo>
                  <a:pt x="11466154" y="1476525"/>
                </a:lnTo>
                <a:cubicBezTo>
                  <a:pt x="11471463" y="1475523"/>
                  <a:pt x="11476791" y="1474582"/>
                  <a:pt x="11482367" y="1474998"/>
                </a:cubicBezTo>
                <a:cubicBezTo>
                  <a:pt x="11513550" y="1469485"/>
                  <a:pt x="11545443" y="1466527"/>
                  <a:pt x="11577829" y="1466004"/>
                </a:cubicBezTo>
                <a:close/>
                <a:moveTo>
                  <a:pt x="9916551" y="1464394"/>
                </a:moveTo>
                <a:lnTo>
                  <a:pt x="9933638" y="1466004"/>
                </a:lnTo>
                <a:cubicBezTo>
                  <a:pt x="9966024" y="1466527"/>
                  <a:pt x="9997917" y="1469485"/>
                  <a:pt x="10029100" y="1474998"/>
                </a:cubicBezTo>
                <a:cubicBezTo>
                  <a:pt x="10034676" y="1474582"/>
                  <a:pt x="10040004" y="1475523"/>
                  <a:pt x="10045313" y="1476525"/>
                </a:cubicBezTo>
                <a:lnTo>
                  <a:pt x="10045430" y="1477664"/>
                </a:lnTo>
                <a:cubicBezTo>
                  <a:pt x="10404280" y="1536596"/>
                  <a:pt x="10685319" y="1815167"/>
                  <a:pt x="10735596" y="2165262"/>
                </a:cubicBezTo>
                <a:cubicBezTo>
                  <a:pt x="10735763" y="2165315"/>
                  <a:pt x="10735932" y="2165320"/>
                  <a:pt x="10736101" y="2165325"/>
                </a:cubicBezTo>
                <a:lnTo>
                  <a:pt x="10736641" y="2171962"/>
                </a:lnTo>
                <a:cubicBezTo>
                  <a:pt x="10741698" y="2201969"/>
                  <a:pt x="10744148" y="2232611"/>
                  <a:pt x="10744105" y="2263693"/>
                </a:cubicBezTo>
                <a:cubicBezTo>
                  <a:pt x="10745417" y="2269279"/>
                  <a:pt x="10745476" y="2274903"/>
                  <a:pt x="10745476" y="2280541"/>
                </a:cubicBezTo>
                <a:cubicBezTo>
                  <a:pt x="10745476" y="2284333"/>
                  <a:pt x="10745449" y="2288119"/>
                  <a:pt x="10744883" y="2291891"/>
                </a:cubicBezTo>
                <a:lnTo>
                  <a:pt x="10744384" y="2291858"/>
                </a:lnTo>
                <a:lnTo>
                  <a:pt x="10744358" y="2292349"/>
                </a:lnTo>
                <a:lnTo>
                  <a:pt x="10727240" y="2290736"/>
                </a:lnTo>
                <a:cubicBezTo>
                  <a:pt x="10694865" y="2290213"/>
                  <a:pt x="10662985" y="2287255"/>
                  <a:pt x="10631813" y="2281745"/>
                </a:cubicBezTo>
                <a:cubicBezTo>
                  <a:pt x="10626236" y="2282161"/>
                  <a:pt x="10620907" y="2281220"/>
                  <a:pt x="10615596" y="2280217"/>
                </a:cubicBezTo>
                <a:lnTo>
                  <a:pt x="10615480" y="2279078"/>
                </a:lnTo>
                <a:cubicBezTo>
                  <a:pt x="10256629" y="2220146"/>
                  <a:pt x="9975590" y="1941574"/>
                  <a:pt x="9925315" y="1591480"/>
                </a:cubicBezTo>
                <a:cubicBezTo>
                  <a:pt x="9925147" y="1591427"/>
                  <a:pt x="9924979" y="1591423"/>
                  <a:pt x="9924809" y="1591418"/>
                </a:cubicBezTo>
                <a:lnTo>
                  <a:pt x="9924271" y="1584794"/>
                </a:lnTo>
                <a:cubicBezTo>
                  <a:pt x="9919212" y="1554782"/>
                  <a:pt x="9916761" y="1524133"/>
                  <a:pt x="9916804" y="1493044"/>
                </a:cubicBezTo>
                <a:cubicBezTo>
                  <a:pt x="9915492" y="1487460"/>
                  <a:pt x="9915433" y="1481838"/>
                  <a:pt x="9915433" y="1476202"/>
                </a:cubicBezTo>
                <a:lnTo>
                  <a:pt x="9916027" y="1464852"/>
                </a:lnTo>
                <a:lnTo>
                  <a:pt x="9916525" y="1464884"/>
                </a:lnTo>
                <a:close/>
                <a:moveTo>
                  <a:pt x="9902763" y="1464394"/>
                </a:moveTo>
                <a:lnTo>
                  <a:pt x="9902789" y="1464884"/>
                </a:lnTo>
                <a:lnTo>
                  <a:pt x="9903287" y="1464852"/>
                </a:lnTo>
                <a:lnTo>
                  <a:pt x="9903881" y="1476202"/>
                </a:lnTo>
                <a:cubicBezTo>
                  <a:pt x="9903881" y="1481838"/>
                  <a:pt x="9903822" y="1487460"/>
                  <a:pt x="9902510" y="1493044"/>
                </a:cubicBezTo>
                <a:cubicBezTo>
                  <a:pt x="9902553" y="1524133"/>
                  <a:pt x="9900102" y="1554782"/>
                  <a:pt x="9895043" y="1584794"/>
                </a:cubicBezTo>
                <a:lnTo>
                  <a:pt x="9894505" y="1591418"/>
                </a:lnTo>
                <a:cubicBezTo>
                  <a:pt x="9894335" y="1591423"/>
                  <a:pt x="9894167" y="1591427"/>
                  <a:pt x="9893999" y="1591480"/>
                </a:cubicBezTo>
                <a:cubicBezTo>
                  <a:pt x="9843724" y="1941574"/>
                  <a:pt x="9562685" y="2220146"/>
                  <a:pt x="9203834" y="2279078"/>
                </a:cubicBezTo>
                <a:lnTo>
                  <a:pt x="9203718" y="2280217"/>
                </a:lnTo>
                <a:cubicBezTo>
                  <a:pt x="9198407" y="2281220"/>
                  <a:pt x="9193078" y="2282161"/>
                  <a:pt x="9187501" y="2281745"/>
                </a:cubicBezTo>
                <a:cubicBezTo>
                  <a:pt x="9156329" y="2287255"/>
                  <a:pt x="9124449" y="2290213"/>
                  <a:pt x="9092074" y="2290736"/>
                </a:cubicBezTo>
                <a:lnTo>
                  <a:pt x="9074956" y="2292349"/>
                </a:lnTo>
                <a:lnTo>
                  <a:pt x="9074930" y="2291858"/>
                </a:lnTo>
                <a:lnTo>
                  <a:pt x="9074431" y="2291891"/>
                </a:lnTo>
                <a:cubicBezTo>
                  <a:pt x="9073865" y="2288119"/>
                  <a:pt x="9073838" y="2284333"/>
                  <a:pt x="9073838" y="2280541"/>
                </a:cubicBezTo>
                <a:cubicBezTo>
                  <a:pt x="9073838" y="2274903"/>
                  <a:pt x="9073897" y="2269279"/>
                  <a:pt x="9075209" y="2263693"/>
                </a:cubicBezTo>
                <a:cubicBezTo>
                  <a:pt x="9075166" y="2232611"/>
                  <a:pt x="9077616" y="2201969"/>
                  <a:pt x="9082673" y="2171962"/>
                </a:cubicBezTo>
                <a:lnTo>
                  <a:pt x="9083213" y="2165325"/>
                </a:lnTo>
                <a:cubicBezTo>
                  <a:pt x="9083382" y="2165320"/>
                  <a:pt x="9083551" y="2165315"/>
                  <a:pt x="9083718" y="2165262"/>
                </a:cubicBezTo>
                <a:cubicBezTo>
                  <a:pt x="9133995" y="1815167"/>
                  <a:pt x="9415034" y="1536596"/>
                  <a:pt x="9773884" y="1477664"/>
                </a:cubicBezTo>
                <a:lnTo>
                  <a:pt x="9774001" y="1476525"/>
                </a:lnTo>
                <a:cubicBezTo>
                  <a:pt x="9779310" y="1475523"/>
                  <a:pt x="9784638" y="1474582"/>
                  <a:pt x="9790214" y="1474998"/>
                </a:cubicBezTo>
                <a:cubicBezTo>
                  <a:pt x="9821397" y="1469485"/>
                  <a:pt x="9853290" y="1466527"/>
                  <a:pt x="9885676" y="1466004"/>
                </a:cubicBezTo>
                <a:close/>
                <a:moveTo>
                  <a:pt x="8224400" y="1464394"/>
                </a:moveTo>
                <a:lnTo>
                  <a:pt x="8241488" y="1466004"/>
                </a:lnTo>
                <a:cubicBezTo>
                  <a:pt x="8273873" y="1466527"/>
                  <a:pt x="8305766" y="1469485"/>
                  <a:pt x="8336949" y="1474998"/>
                </a:cubicBezTo>
                <a:cubicBezTo>
                  <a:pt x="8342525" y="1474582"/>
                  <a:pt x="8347853" y="1475523"/>
                  <a:pt x="8353162" y="1476525"/>
                </a:cubicBezTo>
                <a:lnTo>
                  <a:pt x="8353279" y="1477664"/>
                </a:lnTo>
                <a:cubicBezTo>
                  <a:pt x="8712129" y="1536596"/>
                  <a:pt x="8993168" y="1815167"/>
                  <a:pt x="9043444" y="2165262"/>
                </a:cubicBezTo>
                <a:cubicBezTo>
                  <a:pt x="9043612" y="2165315"/>
                  <a:pt x="9043781" y="2165320"/>
                  <a:pt x="9043950" y="2165325"/>
                </a:cubicBezTo>
                <a:lnTo>
                  <a:pt x="9044490" y="2171962"/>
                </a:lnTo>
                <a:cubicBezTo>
                  <a:pt x="9049547" y="2201969"/>
                  <a:pt x="9051997" y="2232611"/>
                  <a:pt x="9051954" y="2263693"/>
                </a:cubicBezTo>
                <a:cubicBezTo>
                  <a:pt x="9053266" y="2269279"/>
                  <a:pt x="9053325" y="2274903"/>
                  <a:pt x="9053325" y="2280541"/>
                </a:cubicBezTo>
                <a:cubicBezTo>
                  <a:pt x="9053325" y="2284333"/>
                  <a:pt x="9053298" y="2288119"/>
                  <a:pt x="9052732" y="2291891"/>
                </a:cubicBezTo>
                <a:lnTo>
                  <a:pt x="9052233" y="2291858"/>
                </a:lnTo>
                <a:lnTo>
                  <a:pt x="9052207" y="2292349"/>
                </a:lnTo>
                <a:lnTo>
                  <a:pt x="9035089" y="2290736"/>
                </a:lnTo>
                <a:cubicBezTo>
                  <a:pt x="9002714" y="2290213"/>
                  <a:pt x="8970834" y="2287255"/>
                  <a:pt x="8939662" y="2281745"/>
                </a:cubicBezTo>
                <a:cubicBezTo>
                  <a:pt x="8934085" y="2282161"/>
                  <a:pt x="8928756" y="2281220"/>
                  <a:pt x="8923445" y="2280217"/>
                </a:cubicBezTo>
                <a:lnTo>
                  <a:pt x="8923329" y="2279078"/>
                </a:lnTo>
                <a:cubicBezTo>
                  <a:pt x="8564478" y="2220146"/>
                  <a:pt x="8283439" y="1941574"/>
                  <a:pt x="8233164" y="1591480"/>
                </a:cubicBezTo>
                <a:cubicBezTo>
                  <a:pt x="8232996" y="1591427"/>
                  <a:pt x="8232828" y="1591423"/>
                  <a:pt x="8232658" y="1591418"/>
                </a:cubicBezTo>
                <a:lnTo>
                  <a:pt x="8232120" y="1584794"/>
                </a:lnTo>
                <a:cubicBezTo>
                  <a:pt x="8227061" y="1554782"/>
                  <a:pt x="8224611" y="1524133"/>
                  <a:pt x="8224653" y="1493044"/>
                </a:cubicBezTo>
                <a:cubicBezTo>
                  <a:pt x="8223341" y="1487460"/>
                  <a:pt x="8223282" y="1481838"/>
                  <a:pt x="8223282" y="1476202"/>
                </a:cubicBezTo>
                <a:lnTo>
                  <a:pt x="8223876" y="1464852"/>
                </a:lnTo>
                <a:lnTo>
                  <a:pt x="8224374" y="1464884"/>
                </a:lnTo>
                <a:close/>
                <a:moveTo>
                  <a:pt x="8210612" y="1464394"/>
                </a:moveTo>
                <a:lnTo>
                  <a:pt x="8210638" y="1464884"/>
                </a:lnTo>
                <a:lnTo>
                  <a:pt x="8211136" y="1464852"/>
                </a:lnTo>
                <a:lnTo>
                  <a:pt x="8211730" y="1476202"/>
                </a:lnTo>
                <a:cubicBezTo>
                  <a:pt x="8211730" y="1481838"/>
                  <a:pt x="8211672" y="1487460"/>
                  <a:pt x="8210360" y="1493044"/>
                </a:cubicBezTo>
                <a:cubicBezTo>
                  <a:pt x="8210402" y="1524133"/>
                  <a:pt x="8207951" y="1554782"/>
                  <a:pt x="8202893" y="1584794"/>
                </a:cubicBezTo>
                <a:lnTo>
                  <a:pt x="8202354" y="1591418"/>
                </a:lnTo>
                <a:cubicBezTo>
                  <a:pt x="8202185" y="1591423"/>
                  <a:pt x="8202016" y="1591427"/>
                  <a:pt x="8201849" y="1591480"/>
                </a:cubicBezTo>
                <a:cubicBezTo>
                  <a:pt x="8151573" y="1941574"/>
                  <a:pt x="7870534" y="2220146"/>
                  <a:pt x="7511683" y="2279078"/>
                </a:cubicBezTo>
                <a:lnTo>
                  <a:pt x="7511567" y="2280217"/>
                </a:lnTo>
                <a:cubicBezTo>
                  <a:pt x="7506256" y="2281220"/>
                  <a:pt x="7500927" y="2282161"/>
                  <a:pt x="7495350" y="2281745"/>
                </a:cubicBezTo>
                <a:cubicBezTo>
                  <a:pt x="7464178" y="2287255"/>
                  <a:pt x="7432298" y="2290213"/>
                  <a:pt x="7399924" y="2290736"/>
                </a:cubicBezTo>
                <a:lnTo>
                  <a:pt x="7382805" y="2292349"/>
                </a:lnTo>
                <a:lnTo>
                  <a:pt x="7382779" y="2291858"/>
                </a:lnTo>
                <a:lnTo>
                  <a:pt x="7382280" y="2291891"/>
                </a:lnTo>
                <a:cubicBezTo>
                  <a:pt x="7381714" y="2288119"/>
                  <a:pt x="7381687" y="2284333"/>
                  <a:pt x="7381687" y="2280541"/>
                </a:cubicBezTo>
                <a:cubicBezTo>
                  <a:pt x="7381687" y="2274903"/>
                  <a:pt x="7381746" y="2269279"/>
                  <a:pt x="7383058" y="2263693"/>
                </a:cubicBezTo>
                <a:cubicBezTo>
                  <a:pt x="7383016" y="2232611"/>
                  <a:pt x="7385465" y="2201969"/>
                  <a:pt x="7390522" y="2171962"/>
                </a:cubicBezTo>
                <a:lnTo>
                  <a:pt x="7391062" y="2165325"/>
                </a:lnTo>
                <a:cubicBezTo>
                  <a:pt x="7391231" y="2165320"/>
                  <a:pt x="7391400" y="2165315"/>
                  <a:pt x="7391568" y="2165262"/>
                </a:cubicBezTo>
                <a:cubicBezTo>
                  <a:pt x="7441844" y="1815167"/>
                  <a:pt x="7722883" y="1536596"/>
                  <a:pt x="8081734" y="1477664"/>
                </a:cubicBezTo>
                <a:lnTo>
                  <a:pt x="8081851" y="1476525"/>
                </a:lnTo>
                <a:cubicBezTo>
                  <a:pt x="8087159" y="1475523"/>
                  <a:pt x="8092487" y="1474582"/>
                  <a:pt x="8098063" y="1474998"/>
                </a:cubicBezTo>
                <a:cubicBezTo>
                  <a:pt x="8129247" y="1469485"/>
                  <a:pt x="8161139" y="1466527"/>
                  <a:pt x="8193525" y="1466004"/>
                </a:cubicBezTo>
                <a:close/>
                <a:moveTo>
                  <a:pt x="6532249" y="1464394"/>
                </a:moveTo>
                <a:lnTo>
                  <a:pt x="6549337" y="1466004"/>
                </a:lnTo>
                <a:cubicBezTo>
                  <a:pt x="6581722" y="1466527"/>
                  <a:pt x="6613615" y="1469485"/>
                  <a:pt x="6644798" y="1474998"/>
                </a:cubicBezTo>
                <a:cubicBezTo>
                  <a:pt x="6650374" y="1474582"/>
                  <a:pt x="6655702" y="1475523"/>
                  <a:pt x="6661011" y="1476525"/>
                </a:cubicBezTo>
                <a:lnTo>
                  <a:pt x="6661128" y="1477664"/>
                </a:lnTo>
                <a:cubicBezTo>
                  <a:pt x="7019978" y="1536596"/>
                  <a:pt x="7301017" y="1815167"/>
                  <a:pt x="7351294" y="2165262"/>
                </a:cubicBezTo>
                <a:cubicBezTo>
                  <a:pt x="7351461" y="2165315"/>
                  <a:pt x="7351631" y="2165320"/>
                  <a:pt x="7351799" y="2165325"/>
                </a:cubicBezTo>
                <a:lnTo>
                  <a:pt x="7352340" y="2171962"/>
                </a:lnTo>
                <a:cubicBezTo>
                  <a:pt x="7357396" y="2201969"/>
                  <a:pt x="7359846" y="2232611"/>
                  <a:pt x="7359804" y="2263693"/>
                </a:cubicBezTo>
                <a:cubicBezTo>
                  <a:pt x="7361116" y="2269279"/>
                  <a:pt x="7361174" y="2274903"/>
                  <a:pt x="7361174" y="2280541"/>
                </a:cubicBezTo>
                <a:cubicBezTo>
                  <a:pt x="7361174" y="2284333"/>
                  <a:pt x="7361147" y="2288119"/>
                  <a:pt x="7360581" y="2291891"/>
                </a:cubicBezTo>
                <a:lnTo>
                  <a:pt x="7360082" y="2291858"/>
                </a:lnTo>
                <a:lnTo>
                  <a:pt x="7360056" y="2292349"/>
                </a:lnTo>
                <a:lnTo>
                  <a:pt x="7342938" y="2290736"/>
                </a:lnTo>
                <a:cubicBezTo>
                  <a:pt x="7310564" y="2290213"/>
                  <a:pt x="7278683" y="2287255"/>
                  <a:pt x="7247511" y="2281745"/>
                </a:cubicBezTo>
                <a:cubicBezTo>
                  <a:pt x="7241934" y="2282161"/>
                  <a:pt x="7236605" y="2281220"/>
                  <a:pt x="7231295" y="2280217"/>
                </a:cubicBezTo>
                <a:lnTo>
                  <a:pt x="7231179" y="2279078"/>
                </a:lnTo>
                <a:cubicBezTo>
                  <a:pt x="6872327" y="2220146"/>
                  <a:pt x="6591288" y="1941574"/>
                  <a:pt x="6541013" y="1591480"/>
                </a:cubicBezTo>
                <a:cubicBezTo>
                  <a:pt x="6540845" y="1591427"/>
                  <a:pt x="6540677" y="1591423"/>
                  <a:pt x="6540507" y="1591418"/>
                </a:cubicBezTo>
                <a:lnTo>
                  <a:pt x="6539969" y="1584794"/>
                </a:lnTo>
                <a:cubicBezTo>
                  <a:pt x="6534910" y="1554782"/>
                  <a:pt x="6532460" y="1524133"/>
                  <a:pt x="6532502" y="1493044"/>
                </a:cubicBezTo>
                <a:cubicBezTo>
                  <a:pt x="6531190" y="1487460"/>
                  <a:pt x="6531131" y="1481838"/>
                  <a:pt x="6531131" y="1476202"/>
                </a:cubicBezTo>
                <a:lnTo>
                  <a:pt x="6531725" y="1464852"/>
                </a:lnTo>
                <a:lnTo>
                  <a:pt x="6532223" y="1464884"/>
                </a:lnTo>
                <a:close/>
                <a:moveTo>
                  <a:pt x="6518461" y="1464394"/>
                </a:moveTo>
                <a:lnTo>
                  <a:pt x="6518487" y="1464884"/>
                </a:lnTo>
                <a:lnTo>
                  <a:pt x="6518985" y="1464852"/>
                </a:lnTo>
                <a:lnTo>
                  <a:pt x="6519579" y="1476202"/>
                </a:lnTo>
                <a:cubicBezTo>
                  <a:pt x="6519579" y="1481838"/>
                  <a:pt x="6519520" y="1487460"/>
                  <a:pt x="6518208" y="1493044"/>
                </a:cubicBezTo>
                <a:cubicBezTo>
                  <a:pt x="6518250" y="1524133"/>
                  <a:pt x="6515800" y="1554782"/>
                  <a:pt x="6510741" y="1584794"/>
                </a:cubicBezTo>
                <a:lnTo>
                  <a:pt x="6510203" y="1591418"/>
                </a:lnTo>
                <a:cubicBezTo>
                  <a:pt x="6510033" y="1591423"/>
                  <a:pt x="6509865" y="1591427"/>
                  <a:pt x="6509697" y="1591480"/>
                </a:cubicBezTo>
                <a:cubicBezTo>
                  <a:pt x="6459422" y="1941574"/>
                  <a:pt x="6178383" y="2220146"/>
                  <a:pt x="5819531" y="2279078"/>
                </a:cubicBezTo>
                <a:lnTo>
                  <a:pt x="5819415" y="2280217"/>
                </a:lnTo>
                <a:cubicBezTo>
                  <a:pt x="5814105" y="2281220"/>
                  <a:pt x="5808776" y="2282161"/>
                  <a:pt x="5803199" y="2281745"/>
                </a:cubicBezTo>
                <a:cubicBezTo>
                  <a:pt x="5772027" y="2287255"/>
                  <a:pt x="5740146" y="2290213"/>
                  <a:pt x="5707772" y="2290736"/>
                </a:cubicBezTo>
                <a:lnTo>
                  <a:pt x="5690654" y="2292349"/>
                </a:lnTo>
                <a:lnTo>
                  <a:pt x="5690628" y="2291858"/>
                </a:lnTo>
                <a:lnTo>
                  <a:pt x="5690129" y="2291891"/>
                </a:lnTo>
                <a:cubicBezTo>
                  <a:pt x="5689563" y="2288119"/>
                  <a:pt x="5689536" y="2284333"/>
                  <a:pt x="5689536" y="2280541"/>
                </a:cubicBezTo>
                <a:cubicBezTo>
                  <a:pt x="5689536" y="2274903"/>
                  <a:pt x="5689594" y="2269279"/>
                  <a:pt x="5690906" y="2263693"/>
                </a:cubicBezTo>
                <a:cubicBezTo>
                  <a:pt x="5690864" y="2232611"/>
                  <a:pt x="5693314" y="2201969"/>
                  <a:pt x="5698370" y="2171962"/>
                </a:cubicBezTo>
                <a:lnTo>
                  <a:pt x="5698911" y="2165325"/>
                </a:lnTo>
                <a:cubicBezTo>
                  <a:pt x="5699079" y="2165320"/>
                  <a:pt x="5699249" y="2165315"/>
                  <a:pt x="5699416" y="2165262"/>
                </a:cubicBezTo>
                <a:cubicBezTo>
                  <a:pt x="5749693" y="1815167"/>
                  <a:pt x="6030732" y="1536596"/>
                  <a:pt x="6389582" y="1477664"/>
                </a:cubicBezTo>
                <a:lnTo>
                  <a:pt x="6389699" y="1476525"/>
                </a:lnTo>
                <a:cubicBezTo>
                  <a:pt x="6395008" y="1475523"/>
                  <a:pt x="6400336" y="1474582"/>
                  <a:pt x="6405912" y="1474998"/>
                </a:cubicBezTo>
                <a:cubicBezTo>
                  <a:pt x="6437095" y="1469485"/>
                  <a:pt x="6468988" y="1466527"/>
                  <a:pt x="6501373" y="1466004"/>
                </a:cubicBezTo>
                <a:close/>
                <a:moveTo>
                  <a:pt x="4840098" y="1464394"/>
                </a:moveTo>
                <a:lnTo>
                  <a:pt x="4857185" y="1466004"/>
                </a:lnTo>
                <a:cubicBezTo>
                  <a:pt x="4889571" y="1466527"/>
                  <a:pt x="4921463" y="1469485"/>
                  <a:pt x="4952647" y="1474998"/>
                </a:cubicBezTo>
                <a:cubicBezTo>
                  <a:pt x="4958223" y="1474582"/>
                  <a:pt x="4963551" y="1475523"/>
                  <a:pt x="4968859" y="1476525"/>
                </a:cubicBezTo>
                <a:lnTo>
                  <a:pt x="4968976" y="1477664"/>
                </a:lnTo>
                <a:cubicBezTo>
                  <a:pt x="5327827" y="1536596"/>
                  <a:pt x="5608866" y="1815167"/>
                  <a:pt x="5659142" y="2165262"/>
                </a:cubicBezTo>
                <a:cubicBezTo>
                  <a:pt x="5659310" y="2165315"/>
                  <a:pt x="5659479" y="2165320"/>
                  <a:pt x="5659648" y="2165325"/>
                </a:cubicBezTo>
                <a:lnTo>
                  <a:pt x="5660188" y="2171962"/>
                </a:lnTo>
                <a:cubicBezTo>
                  <a:pt x="5665245" y="2201969"/>
                  <a:pt x="5667694" y="2232611"/>
                  <a:pt x="5667652" y="2263693"/>
                </a:cubicBezTo>
                <a:cubicBezTo>
                  <a:pt x="5668964" y="2269279"/>
                  <a:pt x="5669023" y="2274903"/>
                  <a:pt x="5669023" y="2280541"/>
                </a:cubicBezTo>
                <a:cubicBezTo>
                  <a:pt x="5669023" y="2284333"/>
                  <a:pt x="5668996" y="2288119"/>
                  <a:pt x="5668430" y="2291891"/>
                </a:cubicBezTo>
                <a:lnTo>
                  <a:pt x="5667931" y="2291858"/>
                </a:lnTo>
                <a:lnTo>
                  <a:pt x="5667905" y="2292349"/>
                </a:lnTo>
                <a:lnTo>
                  <a:pt x="5650786" y="2290736"/>
                </a:lnTo>
                <a:cubicBezTo>
                  <a:pt x="5618412" y="2290213"/>
                  <a:pt x="5586532" y="2287255"/>
                  <a:pt x="5555360" y="2281745"/>
                </a:cubicBezTo>
                <a:cubicBezTo>
                  <a:pt x="5549783" y="2282161"/>
                  <a:pt x="5544454" y="2281220"/>
                  <a:pt x="5539143" y="2280217"/>
                </a:cubicBezTo>
                <a:lnTo>
                  <a:pt x="5539027" y="2279078"/>
                </a:lnTo>
                <a:cubicBezTo>
                  <a:pt x="5180176" y="2220146"/>
                  <a:pt x="4899137" y="1941574"/>
                  <a:pt x="4848861" y="1591480"/>
                </a:cubicBezTo>
                <a:cubicBezTo>
                  <a:pt x="4848694" y="1591427"/>
                  <a:pt x="4848525" y="1591423"/>
                  <a:pt x="4848356" y="1591418"/>
                </a:cubicBezTo>
                <a:lnTo>
                  <a:pt x="4847817" y="1584794"/>
                </a:lnTo>
                <a:cubicBezTo>
                  <a:pt x="4842759" y="1554782"/>
                  <a:pt x="4840308" y="1524133"/>
                  <a:pt x="4840350" y="1493044"/>
                </a:cubicBezTo>
                <a:cubicBezTo>
                  <a:pt x="4839038" y="1487460"/>
                  <a:pt x="4838980" y="1481838"/>
                  <a:pt x="4838980" y="1476202"/>
                </a:cubicBezTo>
                <a:lnTo>
                  <a:pt x="4839574" y="1464852"/>
                </a:lnTo>
                <a:lnTo>
                  <a:pt x="4840072" y="1464884"/>
                </a:lnTo>
                <a:close/>
                <a:moveTo>
                  <a:pt x="4826310" y="1464394"/>
                </a:moveTo>
                <a:lnTo>
                  <a:pt x="4826336" y="1464884"/>
                </a:lnTo>
                <a:lnTo>
                  <a:pt x="4826834" y="1464852"/>
                </a:lnTo>
                <a:lnTo>
                  <a:pt x="4827428" y="1476202"/>
                </a:lnTo>
                <a:cubicBezTo>
                  <a:pt x="4827428" y="1481838"/>
                  <a:pt x="4827369" y="1487460"/>
                  <a:pt x="4826057" y="1493044"/>
                </a:cubicBezTo>
                <a:cubicBezTo>
                  <a:pt x="4826099" y="1524133"/>
                  <a:pt x="4823649" y="1554782"/>
                  <a:pt x="4818590" y="1584794"/>
                </a:cubicBezTo>
                <a:lnTo>
                  <a:pt x="4818052" y="1591418"/>
                </a:lnTo>
                <a:cubicBezTo>
                  <a:pt x="4817882" y="1591423"/>
                  <a:pt x="4817714" y="1591427"/>
                  <a:pt x="4817546" y="1591480"/>
                </a:cubicBezTo>
                <a:cubicBezTo>
                  <a:pt x="4767271" y="1941574"/>
                  <a:pt x="4486232" y="2220146"/>
                  <a:pt x="4127381" y="2279078"/>
                </a:cubicBezTo>
                <a:lnTo>
                  <a:pt x="4127264" y="2280217"/>
                </a:lnTo>
                <a:cubicBezTo>
                  <a:pt x="4121954" y="2281220"/>
                  <a:pt x="4116625" y="2282161"/>
                  <a:pt x="4111048" y="2281745"/>
                </a:cubicBezTo>
                <a:cubicBezTo>
                  <a:pt x="4079876" y="2287255"/>
                  <a:pt x="4047996" y="2290213"/>
                  <a:pt x="4015621" y="2290736"/>
                </a:cubicBezTo>
                <a:lnTo>
                  <a:pt x="3998503" y="2292349"/>
                </a:lnTo>
                <a:lnTo>
                  <a:pt x="3998477" y="2291858"/>
                </a:lnTo>
                <a:lnTo>
                  <a:pt x="3997978" y="2291891"/>
                </a:lnTo>
                <a:cubicBezTo>
                  <a:pt x="3997412" y="2288119"/>
                  <a:pt x="3997385" y="2284333"/>
                  <a:pt x="3997385" y="2280541"/>
                </a:cubicBezTo>
                <a:cubicBezTo>
                  <a:pt x="3997385" y="2274903"/>
                  <a:pt x="3997443" y="2269279"/>
                  <a:pt x="3998755" y="2263693"/>
                </a:cubicBezTo>
                <a:cubicBezTo>
                  <a:pt x="3998713" y="2232611"/>
                  <a:pt x="4001163" y="2201969"/>
                  <a:pt x="4006219" y="2171962"/>
                </a:cubicBezTo>
                <a:lnTo>
                  <a:pt x="4006760" y="2165325"/>
                </a:lnTo>
                <a:cubicBezTo>
                  <a:pt x="4006928" y="2165320"/>
                  <a:pt x="4007098" y="2165315"/>
                  <a:pt x="4007265" y="2165262"/>
                </a:cubicBezTo>
                <a:cubicBezTo>
                  <a:pt x="4057542" y="1815167"/>
                  <a:pt x="4338581" y="1536596"/>
                  <a:pt x="4697431" y="1477664"/>
                </a:cubicBezTo>
                <a:lnTo>
                  <a:pt x="4697548" y="1476525"/>
                </a:lnTo>
                <a:cubicBezTo>
                  <a:pt x="4702857" y="1475523"/>
                  <a:pt x="4708185" y="1474582"/>
                  <a:pt x="4713761" y="1474998"/>
                </a:cubicBezTo>
                <a:cubicBezTo>
                  <a:pt x="4744944" y="1469485"/>
                  <a:pt x="4776837" y="1466527"/>
                  <a:pt x="4809222" y="1466004"/>
                </a:cubicBezTo>
                <a:close/>
                <a:moveTo>
                  <a:pt x="3147947" y="1464394"/>
                </a:moveTo>
                <a:lnTo>
                  <a:pt x="3165034" y="1466004"/>
                </a:lnTo>
                <a:cubicBezTo>
                  <a:pt x="3197420" y="1466527"/>
                  <a:pt x="3229312" y="1469485"/>
                  <a:pt x="3260496" y="1474998"/>
                </a:cubicBezTo>
                <a:cubicBezTo>
                  <a:pt x="3266072" y="1474582"/>
                  <a:pt x="3271400" y="1475523"/>
                  <a:pt x="3276708" y="1476525"/>
                </a:cubicBezTo>
                <a:lnTo>
                  <a:pt x="3276826" y="1477664"/>
                </a:lnTo>
                <a:cubicBezTo>
                  <a:pt x="3635676" y="1536596"/>
                  <a:pt x="3916715" y="1815167"/>
                  <a:pt x="3966991" y="2165262"/>
                </a:cubicBezTo>
                <a:cubicBezTo>
                  <a:pt x="3967159" y="2165315"/>
                  <a:pt x="3967328" y="2165320"/>
                  <a:pt x="3967497" y="2165325"/>
                </a:cubicBezTo>
                <a:lnTo>
                  <a:pt x="3968037" y="2171962"/>
                </a:lnTo>
                <a:cubicBezTo>
                  <a:pt x="3973094" y="2201969"/>
                  <a:pt x="3975543" y="2232611"/>
                  <a:pt x="3975501" y="2263693"/>
                </a:cubicBezTo>
                <a:cubicBezTo>
                  <a:pt x="3976813" y="2269279"/>
                  <a:pt x="3976872" y="2274903"/>
                  <a:pt x="3976872" y="2280541"/>
                </a:cubicBezTo>
                <a:cubicBezTo>
                  <a:pt x="3976872" y="2284333"/>
                  <a:pt x="3976845" y="2288119"/>
                  <a:pt x="3976279" y="2291891"/>
                </a:cubicBezTo>
                <a:lnTo>
                  <a:pt x="3975780" y="2291858"/>
                </a:lnTo>
                <a:lnTo>
                  <a:pt x="3975754" y="2292349"/>
                </a:lnTo>
                <a:lnTo>
                  <a:pt x="3958635" y="2290736"/>
                </a:lnTo>
                <a:cubicBezTo>
                  <a:pt x="3926261" y="2290213"/>
                  <a:pt x="3894381" y="2287255"/>
                  <a:pt x="3863209" y="2281745"/>
                </a:cubicBezTo>
                <a:cubicBezTo>
                  <a:pt x="3857632" y="2282161"/>
                  <a:pt x="3852303" y="2281220"/>
                  <a:pt x="3846992" y="2280217"/>
                </a:cubicBezTo>
                <a:lnTo>
                  <a:pt x="3846876" y="2279078"/>
                </a:lnTo>
                <a:cubicBezTo>
                  <a:pt x="3488025" y="2220146"/>
                  <a:pt x="3206986" y="1941574"/>
                  <a:pt x="3156710" y="1591480"/>
                </a:cubicBezTo>
                <a:cubicBezTo>
                  <a:pt x="3156543" y="1591427"/>
                  <a:pt x="3156374" y="1591423"/>
                  <a:pt x="3156205" y="1591418"/>
                </a:cubicBezTo>
                <a:lnTo>
                  <a:pt x="3155667" y="1584794"/>
                </a:lnTo>
                <a:cubicBezTo>
                  <a:pt x="3150608" y="1554782"/>
                  <a:pt x="3148157" y="1524133"/>
                  <a:pt x="3148199" y="1493044"/>
                </a:cubicBezTo>
                <a:cubicBezTo>
                  <a:pt x="3146887" y="1487460"/>
                  <a:pt x="3146829" y="1481838"/>
                  <a:pt x="3146829" y="1476202"/>
                </a:cubicBezTo>
                <a:lnTo>
                  <a:pt x="3147423" y="1464852"/>
                </a:lnTo>
                <a:lnTo>
                  <a:pt x="3147921" y="1464884"/>
                </a:lnTo>
                <a:close/>
                <a:moveTo>
                  <a:pt x="3134159" y="1464394"/>
                </a:moveTo>
                <a:lnTo>
                  <a:pt x="3134185" y="1464884"/>
                </a:lnTo>
                <a:lnTo>
                  <a:pt x="3134683" y="1464852"/>
                </a:lnTo>
                <a:lnTo>
                  <a:pt x="3135277" y="1476202"/>
                </a:lnTo>
                <a:cubicBezTo>
                  <a:pt x="3135277" y="1481838"/>
                  <a:pt x="3135218" y="1487460"/>
                  <a:pt x="3133906" y="1493044"/>
                </a:cubicBezTo>
                <a:cubicBezTo>
                  <a:pt x="3133948" y="1524133"/>
                  <a:pt x="3131498" y="1554782"/>
                  <a:pt x="3126439" y="1584794"/>
                </a:cubicBezTo>
                <a:lnTo>
                  <a:pt x="3125901" y="1591418"/>
                </a:lnTo>
                <a:cubicBezTo>
                  <a:pt x="3125731" y="1591423"/>
                  <a:pt x="3125563" y="1591427"/>
                  <a:pt x="3125395" y="1591480"/>
                </a:cubicBezTo>
                <a:cubicBezTo>
                  <a:pt x="3075120" y="1941574"/>
                  <a:pt x="2794081" y="2220146"/>
                  <a:pt x="2435230" y="2279078"/>
                </a:cubicBezTo>
                <a:lnTo>
                  <a:pt x="2435113" y="2280217"/>
                </a:lnTo>
                <a:cubicBezTo>
                  <a:pt x="2429803" y="2281220"/>
                  <a:pt x="2424474" y="2282161"/>
                  <a:pt x="2418897" y="2281745"/>
                </a:cubicBezTo>
                <a:cubicBezTo>
                  <a:pt x="2387725" y="2287255"/>
                  <a:pt x="2355845" y="2290213"/>
                  <a:pt x="2323470" y="2290736"/>
                </a:cubicBezTo>
                <a:lnTo>
                  <a:pt x="2306352" y="2292349"/>
                </a:lnTo>
                <a:lnTo>
                  <a:pt x="2306326" y="2291858"/>
                </a:lnTo>
                <a:lnTo>
                  <a:pt x="2305827" y="2291891"/>
                </a:lnTo>
                <a:cubicBezTo>
                  <a:pt x="2305261" y="2288119"/>
                  <a:pt x="2305234" y="2284333"/>
                  <a:pt x="2305234" y="2280541"/>
                </a:cubicBezTo>
                <a:cubicBezTo>
                  <a:pt x="2305234" y="2274903"/>
                  <a:pt x="2305292" y="2269279"/>
                  <a:pt x="2306604" y="2263693"/>
                </a:cubicBezTo>
                <a:cubicBezTo>
                  <a:pt x="2306562" y="2232611"/>
                  <a:pt x="2309012" y="2201969"/>
                  <a:pt x="2314068" y="2171962"/>
                </a:cubicBezTo>
                <a:lnTo>
                  <a:pt x="2314609" y="2165325"/>
                </a:lnTo>
                <a:cubicBezTo>
                  <a:pt x="2314777" y="2165320"/>
                  <a:pt x="2314947" y="2165315"/>
                  <a:pt x="2315114" y="2165262"/>
                </a:cubicBezTo>
                <a:cubicBezTo>
                  <a:pt x="2365391" y="1815167"/>
                  <a:pt x="2646430" y="1536596"/>
                  <a:pt x="3005280" y="1477664"/>
                </a:cubicBezTo>
                <a:lnTo>
                  <a:pt x="3005397" y="1476525"/>
                </a:lnTo>
                <a:cubicBezTo>
                  <a:pt x="3010706" y="1475523"/>
                  <a:pt x="3016034" y="1474582"/>
                  <a:pt x="3021610" y="1474998"/>
                </a:cubicBezTo>
                <a:cubicBezTo>
                  <a:pt x="3052793" y="1469485"/>
                  <a:pt x="3084686" y="1466527"/>
                  <a:pt x="3117071" y="1466004"/>
                </a:cubicBezTo>
                <a:close/>
                <a:moveTo>
                  <a:pt x="1455796" y="1464394"/>
                </a:moveTo>
                <a:lnTo>
                  <a:pt x="1472883" y="1466004"/>
                </a:lnTo>
                <a:cubicBezTo>
                  <a:pt x="1505269" y="1466527"/>
                  <a:pt x="1537161" y="1469485"/>
                  <a:pt x="1568345" y="1474998"/>
                </a:cubicBezTo>
                <a:cubicBezTo>
                  <a:pt x="1573921" y="1474582"/>
                  <a:pt x="1579249" y="1475523"/>
                  <a:pt x="1584557" y="1476525"/>
                </a:cubicBezTo>
                <a:lnTo>
                  <a:pt x="1584675" y="1477664"/>
                </a:lnTo>
                <a:cubicBezTo>
                  <a:pt x="1943525" y="1536596"/>
                  <a:pt x="2224564" y="1815167"/>
                  <a:pt x="2274840" y="2165262"/>
                </a:cubicBezTo>
                <a:cubicBezTo>
                  <a:pt x="2275008" y="2165315"/>
                  <a:pt x="2275177" y="2165320"/>
                  <a:pt x="2275346" y="2165325"/>
                </a:cubicBezTo>
                <a:lnTo>
                  <a:pt x="2275886" y="2171962"/>
                </a:lnTo>
                <a:cubicBezTo>
                  <a:pt x="2280943" y="2201969"/>
                  <a:pt x="2283392" y="2232611"/>
                  <a:pt x="2283350" y="2263693"/>
                </a:cubicBezTo>
                <a:cubicBezTo>
                  <a:pt x="2284662" y="2269279"/>
                  <a:pt x="2284721" y="2274903"/>
                  <a:pt x="2284721" y="2280541"/>
                </a:cubicBezTo>
                <a:cubicBezTo>
                  <a:pt x="2284721" y="2284333"/>
                  <a:pt x="2284694" y="2288119"/>
                  <a:pt x="2284128" y="2291891"/>
                </a:cubicBezTo>
                <a:lnTo>
                  <a:pt x="2283629" y="2291858"/>
                </a:lnTo>
                <a:lnTo>
                  <a:pt x="2283603" y="2292349"/>
                </a:lnTo>
                <a:lnTo>
                  <a:pt x="2266484" y="2290736"/>
                </a:lnTo>
                <a:cubicBezTo>
                  <a:pt x="2234110" y="2290213"/>
                  <a:pt x="2202230" y="2287255"/>
                  <a:pt x="2171058" y="2281745"/>
                </a:cubicBezTo>
                <a:cubicBezTo>
                  <a:pt x="2165481" y="2282161"/>
                  <a:pt x="2160152" y="2281220"/>
                  <a:pt x="2154841" y="2280217"/>
                </a:cubicBezTo>
                <a:lnTo>
                  <a:pt x="2154725" y="2279078"/>
                </a:lnTo>
                <a:cubicBezTo>
                  <a:pt x="1795874" y="2220146"/>
                  <a:pt x="1514835" y="1941574"/>
                  <a:pt x="1464559" y="1591480"/>
                </a:cubicBezTo>
                <a:cubicBezTo>
                  <a:pt x="1464392" y="1591427"/>
                  <a:pt x="1464223" y="1591423"/>
                  <a:pt x="1464054" y="1591418"/>
                </a:cubicBezTo>
                <a:lnTo>
                  <a:pt x="1463515" y="1584794"/>
                </a:lnTo>
                <a:cubicBezTo>
                  <a:pt x="1458457" y="1554782"/>
                  <a:pt x="1456006" y="1524133"/>
                  <a:pt x="1456048" y="1493044"/>
                </a:cubicBezTo>
                <a:cubicBezTo>
                  <a:pt x="1454736" y="1487460"/>
                  <a:pt x="1454678" y="1481838"/>
                  <a:pt x="1454678" y="1476202"/>
                </a:cubicBezTo>
                <a:lnTo>
                  <a:pt x="1455272" y="1464852"/>
                </a:lnTo>
                <a:lnTo>
                  <a:pt x="1455770" y="1464884"/>
                </a:lnTo>
                <a:close/>
                <a:moveTo>
                  <a:pt x="1442008" y="1464394"/>
                </a:moveTo>
                <a:lnTo>
                  <a:pt x="1442034" y="1464884"/>
                </a:lnTo>
                <a:lnTo>
                  <a:pt x="1442532" y="1464852"/>
                </a:lnTo>
                <a:lnTo>
                  <a:pt x="1443126" y="1476202"/>
                </a:lnTo>
                <a:cubicBezTo>
                  <a:pt x="1443126" y="1481838"/>
                  <a:pt x="1443067" y="1487460"/>
                  <a:pt x="1441755" y="1493044"/>
                </a:cubicBezTo>
                <a:cubicBezTo>
                  <a:pt x="1441797" y="1524133"/>
                  <a:pt x="1439347" y="1554782"/>
                  <a:pt x="1434288" y="1584794"/>
                </a:cubicBezTo>
                <a:lnTo>
                  <a:pt x="1433750" y="1591418"/>
                </a:lnTo>
                <a:cubicBezTo>
                  <a:pt x="1433580" y="1591423"/>
                  <a:pt x="1433412" y="1591427"/>
                  <a:pt x="1433244" y="1591480"/>
                </a:cubicBezTo>
                <a:cubicBezTo>
                  <a:pt x="1382969" y="1941574"/>
                  <a:pt x="1101930" y="2220146"/>
                  <a:pt x="743079" y="2279078"/>
                </a:cubicBezTo>
                <a:lnTo>
                  <a:pt x="742962" y="2280217"/>
                </a:lnTo>
                <a:cubicBezTo>
                  <a:pt x="737652" y="2281220"/>
                  <a:pt x="732323" y="2282161"/>
                  <a:pt x="726746" y="2281745"/>
                </a:cubicBezTo>
                <a:cubicBezTo>
                  <a:pt x="695574" y="2287255"/>
                  <a:pt x="663693" y="2290213"/>
                  <a:pt x="631319" y="2290736"/>
                </a:cubicBezTo>
                <a:lnTo>
                  <a:pt x="614201" y="2292349"/>
                </a:lnTo>
                <a:lnTo>
                  <a:pt x="614175" y="2291858"/>
                </a:lnTo>
                <a:lnTo>
                  <a:pt x="613676" y="2291891"/>
                </a:lnTo>
                <a:cubicBezTo>
                  <a:pt x="613110" y="2288119"/>
                  <a:pt x="613083" y="2284333"/>
                  <a:pt x="613083" y="2280541"/>
                </a:cubicBezTo>
                <a:cubicBezTo>
                  <a:pt x="613083" y="2274903"/>
                  <a:pt x="613141" y="2269279"/>
                  <a:pt x="614453" y="2263693"/>
                </a:cubicBezTo>
                <a:cubicBezTo>
                  <a:pt x="614411" y="2232611"/>
                  <a:pt x="616861" y="2201969"/>
                  <a:pt x="621917" y="2171962"/>
                </a:cubicBezTo>
                <a:lnTo>
                  <a:pt x="622458" y="2165325"/>
                </a:lnTo>
                <a:cubicBezTo>
                  <a:pt x="622626" y="2165320"/>
                  <a:pt x="622796" y="2165315"/>
                  <a:pt x="622963" y="2165262"/>
                </a:cubicBezTo>
                <a:cubicBezTo>
                  <a:pt x="673240" y="1815167"/>
                  <a:pt x="954279" y="1536596"/>
                  <a:pt x="1313129" y="1477664"/>
                </a:cubicBezTo>
                <a:lnTo>
                  <a:pt x="1313246" y="1476525"/>
                </a:lnTo>
                <a:cubicBezTo>
                  <a:pt x="1318555" y="1475523"/>
                  <a:pt x="1323883" y="1474582"/>
                  <a:pt x="1329459" y="1474998"/>
                </a:cubicBezTo>
                <a:cubicBezTo>
                  <a:pt x="1360642" y="1469485"/>
                  <a:pt x="1392535" y="1466527"/>
                  <a:pt x="1424920" y="1466004"/>
                </a:cubicBezTo>
                <a:close/>
                <a:moveTo>
                  <a:pt x="10909360" y="750600"/>
                </a:moveTo>
                <a:cubicBezTo>
                  <a:pt x="10962636" y="1021506"/>
                  <a:pt x="11177479" y="1236303"/>
                  <a:pt x="11452669" y="1295446"/>
                </a:cubicBezTo>
                <a:cubicBezTo>
                  <a:pt x="11399394" y="1024540"/>
                  <a:pt x="11184550" y="809743"/>
                  <a:pt x="10909360" y="750600"/>
                </a:cubicBezTo>
                <a:close/>
                <a:moveTo>
                  <a:pt x="10602109" y="750600"/>
                </a:moveTo>
                <a:cubicBezTo>
                  <a:pt x="10326919" y="809743"/>
                  <a:pt x="10112075" y="1024540"/>
                  <a:pt x="10058800" y="1295446"/>
                </a:cubicBezTo>
                <a:cubicBezTo>
                  <a:pt x="10333990" y="1236303"/>
                  <a:pt x="10548833" y="1021506"/>
                  <a:pt x="10602109" y="750600"/>
                </a:cubicBezTo>
                <a:close/>
                <a:moveTo>
                  <a:pt x="9217207" y="750600"/>
                </a:moveTo>
                <a:cubicBezTo>
                  <a:pt x="9270483" y="1021506"/>
                  <a:pt x="9485326" y="1236303"/>
                  <a:pt x="9760516" y="1295446"/>
                </a:cubicBezTo>
                <a:cubicBezTo>
                  <a:pt x="9707241" y="1024540"/>
                  <a:pt x="9492397" y="809743"/>
                  <a:pt x="9217207" y="750600"/>
                </a:cubicBezTo>
                <a:close/>
                <a:moveTo>
                  <a:pt x="8909958" y="750600"/>
                </a:moveTo>
                <a:cubicBezTo>
                  <a:pt x="8634768" y="809743"/>
                  <a:pt x="8419924" y="1024540"/>
                  <a:pt x="8366649" y="1295446"/>
                </a:cubicBezTo>
                <a:cubicBezTo>
                  <a:pt x="8641839" y="1236303"/>
                  <a:pt x="8856682" y="1021506"/>
                  <a:pt x="8909958" y="750600"/>
                </a:cubicBezTo>
                <a:close/>
                <a:moveTo>
                  <a:pt x="7525056" y="750600"/>
                </a:moveTo>
                <a:cubicBezTo>
                  <a:pt x="7578332" y="1021506"/>
                  <a:pt x="7793175" y="1236303"/>
                  <a:pt x="8068365" y="1295446"/>
                </a:cubicBezTo>
                <a:cubicBezTo>
                  <a:pt x="8015090" y="1024540"/>
                  <a:pt x="7800246" y="809743"/>
                  <a:pt x="7525056" y="750600"/>
                </a:cubicBezTo>
                <a:close/>
                <a:moveTo>
                  <a:pt x="7217807" y="750600"/>
                </a:moveTo>
                <a:cubicBezTo>
                  <a:pt x="6942617" y="809743"/>
                  <a:pt x="6727773" y="1024540"/>
                  <a:pt x="6674498" y="1295446"/>
                </a:cubicBezTo>
                <a:cubicBezTo>
                  <a:pt x="6949688" y="1236303"/>
                  <a:pt x="7164531" y="1021506"/>
                  <a:pt x="7217807" y="750600"/>
                </a:cubicBezTo>
                <a:close/>
                <a:moveTo>
                  <a:pt x="5832905" y="750600"/>
                </a:moveTo>
                <a:cubicBezTo>
                  <a:pt x="5886181" y="1021506"/>
                  <a:pt x="6101024" y="1236303"/>
                  <a:pt x="6376214" y="1295446"/>
                </a:cubicBezTo>
                <a:cubicBezTo>
                  <a:pt x="6322939" y="1024540"/>
                  <a:pt x="6108095" y="809743"/>
                  <a:pt x="5832905" y="750600"/>
                </a:cubicBezTo>
                <a:close/>
                <a:moveTo>
                  <a:pt x="5525656" y="750600"/>
                </a:moveTo>
                <a:cubicBezTo>
                  <a:pt x="5250466" y="809743"/>
                  <a:pt x="5035622" y="1024540"/>
                  <a:pt x="4982347" y="1295446"/>
                </a:cubicBezTo>
                <a:cubicBezTo>
                  <a:pt x="5257537" y="1236303"/>
                  <a:pt x="5472380" y="1021506"/>
                  <a:pt x="5525656" y="750600"/>
                </a:cubicBezTo>
                <a:close/>
                <a:moveTo>
                  <a:pt x="4140754" y="750600"/>
                </a:moveTo>
                <a:cubicBezTo>
                  <a:pt x="4194030" y="1021506"/>
                  <a:pt x="4408873" y="1236303"/>
                  <a:pt x="4684063" y="1295446"/>
                </a:cubicBezTo>
                <a:cubicBezTo>
                  <a:pt x="4630788" y="1024540"/>
                  <a:pt x="4415944" y="809743"/>
                  <a:pt x="4140754" y="750600"/>
                </a:cubicBezTo>
                <a:close/>
                <a:moveTo>
                  <a:pt x="3833505" y="750600"/>
                </a:moveTo>
                <a:cubicBezTo>
                  <a:pt x="3558315" y="809743"/>
                  <a:pt x="3343471" y="1024540"/>
                  <a:pt x="3290196" y="1295446"/>
                </a:cubicBezTo>
                <a:cubicBezTo>
                  <a:pt x="3565386" y="1236303"/>
                  <a:pt x="3780229" y="1021506"/>
                  <a:pt x="3833505" y="750600"/>
                </a:cubicBezTo>
                <a:close/>
                <a:moveTo>
                  <a:pt x="2448603" y="750600"/>
                </a:moveTo>
                <a:cubicBezTo>
                  <a:pt x="2501879" y="1021506"/>
                  <a:pt x="2716722" y="1236303"/>
                  <a:pt x="2991912" y="1295446"/>
                </a:cubicBezTo>
                <a:cubicBezTo>
                  <a:pt x="2938637" y="1024540"/>
                  <a:pt x="2723793" y="809743"/>
                  <a:pt x="2448603" y="750600"/>
                </a:cubicBezTo>
                <a:close/>
                <a:moveTo>
                  <a:pt x="2141354" y="750600"/>
                </a:moveTo>
                <a:cubicBezTo>
                  <a:pt x="1866164" y="809743"/>
                  <a:pt x="1651320" y="1024540"/>
                  <a:pt x="1598045" y="1295446"/>
                </a:cubicBezTo>
                <a:cubicBezTo>
                  <a:pt x="1873235" y="1236303"/>
                  <a:pt x="2088078" y="1021506"/>
                  <a:pt x="2141354" y="750600"/>
                </a:cubicBezTo>
                <a:close/>
                <a:moveTo>
                  <a:pt x="756452" y="750600"/>
                </a:moveTo>
                <a:cubicBezTo>
                  <a:pt x="809728" y="1021506"/>
                  <a:pt x="1024571" y="1236303"/>
                  <a:pt x="1299761" y="1295446"/>
                </a:cubicBezTo>
                <a:cubicBezTo>
                  <a:pt x="1246486" y="1024540"/>
                  <a:pt x="1031642" y="809743"/>
                  <a:pt x="756452" y="750600"/>
                </a:cubicBezTo>
                <a:close/>
                <a:moveTo>
                  <a:pt x="12192000" y="647790"/>
                </a:moveTo>
                <a:lnTo>
                  <a:pt x="12192000" y="780838"/>
                </a:lnTo>
                <a:cubicBezTo>
                  <a:pt x="11966807" y="865550"/>
                  <a:pt x="11797421" y="1059155"/>
                  <a:pt x="11750953" y="1295446"/>
                </a:cubicBezTo>
                <a:cubicBezTo>
                  <a:pt x="11935988" y="1255679"/>
                  <a:pt x="12093739" y="1145540"/>
                  <a:pt x="12192000" y="994335"/>
                </a:cubicBezTo>
                <a:lnTo>
                  <a:pt x="12192000" y="1195909"/>
                </a:lnTo>
                <a:cubicBezTo>
                  <a:pt x="12071770" y="1314911"/>
                  <a:pt x="11914089" y="1397686"/>
                  <a:pt x="11737582" y="1426902"/>
                </a:cubicBezTo>
                <a:lnTo>
                  <a:pt x="11737466" y="1428050"/>
                </a:lnTo>
                <a:cubicBezTo>
                  <a:pt x="11732155" y="1429061"/>
                  <a:pt x="11726826" y="1430009"/>
                  <a:pt x="11721249" y="1429590"/>
                </a:cubicBezTo>
                <a:cubicBezTo>
                  <a:pt x="11690077" y="1435144"/>
                  <a:pt x="11658197" y="1438125"/>
                  <a:pt x="11625822" y="1438652"/>
                </a:cubicBezTo>
                <a:lnTo>
                  <a:pt x="11608704" y="1440278"/>
                </a:lnTo>
                <a:lnTo>
                  <a:pt x="11608678" y="1439783"/>
                </a:lnTo>
                <a:lnTo>
                  <a:pt x="11608179" y="1439816"/>
                </a:lnTo>
                <a:cubicBezTo>
                  <a:pt x="11607613" y="1436014"/>
                  <a:pt x="11607586" y="1432198"/>
                  <a:pt x="11607586" y="1428376"/>
                </a:cubicBezTo>
                <a:cubicBezTo>
                  <a:pt x="11607586" y="1422694"/>
                  <a:pt x="11607645" y="1417025"/>
                  <a:pt x="11608957" y="1411395"/>
                </a:cubicBezTo>
                <a:cubicBezTo>
                  <a:pt x="11608914" y="1380067"/>
                  <a:pt x="11611364" y="1349182"/>
                  <a:pt x="11616421" y="1318938"/>
                </a:cubicBezTo>
                <a:lnTo>
                  <a:pt x="11616961" y="1312248"/>
                </a:lnTo>
                <a:cubicBezTo>
                  <a:pt x="11617130" y="1312243"/>
                  <a:pt x="11617299" y="1312238"/>
                  <a:pt x="11617466" y="1312185"/>
                </a:cubicBezTo>
                <a:cubicBezTo>
                  <a:pt x="11662185" y="998329"/>
                  <a:pt x="11889463" y="741504"/>
                  <a:pt x="12192000" y="647790"/>
                </a:cubicBezTo>
                <a:close/>
                <a:moveTo>
                  <a:pt x="10767111" y="605769"/>
                </a:moveTo>
                <a:lnTo>
                  <a:pt x="10784198" y="607392"/>
                </a:lnTo>
                <a:cubicBezTo>
                  <a:pt x="10816584" y="607919"/>
                  <a:pt x="10848477" y="610900"/>
                  <a:pt x="10879660" y="616457"/>
                </a:cubicBezTo>
                <a:cubicBezTo>
                  <a:pt x="10885236" y="616038"/>
                  <a:pt x="10890564" y="616986"/>
                  <a:pt x="10895873" y="617996"/>
                </a:cubicBezTo>
                <a:lnTo>
                  <a:pt x="10895990" y="619144"/>
                </a:lnTo>
                <a:cubicBezTo>
                  <a:pt x="11254840" y="678542"/>
                  <a:pt x="11535879" y="959319"/>
                  <a:pt x="11586156" y="1312185"/>
                </a:cubicBezTo>
                <a:cubicBezTo>
                  <a:pt x="11586323" y="1312238"/>
                  <a:pt x="11586492" y="1312243"/>
                  <a:pt x="11586661" y="1312248"/>
                </a:cubicBezTo>
                <a:lnTo>
                  <a:pt x="11587201" y="1318938"/>
                </a:lnTo>
                <a:cubicBezTo>
                  <a:pt x="11592258" y="1349182"/>
                  <a:pt x="11594708" y="1380067"/>
                  <a:pt x="11594665" y="1411395"/>
                </a:cubicBezTo>
                <a:cubicBezTo>
                  <a:pt x="11595977" y="1417025"/>
                  <a:pt x="11596036" y="1422694"/>
                  <a:pt x="11596036" y="1428376"/>
                </a:cubicBezTo>
                <a:cubicBezTo>
                  <a:pt x="11596036" y="1432198"/>
                  <a:pt x="11596009" y="1436014"/>
                  <a:pt x="11595443" y="1439816"/>
                </a:cubicBezTo>
                <a:lnTo>
                  <a:pt x="11594944" y="1439783"/>
                </a:lnTo>
                <a:lnTo>
                  <a:pt x="11594918" y="1440278"/>
                </a:lnTo>
                <a:lnTo>
                  <a:pt x="11577800" y="1438652"/>
                </a:lnTo>
                <a:cubicBezTo>
                  <a:pt x="11545425" y="1438125"/>
                  <a:pt x="11513545" y="1435144"/>
                  <a:pt x="11482373" y="1429590"/>
                </a:cubicBezTo>
                <a:cubicBezTo>
                  <a:pt x="11476796" y="1430009"/>
                  <a:pt x="11471467" y="1429061"/>
                  <a:pt x="11466156" y="1428050"/>
                </a:cubicBezTo>
                <a:lnTo>
                  <a:pt x="11466040" y="1426902"/>
                </a:lnTo>
                <a:cubicBezTo>
                  <a:pt x="11107189" y="1367503"/>
                  <a:pt x="10826150" y="1086726"/>
                  <a:pt x="10775875" y="733861"/>
                </a:cubicBezTo>
                <a:cubicBezTo>
                  <a:pt x="10775707" y="733808"/>
                  <a:pt x="10775539" y="733803"/>
                  <a:pt x="10775369" y="733798"/>
                </a:cubicBezTo>
                <a:lnTo>
                  <a:pt x="10774831" y="727122"/>
                </a:lnTo>
                <a:cubicBezTo>
                  <a:pt x="10769772" y="696872"/>
                  <a:pt x="10767321" y="665981"/>
                  <a:pt x="10767364" y="634646"/>
                </a:cubicBezTo>
                <a:cubicBezTo>
                  <a:pt x="10766052" y="629018"/>
                  <a:pt x="10765993" y="623351"/>
                  <a:pt x="10765993" y="617670"/>
                </a:cubicBezTo>
                <a:lnTo>
                  <a:pt x="10766587" y="606230"/>
                </a:lnTo>
                <a:lnTo>
                  <a:pt x="10767085" y="606263"/>
                </a:lnTo>
                <a:close/>
                <a:moveTo>
                  <a:pt x="10744358" y="605769"/>
                </a:moveTo>
                <a:lnTo>
                  <a:pt x="10744384" y="606263"/>
                </a:lnTo>
                <a:lnTo>
                  <a:pt x="10744882" y="606230"/>
                </a:lnTo>
                <a:lnTo>
                  <a:pt x="10745476" y="617670"/>
                </a:lnTo>
                <a:cubicBezTo>
                  <a:pt x="10745476" y="623351"/>
                  <a:pt x="10745417" y="629018"/>
                  <a:pt x="10744105" y="634646"/>
                </a:cubicBezTo>
                <a:cubicBezTo>
                  <a:pt x="10744148" y="665981"/>
                  <a:pt x="10741697" y="696872"/>
                  <a:pt x="10736638" y="727122"/>
                </a:cubicBezTo>
                <a:lnTo>
                  <a:pt x="10736100" y="733798"/>
                </a:lnTo>
                <a:cubicBezTo>
                  <a:pt x="10735930" y="733803"/>
                  <a:pt x="10735762" y="733808"/>
                  <a:pt x="10735594" y="733861"/>
                </a:cubicBezTo>
                <a:cubicBezTo>
                  <a:pt x="10685319" y="1086726"/>
                  <a:pt x="10404280" y="1367503"/>
                  <a:pt x="10045429" y="1426902"/>
                </a:cubicBezTo>
                <a:lnTo>
                  <a:pt x="10045313" y="1428050"/>
                </a:lnTo>
                <a:cubicBezTo>
                  <a:pt x="10040002" y="1429061"/>
                  <a:pt x="10034673" y="1430009"/>
                  <a:pt x="10029096" y="1429590"/>
                </a:cubicBezTo>
                <a:cubicBezTo>
                  <a:pt x="9997924" y="1435144"/>
                  <a:pt x="9966044" y="1438125"/>
                  <a:pt x="9933669" y="1438652"/>
                </a:cubicBezTo>
                <a:lnTo>
                  <a:pt x="9916551" y="1440278"/>
                </a:lnTo>
                <a:lnTo>
                  <a:pt x="9916525" y="1439783"/>
                </a:lnTo>
                <a:lnTo>
                  <a:pt x="9916026" y="1439816"/>
                </a:lnTo>
                <a:cubicBezTo>
                  <a:pt x="9915460" y="1436014"/>
                  <a:pt x="9915433" y="1432198"/>
                  <a:pt x="9915433" y="1428376"/>
                </a:cubicBezTo>
                <a:cubicBezTo>
                  <a:pt x="9915433" y="1422694"/>
                  <a:pt x="9915492" y="1417025"/>
                  <a:pt x="9916804" y="1411395"/>
                </a:cubicBezTo>
                <a:cubicBezTo>
                  <a:pt x="9916761" y="1380067"/>
                  <a:pt x="9919211" y="1349182"/>
                  <a:pt x="9924268" y="1318938"/>
                </a:cubicBezTo>
                <a:lnTo>
                  <a:pt x="9924808" y="1312248"/>
                </a:lnTo>
                <a:cubicBezTo>
                  <a:pt x="9924977" y="1312243"/>
                  <a:pt x="9925146" y="1312238"/>
                  <a:pt x="9925314" y="1312185"/>
                </a:cubicBezTo>
                <a:cubicBezTo>
                  <a:pt x="9975590" y="959319"/>
                  <a:pt x="10256629" y="678542"/>
                  <a:pt x="10615479" y="619144"/>
                </a:cubicBezTo>
                <a:lnTo>
                  <a:pt x="10615596" y="617996"/>
                </a:lnTo>
                <a:cubicBezTo>
                  <a:pt x="10620905" y="616986"/>
                  <a:pt x="10626233" y="616038"/>
                  <a:pt x="10631809" y="616457"/>
                </a:cubicBezTo>
                <a:cubicBezTo>
                  <a:pt x="10662992" y="610900"/>
                  <a:pt x="10694885" y="607919"/>
                  <a:pt x="10727271" y="607392"/>
                </a:cubicBezTo>
                <a:close/>
                <a:moveTo>
                  <a:pt x="9074958" y="605769"/>
                </a:moveTo>
                <a:lnTo>
                  <a:pt x="9092045" y="607392"/>
                </a:lnTo>
                <a:cubicBezTo>
                  <a:pt x="9124431" y="607919"/>
                  <a:pt x="9156324" y="610900"/>
                  <a:pt x="9187507" y="616457"/>
                </a:cubicBezTo>
                <a:cubicBezTo>
                  <a:pt x="9193083" y="616038"/>
                  <a:pt x="9198411" y="616986"/>
                  <a:pt x="9203720" y="617996"/>
                </a:cubicBezTo>
                <a:lnTo>
                  <a:pt x="9203837" y="619144"/>
                </a:lnTo>
                <a:cubicBezTo>
                  <a:pt x="9562687" y="678542"/>
                  <a:pt x="9843726" y="959319"/>
                  <a:pt x="9894002" y="1312185"/>
                </a:cubicBezTo>
                <a:cubicBezTo>
                  <a:pt x="9894170" y="1312238"/>
                  <a:pt x="9894339" y="1312243"/>
                  <a:pt x="9894508" y="1312248"/>
                </a:cubicBezTo>
                <a:lnTo>
                  <a:pt x="9895048" y="1318938"/>
                </a:lnTo>
                <a:cubicBezTo>
                  <a:pt x="9900105" y="1349182"/>
                  <a:pt x="9902555" y="1380067"/>
                  <a:pt x="9902512" y="1411395"/>
                </a:cubicBezTo>
                <a:cubicBezTo>
                  <a:pt x="9903824" y="1417025"/>
                  <a:pt x="9903883" y="1422694"/>
                  <a:pt x="9903883" y="1428376"/>
                </a:cubicBezTo>
                <a:cubicBezTo>
                  <a:pt x="9903883" y="1432198"/>
                  <a:pt x="9903856" y="1436014"/>
                  <a:pt x="9903290" y="1439816"/>
                </a:cubicBezTo>
                <a:lnTo>
                  <a:pt x="9902791" y="1439783"/>
                </a:lnTo>
                <a:lnTo>
                  <a:pt x="9902765" y="1440278"/>
                </a:lnTo>
                <a:lnTo>
                  <a:pt x="9885647" y="1438652"/>
                </a:lnTo>
                <a:cubicBezTo>
                  <a:pt x="9853272" y="1438125"/>
                  <a:pt x="9821392" y="1435144"/>
                  <a:pt x="9790220" y="1429590"/>
                </a:cubicBezTo>
                <a:cubicBezTo>
                  <a:pt x="9784643" y="1430009"/>
                  <a:pt x="9779314" y="1429061"/>
                  <a:pt x="9774003" y="1428050"/>
                </a:cubicBezTo>
                <a:lnTo>
                  <a:pt x="9773887" y="1426902"/>
                </a:lnTo>
                <a:cubicBezTo>
                  <a:pt x="9415036" y="1367503"/>
                  <a:pt x="9133997" y="1086726"/>
                  <a:pt x="9083722" y="733861"/>
                </a:cubicBezTo>
                <a:cubicBezTo>
                  <a:pt x="9083554" y="733808"/>
                  <a:pt x="9083386" y="733803"/>
                  <a:pt x="9083216" y="733798"/>
                </a:cubicBezTo>
                <a:lnTo>
                  <a:pt x="9082678" y="727122"/>
                </a:lnTo>
                <a:cubicBezTo>
                  <a:pt x="9077619" y="696872"/>
                  <a:pt x="9075168" y="665981"/>
                  <a:pt x="9075211" y="634646"/>
                </a:cubicBezTo>
                <a:cubicBezTo>
                  <a:pt x="9073899" y="629018"/>
                  <a:pt x="9073840" y="623351"/>
                  <a:pt x="9073840" y="617670"/>
                </a:cubicBezTo>
                <a:lnTo>
                  <a:pt x="9074434" y="606230"/>
                </a:lnTo>
                <a:lnTo>
                  <a:pt x="9074932" y="606263"/>
                </a:lnTo>
                <a:close/>
                <a:moveTo>
                  <a:pt x="9052207" y="605769"/>
                </a:moveTo>
                <a:lnTo>
                  <a:pt x="9052233" y="606263"/>
                </a:lnTo>
                <a:lnTo>
                  <a:pt x="9052731" y="606230"/>
                </a:lnTo>
                <a:lnTo>
                  <a:pt x="9053325" y="617670"/>
                </a:lnTo>
                <a:cubicBezTo>
                  <a:pt x="9053325" y="623351"/>
                  <a:pt x="9053266" y="629018"/>
                  <a:pt x="9051954" y="634646"/>
                </a:cubicBezTo>
                <a:cubicBezTo>
                  <a:pt x="9051997" y="665981"/>
                  <a:pt x="9049546" y="696872"/>
                  <a:pt x="9044487" y="727122"/>
                </a:cubicBezTo>
                <a:lnTo>
                  <a:pt x="9043949" y="733798"/>
                </a:lnTo>
                <a:cubicBezTo>
                  <a:pt x="9043779" y="733803"/>
                  <a:pt x="9043611" y="733808"/>
                  <a:pt x="9043443" y="733861"/>
                </a:cubicBezTo>
                <a:cubicBezTo>
                  <a:pt x="8993168" y="1086726"/>
                  <a:pt x="8712129" y="1367503"/>
                  <a:pt x="8353278" y="1426902"/>
                </a:cubicBezTo>
                <a:lnTo>
                  <a:pt x="8353162" y="1428050"/>
                </a:lnTo>
                <a:cubicBezTo>
                  <a:pt x="8347851" y="1429061"/>
                  <a:pt x="8342522" y="1430009"/>
                  <a:pt x="8336945" y="1429590"/>
                </a:cubicBezTo>
                <a:cubicBezTo>
                  <a:pt x="8305773" y="1435144"/>
                  <a:pt x="8273893" y="1438125"/>
                  <a:pt x="8241519" y="1438652"/>
                </a:cubicBezTo>
                <a:lnTo>
                  <a:pt x="8224400" y="1440278"/>
                </a:lnTo>
                <a:lnTo>
                  <a:pt x="8224374" y="1439783"/>
                </a:lnTo>
                <a:lnTo>
                  <a:pt x="8223875" y="1439816"/>
                </a:lnTo>
                <a:cubicBezTo>
                  <a:pt x="8223309" y="1436014"/>
                  <a:pt x="8223282" y="1432198"/>
                  <a:pt x="8223282" y="1428376"/>
                </a:cubicBezTo>
                <a:cubicBezTo>
                  <a:pt x="8223282" y="1422694"/>
                  <a:pt x="8223341" y="1417025"/>
                  <a:pt x="8224653" y="1411395"/>
                </a:cubicBezTo>
                <a:cubicBezTo>
                  <a:pt x="8224611" y="1380067"/>
                  <a:pt x="8227060" y="1349182"/>
                  <a:pt x="8232117" y="1318938"/>
                </a:cubicBezTo>
                <a:lnTo>
                  <a:pt x="8232657" y="1312248"/>
                </a:lnTo>
                <a:cubicBezTo>
                  <a:pt x="8232826" y="1312243"/>
                  <a:pt x="8232995" y="1312238"/>
                  <a:pt x="8233163" y="1312185"/>
                </a:cubicBezTo>
                <a:cubicBezTo>
                  <a:pt x="8283439" y="959319"/>
                  <a:pt x="8564478" y="678542"/>
                  <a:pt x="8923328" y="619144"/>
                </a:cubicBezTo>
                <a:lnTo>
                  <a:pt x="8923445" y="617996"/>
                </a:lnTo>
                <a:cubicBezTo>
                  <a:pt x="8928754" y="616986"/>
                  <a:pt x="8934082" y="616038"/>
                  <a:pt x="8939658" y="616457"/>
                </a:cubicBezTo>
                <a:cubicBezTo>
                  <a:pt x="8970841" y="610900"/>
                  <a:pt x="9002734" y="607919"/>
                  <a:pt x="9035120" y="607392"/>
                </a:cubicBezTo>
                <a:close/>
                <a:moveTo>
                  <a:pt x="7382807" y="605769"/>
                </a:moveTo>
                <a:lnTo>
                  <a:pt x="7399895" y="607392"/>
                </a:lnTo>
                <a:cubicBezTo>
                  <a:pt x="7432280" y="607919"/>
                  <a:pt x="7464173" y="610900"/>
                  <a:pt x="7495356" y="616457"/>
                </a:cubicBezTo>
                <a:cubicBezTo>
                  <a:pt x="7500932" y="616038"/>
                  <a:pt x="7506260" y="616986"/>
                  <a:pt x="7511569" y="617996"/>
                </a:cubicBezTo>
                <a:lnTo>
                  <a:pt x="7511686" y="619144"/>
                </a:lnTo>
                <a:cubicBezTo>
                  <a:pt x="7870536" y="678542"/>
                  <a:pt x="8151575" y="959319"/>
                  <a:pt x="8201852" y="1312185"/>
                </a:cubicBezTo>
                <a:cubicBezTo>
                  <a:pt x="8202019" y="1312238"/>
                  <a:pt x="8202189" y="1312243"/>
                  <a:pt x="8202357" y="1312248"/>
                </a:cubicBezTo>
                <a:lnTo>
                  <a:pt x="8202898" y="1318938"/>
                </a:lnTo>
                <a:cubicBezTo>
                  <a:pt x="8207954" y="1349182"/>
                  <a:pt x="8210404" y="1380067"/>
                  <a:pt x="8210362" y="1411395"/>
                </a:cubicBezTo>
                <a:cubicBezTo>
                  <a:pt x="8211674" y="1417025"/>
                  <a:pt x="8211732" y="1422694"/>
                  <a:pt x="8211732" y="1428376"/>
                </a:cubicBezTo>
                <a:cubicBezTo>
                  <a:pt x="8211732" y="1432198"/>
                  <a:pt x="8211705" y="1436014"/>
                  <a:pt x="8211139" y="1439816"/>
                </a:cubicBezTo>
                <a:lnTo>
                  <a:pt x="8210640" y="1439783"/>
                </a:lnTo>
                <a:lnTo>
                  <a:pt x="8210614" y="1440278"/>
                </a:lnTo>
                <a:lnTo>
                  <a:pt x="8193496" y="1438652"/>
                </a:lnTo>
                <a:cubicBezTo>
                  <a:pt x="8161122" y="1438125"/>
                  <a:pt x="8129241" y="1435144"/>
                  <a:pt x="8098069" y="1429590"/>
                </a:cubicBezTo>
                <a:cubicBezTo>
                  <a:pt x="8092492" y="1430009"/>
                  <a:pt x="8087163" y="1429061"/>
                  <a:pt x="8081853" y="1428050"/>
                </a:cubicBezTo>
                <a:lnTo>
                  <a:pt x="8081737" y="1426902"/>
                </a:lnTo>
                <a:cubicBezTo>
                  <a:pt x="7722885" y="1367503"/>
                  <a:pt x="7441846" y="1086726"/>
                  <a:pt x="7391571" y="733861"/>
                </a:cubicBezTo>
                <a:cubicBezTo>
                  <a:pt x="7391403" y="733808"/>
                  <a:pt x="7391235" y="733803"/>
                  <a:pt x="7391065" y="733798"/>
                </a:cubicBezTo>
                <a:lnTo>
                  <a:pt x="7390527" y="727122"/>
                </a:lnTo>
                <a:cubicBezTo>
                  <a:pt x="7385468" y="696872"/>
                  <a:pt x="7383018" y="665981"/>
                  <a:pt x="7383060" y="634646"/>
                </a:cubicBezTo>
                <a:cubicBezTo>
                  <a:pt x="7381748" y="629018"/>
                  <a:pt x="7381689" y="623351"/>
                  <a:pt x="7381689" y="617670"/>
                </a:cubicBezTo>
                <a:lnTo>
                  <a:pt x="7382283" y="606230"/>
                </a:lnTo>
                <a:lnTo>
                  <a:pt x="7382781" y="606263"/>
                </a:lnTo>
                <a:close/>
                <a:moveTo>
                  <a:pt x="5690656" y="605769"/>
                </a:moveTo>
                <a:lnTo>
                  <a:pt x="5707743" y="607392"/>
                </a:lnTo>
                <a:cubicBezTo>
                  <a:pt x="5740129" y="607919"/>
                  <a:pt x="5772021" y="610900"/>
                  <a:pt x="5803205" y="616457"/>
                </a:cubicBezTo>
                <a:cubicBezTo>
                  <a:pt x="5808781" y="616038"/>
                  <a:pt x="5814109" y="616986"/>
                  <a:pt x="5819417" y="617996"/>
                </a:cubicBezTo>
                <a:lnTo>
                  <a:pt x="5819534" y="619144"/>
                </a:lnTo>
                <a:cubicBezTo>
                  <a:pt x="6178385" y="678542"/>
                  <a:pt x="6459424" y="959319"/>
                  <a:pt x="6509700" y="1312185"/>
                </a:cubicBezTo>
                <a:cubicBezTo>
                  <a:pt x="6509868" y="1312238"/>
                  <a:pt x="6510037" y="1312243"/>
                  <a:pt x="6510206" y="1312248"/>
                </a:cubicBezTo>
                <a:lnTo>
                  <a:pt x="6510746" y="1318938"/>
                </a:lnTo>
                <a:cubicBezTo>
                  <a:pt x="6515803" y="1349182"/>
                  <a:pt x="6518252" y="1380067"/>
                  <a:pt x="6518210" y="1411395"/>
                </a:cubicBezTo>
                <a:cubicBezTo>
                  <a:pt x="6519522" y="1417025"/>
                  <a:pt x="6519581" y="1422694"/>
                  <a:pt x="6519581" y="1428376"/>
                </a:cubicBezTo>
                <a:cubicBezTo>
                  <a:pt x="6519581" y="1432198"/>
                  <a:pt x="6519554" y="1436014"/>
                  <a:pt x="6518988" y="1439816"/>
                </a:cubicBezTo>
                <a:lnTo>
                  <a:pt x="6518489" y="1439783"/>
                </a:lnTo>
                <a:lnTo>
                  <a:pt x="6518463" y="1440278"/>
                </a:lnTo>
                <a:lnTo>
                  <a:pt x="6501344" y="1438652"/>
                </a:lnTo>
                <a:cubicBezTo>
                  <a:pt x="6468970" y="1438125"/>
                  <a:pt x="6437090" y="1435144"/>
                  <a:pt x="6405918" y="1429590"/>
                </a:cubicBezTo>
                <a:cubicBezTo>
                  <a:pt x="6400341" y="1430009"/>
                  <a:pt x="6395012" y="1429061"/>
                  <a:pt x="6389701" y="1428050"/>
                </a:cubicBezTo>
                <a:lnTo>
                  <a:pt x="6389585" y="1426902"/>
                </a:lnTo>
                <a:cubicBezTo>
                  <a:pt x="6030734" y="1367503"/>
                  <a:pt x="5749695" y="1086726"/>
                  <a:pt x="5699419" y="733861"/>
                </a:cubicBezTo>
                <a:cubicBezTo>
                  <a:pt x="5699252" y="733808"/>
                  <a:pt x="5699083" y="733803"/>
                  <a:pt x="5698914" y="733798"/>
                </a:cubicBezTo>
                <a:lnTo>
                  <a:pt x="5698375" y="727122"/>
                </a:lnTo>
                <a:cubicBezTo>
                  <a:pt x="5693317" y="696872"/>
                  <a:pt x="5690866" y="665981"/>
                  <a:pt x="5690908" y="634646"/>
                </a:cubicBezTo>
                <a:cubicBezTo>
                  <a:pt x="5689596" y="629018"/>
                  <a:pt x="5689538" y="623351"/>
                  <a:pt x="5689538" y="617670"/>
                </a:cubicBezTo>
                <a:lnTo>
                  <a:pt x="5690132" y="606230"/>
                </a:lnTo>
                <a:lnTo>
                  <a:pt x="5690630" y="606263"/>
                </a:lnTo>
                <a:close/>
                <a:moveTo>
                  <a:pt x="5667905" y="605769"/>
                </a:moveTo>
                <a:lnTo>
                  <a:pt x="5667931" y="606263"/>
                </a:lnTo>
                <a:lnTo>
                  <a:pt x="5668429" y="606230"/>
                </a:lnTo>
                <a:lnTo>
                  <a:pt x="5669023" y="617670"/>
                </a:lnTo>
                <a:cubicBezTo>
                  <a:pt x="5669023" y="623351"/>
                  <a:pt x="5668964" y="629018"/>
                  <a:pt x="5667652" y="634646"/>
                </a:cubicBezTo>
                <a:cubicBezTo>
                  <a:pt x="5667694" y="665981"/>
                  <a:pt x="5665244" y="696872"/>
                  <a:pt x="5660185" y="727122"/>
                </a:cubicBezTo>
                <a:lnTo>
                  <a:pt x="5659647" y="733798"/>
                </a:lnTo>
                <a:cubicBezTo>
                  <a:pt x="5659477" y="733803"/>
                  <a:pt x="5659309" y="733808"/>
                  <a:pt x="5659141" y="733861"/>
                </a:cubicBezTo>
                <a:cubicBezTo>
                  <a:pt x="5608866" y="1086726"/>
                  <a:pt x="5327827" y="1367503"/>
                  <a:pt x="4968975" y="1426902"/>
                </a:cubicBezTo>
                <a:lnTo>
                  <a:pt x="4968859" y="1428050"/>
                </a:lnTo>
                <a:cubicBezTo>
                  <a:pt x="4963549" y="1429061"/>
                  <a:pt x="4958220" y="1430009"/>
                  <a:pt x="4952643" y="1429590"/>
                </a:cubicBezTo>
                <a:cubicBezTo>
                  <a:pt x="4921471" y="1435144"/>
                  <a:pt x="4889590" y="1438125"/>
                  <a:pt x="4857216" y="1438652"/>
                </a:cubicBezTo>
                <a:lnTo>
                  <a:pt x="4840098" y="1440278"/>
                </a:lnTo>
                <a:lnTo>
                  <a:pt x="4840072" y="1439783"/>
                </a:lnTo>
                <a:lnTo>
                  <a:pt x="4839573" y="1439816"/>
                </a:lnTo>
                <a:cubicBezTo>
                  <a:pt x="4839007" y="1436014"/>
                  <a:pt x="4838980" y="1432198"/>
                  <a:pt x="4838980" y="1428376"/>
                </a:cubicBezTo>
                <a:cubicBezTo>
                  <a:pt x="4838980" y="1422694"/>
                  <a:pt x="4839038" y="1417025"/>
                  <a:pt x="4840350" y="1411395"/>
                </a:cubicBezTo>
                <a:cubicBezTo>
                  <a:pt x="4840308" y="1380067"/>
                  <a:pt x="4842758" y="1349182"/>
                  <a:pt x="4847814" y="1318938"/>
                </a:cubicBezTo>
                <a:lnTo>
                  <a:pt x="4848355" y="1312248"/>
                </a:lnTo>
                <a:cubicBezTo>
                  <a:pt x="4848523" y="1312243"/>
                  <a:pt x="4848693" y="1312238"/>
                  <a:pt x="4848860" y="1312185"/>
                </a:cubicBezTo>
                <a:cubicBezTo>
                  <a:pt x="4899137" y="959319"/>
                  <a:pt x="5180176" y="678542"/>
                  <a:pt x="5539026" y="619144"/>
                </a:cubicBezTo>
                <a:lnTo>
                  <a:pt x="5539143" y="617996"/>
                </a:lnTo>
                <a:cubicBezTo>
                  <a:pt x="5544452" y="616986"/>
                  <a:pt x="5549780" y="616038"/>
                  <a:pt x="5555356" y="616457"/>
                </a:cubicBezTo>
                <a:cubicBezTo>
                  <a:pt x="5586539" y="610900"/>
                  <a:pt x="5618432" y="607919"/>
                  <a:pt x="5650817" y="607392"/>
                </a:cubicBezTo>
                <a:close/>
                <a:moveTo>
                  <a:pt x="3998505" y="605769"/>
                </a:moveTo>
                <a:lnTo>
                  <a:pt x="4015592" y="607392"/>
                </a:lnTo>
                <a:cubicBezTo>
                  <a:pt x="4047978" y="607919"/>
                  <a:pt x="4079870" y="610900"/>
                  <a:pt x="4111054" y="616457"/>
                </a:cubicBezTo>
                <a:cubicBezTo>
                  <a:pt x="4116630" y="616038"/>
                  <a:pt x="4121958" y="616986"/>
                  <a:pt x="4127266" y="617996"/>
                </a:cubicBezTo>
                <a:lnTo>
                  <a:pt x="4127384" y="619144"/>
                </a:lnTo>
                <a:cubicBezTo>
                  <a:pt x="4486234" y="678542"/>
                  <a:pt x="4767273" y="959319"/>
                  <a:pt x="4817549" y="1312185"/>
                </a:cubicBezTo>
                <a:cubicBezTo>
                  <a:pt x="4817717" y="1312238"/>
                  <a:pt x="4817886" y="1312243"/>
                  <a:pt x="4818055" y="1312248"/>
                </a:cubicBezTo>
                <a:lnTo>
                  <a:pt x="4818595" y="1318938"/>
                </a:lnTo>
                <a:cubicBezTo>
                  <a:pt x="4823652" y="1349182"/>
                  <a:pt x="4826101" y="1380067"/>
                  <a:pt x="4826059" y="1411395"/>
                </a:cubicBezTo>
                <a:cubicBezTo>
                  <a:pt x="4827371" y="1417025"/>
                  <a:pt x="4827430" y="1422694"/>
                  <a:pt x="4827430" y="1428376"/>
                </a:cubicBezTo>
                <a:cubicBezTo>
                  <a:pt x="4827430" y="1432198"/>
                  <a:pt x="4827403" y="1436014"/>
                  <a:pt x="4826837" y="1439816"/>
                </a:cubicBezTo>
                <a:lnTo>
                  <a:pt x="4826338" y="1439783"/>
                </a:lnTo>
                <a:lnTo>
                  <a:pt x="4826312" y="1440278"/>
                </a:lnTo>
                <a:lnTo>
                  <a:pt x="4809193" y="1438652"/>
                </a:lnTo>
                <a:cubicBezTo>
                  <a:pt x="4776819" y="1438125"/>
                  <a:pt x="4744939" y="1435144"/>
                  <a:pt x="4713767" y="1429590"/>
                </a:cubicBezTo>
                <a:cubicBezTo>
                  <a:pt x="4708190" y="1430009"/>
                  <a:pt x="4702861" y="1429061"/>
                  <a:pt x="4697550" y="1428050"/>
                </a:cubicBezTo>
                <a:lnTo>
                  <a:pt x="4697434" y="1426902"/>
                </a:lnTo>
                <a:cubicBezTo>
                  <a:pt x="4338583" y="1367503"/>
                  <a:pt x="4057544" y="1086726"/>
                  <a:pt x="4007268" y="733861"/>
                </a:cubicBezTo>
                <a:cubicBezTo>
                  <a:pt x="4007101" y="733808"/>
                  <a:pt x="4006932" y="733803"/>
                  <a:pt x="4006763" y="733798"/>
                </a:cubicBezTo>
                <a:lnTo>
                  <a:pt x="4006225" y="727122"/>
                </a:lnTo>
                <a:cubicBezTo>
                  <a:pt x="4001166" y="696872"/>
                  <a:pt x="3998715" y="665981"/>
                  <a:pt x="3998757" y="634646"/>
                </a:cubicBezTo>
                <a:cubicBezTo>
                  <a:pt x="3997445" y="629018"/>
                  <a:pt x="3997387" y="623351"/>
                  <a:pt x="3997387" y="617670"/>
                </a:cubicBezTo>
                <a:lnTo>
                  <a:pt x="3997981" y="606230"/>
                </a:lnTo>
                <a:lnTo>
                  <a:pt x="3998479" y="606263"/>
                </a:lnTo>
                <a:close/>
                <a:moveTo>
                  <a:pt x="3975754" y="605769"/>
                </a:moveTo>
                <a:lnTo>
                  <a:pt x="3975780" y="606263"/>
                </a:lnTo>
                <a:lnTo>
                  <a:pt x="3976278" y="606230"/>
                </a:lnTo>
                <a:lnTo>
                  <a:pt x="3976872" y="617670"/>
                </a:lnTo>
                <a:cubicBezTo>
                  <a:pt x="3976872" y="623351"/>
                  <a:pt x="3976813" y="629018"/>
                  <a:pt x="3975501" y="634646"/>
                </a:cubicBezTo>
                <a:cubicBezTo>
                  <a:pt x="3975543" y="665981"/>
                  <a:pt x="3973093" y="696872"/>
                  <a:pt x="3968034" y="727122"/>
                </a:cubicBezTo>
                <a:lnTo>
                  <a:pt x="3967496" y="733798"/>
                </a:lnTo>
                <a:cubicBezTo>
                  <a:pt x="3967326" y="733803"/>
                  <a:pt x="3967158" y="733808"/>
                  <a:pt x="3966990" y="733861"/>
                </a:cubicBezTo>
                <a:cubicBezTo>
                  <a:pt x="3916715" y="1086726"/>
                  <a:pt x="3635676" y="1367503"/>
                  <a:pt x="3276825" y="1426902"/>
                </a:cubicBezTo>
                <a:lnTo>
                  <a:pt x="3276708" y="1428050"/>
                </a:lnTo>
                <a:cubicBezTo>
                  <a:pt x="3271398" y="1429061"/>
                  <a:pt x="3266069" y="1430009"/>
                  <a:pt x="3260492" y="1429590"/>
                </a:cubicBezTo>
                <a:cubicBezTo>
                  <a:pt x="3229320" y="1435144"/>
                  <a:pt x="3197440" y="1438125"/>
                  <a:pt x="3165065" y="1438652"/>
                </a:cubicBezTo>
                <a:lnTo>
                  <a:pt x="3147947" y="1440278"/>
                </a:lnTo>
                <a:lnTo>
                  <a:pt x="3147921" y="1439783"/>
                </a:lnTo>
                <a:lnTo>
                  <a:pt x="3147422" y="1439816"/>
                </a:lnTo>
                <a:cubicBezTo>
                  <a:pt x="3146856" y="1436014"/>
                  <a:pt x="3146829" y="1432198"/>
                  <a:pt x="3146829" y="1428376"/>
                </a:cubicBezTo>
                <a:cubicBezTo>
                  <a:pt x="3146829" y="1422694"/>
                  <a:pt x="3146887" y="1417025"/>
                  <a:pt x="3148199" y="1411395"/>
                </a:cubicBezTo>
                <a:cubicBezTo>
                  <a:pt x="3148157" y="1380067"/>
                  <a:pt x="3150607" y="1349182"/>
                  <a:pt x="3155663" y="1318938"/>
                </a:cubicBezTo>
                <a:lnTo>
                  <a:pt x="3156204" y="1312248"/>
                </a:lnTo>
                <a:cubicBezTo>
                  <a:pt x="3156372" y="1312243"/>
                  <a:pt x="3156542" y="1312238"/>
                  <a:pt x="3156709" y="1312185"/>
                </a:cubicBezTo>
                <a:cubicBezTo>
                  <a:pt x="3206986" y="959319"/>
                  <a:pt x="3488025" y="678542"/>
                  <a:pt x="3846875" y="619144"/>
                </a:cubicBezTo>
                <a:lnTo>
                  <a:pt x="3846992" y="617996"/>
                </a:lnTo>
                <a:cubicBezTo>
                  <a:pt x="3852301" y="616986"/>
                  <a:pt x="3857629" y="616038"/>
                  <a:pt x="3863205" y="616457"/>
                </a:cubicBezTo>
                <a:cubicBezTo>
                  <a:pt x="3894388" y="610900"/>
                  <a:pt x="3926281" y="607919"/>
                  <a:pt x="3958666" y="607392"/>
                </a:cubicBezTo>
                <a:close/>
                <a:moveTo>
                  <a:pt x="2306354" y="605769"/>
                </a:moveTo>
                <a:lnTo>
                  <a:pt x="2323441" y="607392"/>
                </a:lnTo>
                <a:cubicBezTo>
                  <a:pt x="2355827" y="607919"/>
                  <a:pt x="2387719" y="610900"/>
                  <a:pt x="2418903" y="616457"/>
                </a:cubicBezTo>
                <a:cubicBezTo>
                  <a:pt x="2424479" y="616038"/>
                  <a:pt x="2429807" y="616986"/>
                  <a:pt x="2435115" y="617996"/>
                </a:cubicBezTo>
                <a:lnTo>
                  <a:pt x="2435233" y="619144"/>
                </a:lnTo>
                <a:cubicBezTo>
                  <a:pt x="2794083" y="678542"/>
                  <a:pt x="3075122" y="959319"/>
                  <a:pt x="3125398" y="1312185"/>
                </a:cubicBezTo>
                <a:cubicBezTo>
                  <a:pt x="3125566" y="1312238"/>
                  <a:pt x="3125735" y="1312243"/>
                  <a:pt x="3125904" y="1312248"/>
                </a:cubicBezTo>
                <a:lnTo>
                  <a:pt x="3126444" y="1318938"/>
                </a:lnTo>
                <a:cubicBezTo>
                  <a:pt x="3131501" y="1349182"/>
                  <a:pt x="3133950" y="1380067"/>
                  <a:pt x="3133908" y="1411395"/>
                </a:cubicBezTo>
                <a:cubicBezTo>
                  <a:pt x="3135220" y="1417025"/>
                  <a:pt x="3135279" y="1422694"/>
                  <a:pt x="3135279" y="1428376"/>
                </a:cubicBezTo>
                <a:cubicBezTo>
                  <a:pt x="3135279" y="1432198"/>
                  <a:pt x="3135252" y="1436014"/>
                  <a:pt x="3134686" y="1439816"/>
                </a:cubicBezTo>
                <a:lnTo>
                  <a:pt x="3134187" y="1439783"/>
                </a:lnTo>
                <a:lnTo>
                  <a:pt x="3134161" y="1440278"/>
                </a:lnTo>
                <a:lnTo>
                  <a:pt x="3117042" y="1438652"/>
                </a:lnTo>
                <a:cubicBezTo>
                  <a:pt x="3084668" y="1438125"/>
                  <a:pt x="3052788" y="1435144"/>
                  <a:pt x="3021616" y="1429590"/>
                </a:cubicBezTo>
                <a:cubicBezTo>
                  <a:pt x="3016039" y="1430009"/>
                  <a:pt x="3010710" y="1429061"/>
                  <a:pt x="3005399" y="1428050"/>
                </a:cubicBezTo>
                <a:lnTo>
                  <a:pt x="3005283" y="1426902"/>
                </a:lnTo>
                <a:cubicBezTo>
                  <a:pt x="2646432" y="1367503"/>
                  <a:pt x="2365393" y="1086726"/>
                  <a:pt x="2315117" y="733861"/>
                </a:cubicBezTo>
                <a:cubicBezTo>
                  <a:pt x="2314950" y="733808"/>
                  <a:pt x="2314781" y="733803"/>
                  <a:pt x="2314612" y="733798"/>
                </a:cubicBezTo>
                <a:lnTo>
                  <a:pt x="2314074" y="727122"/>
                </a:lnTo>
                <a:cubicBezTo>
                  <a:pt x="2309015" y="696872"/>
                  <a:pt x="2306564" y="665981"/>
                  <a:pt x="2306606" y="634646"/>
                </a:cubicBezTo>
                <a:cubicBezTo>
                  <a:pt x="2305294" y="629018"/>
                  <a:pt x="2305236" y="623351"/>
                  <a:pt x="2305236" y="617670"/>
                </a:cubicBezTo>
                <a:lnTo>
                  <a:pt x="2305830" y="606230"/>
                </a:lnTo>
                <a:lnTo>
                  <a:pt x="2306328" y="606263"/>
                </a:lnTo>
                <a:close/>
                <a:moveTo>
                  <a:pt x="2283603" y="605769"/>
                </a:moveTo>
                <a:lnTo>
                  <a:pt x="2283629" y="606263"/>
                </a:lnTo>
                <a:lnTo>
                  <a:pt x="2284127" y="606230"/>
                </a:lnTo>
                <a:lnTo>
                  <a:pt x="2284721" y="617670"/>
                </a:lnTo>
                <a:cubicBezTo>
                  <a:pt x="2284721" y="623351"/>
                  <a:pt x="2284662" y="629018"/>
                  <a:pt x="2283350" y="634646"/>
                </a:cubicBezTo>
                <a:cubicBezTo>
                  <a:pt x="2283392" y="665981"/>
                  <a:pt x="2280942" y="696872"/>
                  <a:pt x="2275883" y="727122"/>
                </a:cubicBezTo>
                <a:lnTo>
                  <a:pt x="2275345" y="733798"/>
                </a:lnTo>
                <a:cubicBezTo>
                  <a:pt x="2275175" y="733803"/>
                  <a:pt x="2275007" y="733808"/>
                  <a:pt x="2274839" y="733861"/>
                </a:cubicBezTo>
                <a:cubicBezTo>
                  <a:pt x="2224564" y="1086726"/>
                  <a:pt x="1943525" y="1367503"/>
                  <a:pt x="1584673" y="1426902"/>
                </a:cubicBezTo>
                <a:lnTo>
                  <a:pt x="1584557" y="1428050"/>
                </a:lnTo>
                <a:cubicBezTo>
                  <a:pt x="1579247" y="1429061"/>
                  <a:pt x="1573918" y="1430009"/>
                  <a:pt x="1568341" y="1429590"/>
                </a:cubicBezTo>
                <a:cubicBezTo>
                  <a:pt x="1537169" y="1435144"/>
                  <a:pt x="1505289" y="1438125"/>
                  <a:pt x="1472914" y="1438652"/>
                </a:cubicBezTo>
                <a:lnTo>
                  <a:pt x="1455796" y="1440278"/>
                </a:lnTo>
                <a:lnTo>
                  <a:pt x="1455770" y="1439783"/>
                </a:lnTo>
                <a:lnTo>
                  <a:pt x="1455271" y="1439816"/>
                </a:lnTo>
                <a:cubicBezTo>
                  <a:pt x="1454705" y="1436014"/>
                  <a:pt x="1454678" y="1432198"/>
                  <a:pt x="1454678" y="1428376"/>
                </a:cubicBezTo>
                <a:cubicBezTo>
                  <a:pt x="1454678" y="1422694"/>
                  <a:pt x="1454736" y="1417025"/>
                  <a:pt x="1456048" y="1411395"/>
                </a:cubicBezTo>
                <a:cubicBezTo>
                  <a:pt x="1456006" y="1380067"/>
                  <a:pt x="1458456" y="1349182"/>
                  <a:pt x="1463513" y="1318938"/>
                </a:cubicBezTo>
                <a:lnTo>
                  <a:pt x="1464053" y="1312248"/>
                </a:lnTo>
                <a:cubicBezTo>
                  <a:pt x="1464221" y="1312243"/>
                  <a:pt x="1464391" y="1312238"/>
                  <a:pt x="1464558" y="1312185"/>
                </a:cubicBezTo>
                <a:cubicBezTo>
                  <a:pt x="1514835" y="959319"/>
                  <a:pt x="1795874" y="678542"/>
                  <a:pt x="2154724" y="619144"/>
                </a:cubicBezTo>
                <a:lnTo>
                  <a:pt x="2154841" y="617996"/>
                </a:lnTo>
                <a:cubicBezTo>
                  <a:pt x="2160150" y="616986"/>
                  <a:pt x="2165478" y="616038"/>
                  <a:pt x="2171054" y="616457"/>
                </a:cubicBezTo>
                <a:cubicBezTo>
                  <a:pt x="2202237" y="610900"/>
                  <a:pt x="2234130" y="607919"/>
                  <a:pt x="2266515" y="607392"/>
                </a:cubicBezTo>
                <a:close/>
                <a:moveTo>
                  <a:pt x="614203" y="605769"/>
                </a:moveTo>
                <a:lnTo>
                  <a:pt x="631290" y="607392"/>
                </a:lnTo>
                <a:cubicBezTo>
                  <a:pt x="663676" y="607919"/>
                  <a:pt x="695568" y="610900"/>
                  <a:pt x="726752" y="616457"/>
                </a:cubicBezTo>
                <a:cubicBezTo>
                  <a:pt x="732328" y="616038"/>
                  <a:pt x="737656" y="616986"/>
                  <a:pt x="742964" y="617996"/>
                </a:cubicBezTo>
                <a:lnTo>
                  <a:pt x="743081" y="619144"/>
                </a:lnTo>
                <a:cubicBezTo>
                  <a:pt x="1101932" y="678542"/>
                  <a:pt x="1382971" y="959319"/>
                  <a:pt x="1433247" y="1312185"/>
                </a:cubicBezTo>
                <a:cubicBezTo>
                  <a:pt x="1433415" y="1312238"/>
                  <a:pt x="1433584" y="1312243"/>
                  <a:pt x="1433753" y="1312248"/>
                </a:cubicBezTo>
                <a:lnTo>
                  <a:pt x="1434293" y="1318938"/>
                </a:lnTo>
                <a:cubicBezTo>
                  <a:pt x="1439350" y="1349182"/>
                  <a:pt x="1441799" y="1380067"/>
                  <a:pt x="1441757" y="1411395"/>
                </a:cubicBezTo>
                <a:cubicBezTo>
                  <a:pt x="1443069" y="1417025"/>
                  <a:pt x="1443128" y="1422694"/>
                  <a:pt x="1443128" y="1428376"/>
                </a:cubicBezTo>
                <a:cubicBezTo>
                  <a:pt x="1443128" y="1432198"/>
                  <a:pt x="1443101" y="1436014"/>
                  <a:pt x="1442535" y="1439816"/>
                </a:cubicBezTo>
                <a:lnTo>
                  <a:pt x="1442036" y="1439783"/>
                </a:lnTo>
                <a:lnTo>
                  <a:pt x="1442010" y="1440278"/>
                </a:lnTo>
                <a:lnTo>
                  <a:pt x="1424891" y="1438652"/>
                </a:lnTo>
                <a:cubicBezTo>
                  <a:pt x="1392517" y="1438125"/>
                  <a:pt x="1360637" y="1435144"/>
                  <a:pt x="1329465" y="1429590"/>
                </a:cubicBezTo>
                <a:cubicBezTo>
                  <a:pt x="1323888" y="1430009"/>
                  <a:pt x="1318559" y="1429061"/>
                  <a:pt x="1313248" y="1428050"/>
                </a:cubicBezTo>
                <a:lnTo>
                  <a:pt x="1313132" y="1426902"/>
                </a:lnTo>
                <a:cubicBezTo>
                  <a:pt x="954281" y="1367503"/>
                  <a:pt x="673242" y="1086726"/>
                  <a:pt x="622966" y="733861"/>
                </a:cubicBezTo>
                <a:cubicBezTo>
                  <a:pt x="622799" y="733808"/>
                  <a:pt x="622630" y="733803"/>
                  <a:pt x="622461" y="733798"/>
                </a:cubicBezTo>
                <a:lnTo>
                  <a:pt x="621923" y="727122"/>
                </a:lnTo>
                <a:cubicBezTo>
                  <a:pt x="616864" y="696872"/>
                  <a:pt x="614413" y="665981"/>
                  <a:pt x="614455" y="634646"/>
                </a:cubicBezTo>
                <a:cubicBezTo>
                  <a:pt x="613143" y="629018"/>
                  <a:pt x="613085" y="623351"/>
                  <a:pt x="613085" y="617670"/>
                </a:cubicBezTo>
                <a:lnTo>
                  <a:pt x="613679" y="606230"/>
                </a:lnTo>
                <a:lnTo>
                  <a:pt x="614177" y="606263"/>
                </a:lnTo>
                <a:close/>
                <a:moveTo>
                  <a:pt x="7360056" y="605769"/>
                </a:moveTo>
                <a:lnTo>
                  <a:pt x="7360082" y="606263"/>
                </a:lnTo>
                <a:lnTo>
                  <a:pt x="7360580" y="606230"/>
                </a:lnTo>
                <a:lnTo>
                  <a:pt x="7361174" y="617670"/>
                </a:lnTo>
                <a:cubicBezTo>
                  <a:pt x="7361174" y="623351"/>
                  <a:pt x="7361116" y="629018"/>
                  <a:pt x="7359804" y="634646"/>
                </a:cubicBezTo>
                <a:cubicBezTo>
                  <a:pt x="7359846" y="665981"/>
                  <a:pt x="7357395" y="696872"/>
                  <a:pt x="7352337" y="727122"/>
                </a:cubicBezTo>
                <a:lnTo>
                  <a:pt x="7351798" y="733798"/>
                </a:lnTo>
                <a:cubicBezTo>
                  <a:pt x="7351629" y="733803"/>
                  <a:pt x="7351460" y="733808"/>
                  <a:pt x="7351293" y="733861"/>
                </a:cubicBezTo>
                <a:cubicBezTo>
                  <a:pt x="7301017" y="1086726"/>
                  <a:pt x="7019978" y="1367503"/>
                  <a:pt x="6661127" y="1426902"/>
                </a:cubicBezTo>
                <a:lnTo>
                  <a:pt x="6661011" y="1428050"/>
                </a:lnTo>
                <a:cubicBezTo>
                  <a:pt x="6655700" y="1429061"/>
                  <a:pt x="6650371" y="1430009"/>
                  <a:pt x="6644794" y="1429590"/>
                </a:cubicBezTo>
                <a:cubicBezTo>
                  <a:pt x="6613622" y="1435144"/>
                  <a:pt x="6581742" y="1438125"/>
                  <a:pt x="6549368" y="1438652"/>
                </a:cubicBezTo>
                <a:lnTo>
                  <a:pt x="6532249" y="1440278"/>
                </a:lnTo>
                <a:lnTo>
                  <a:pt x="6532223" y="1439783"/>
                </a:lnTo>
                <a:lnTo>
                  <a:pt x="6531724" y="1439816"/>
                </a:lnTo>
                <a:cubicBezTo>
                  <a:pt x="6531158" y="1436014"/>
                  <a:pt x="6531131" y="1432198"/>
                  <a:pt x="6531131" y="1428376"/>
                </a:cubicBezTo>
                <a:cubicBezTo>
                  <a:pt x="6531131" y="1422694"/>
                  <a:pt x="6531190" y="1417025"/>
                  <a:pt x="6532502" y="1411395"/>
                </a:cubicBezTo>
                <a:cubicBezTo>
                  <a:pt x="6532460" y="1380067"/>
                  <a:pt x="6534909" y="1349182"/>
                  <a:pt x="6539966" y="1318938"/>
                </a:cubicBezTo>
                <a:lnTo>
                  <a:pt x="6540506" y="1312248"/>
                </a:lnTo>
                <a:cubicBezTo>
                  <a:pt x="6540675" y="1312243"/>
                  <a:pt x="6540844" y="1312238"/>
                  <a:pt x="6541012" y="1312185"/>
                </a:cubicBezTo>
                <a:cubicBezTo>
                  <a:pt x="6591288" y="959319"/>
                  <a:pt x="6872327" y="678542"/>
                  <a:pt x="7231178" y="619144"/>
                </a:cubicBezTo>
                <a:lnTo>
                  <a:pt x="7231295" y="617996"/>
                </a:lnTo>
                <a:cubicBezTo>
                  <a:pt x="7236603" y="616986"/>
                  <a:pt x="7241931" y="616038"/>
                  <a:pt x="7247507" y="616457"/>
                </a:cubicBezTo>
                <a:cubicBezTo>
                  <a:pt x="7278691" y="610900"/>
                  <a:pt x="7310583" y="607919"/>
                  <a:pt x="7342969" y="607392"/>
                </a:cubicBezTo>
                <a:close/>
                <a:moveTo>
                  <a:pt x="591452" y="605769"/>
                </a:moveTo>
                <a:lnTo>
                  <a:pt x="591478" y="606263"/>
                </a:lnTo>
                <a:lnTo>
                  <a:pt x="591976" y="606230"/>
                </a:lnTo>
                <a:lnTo>
                  <a:pt x="592570" y="617670"/>
                </a:lnTo>
                <a:cubicBezTo>
                  <a:pt x="592570" y="623351"/>
                  <a:pt x="592511" y="629018"/>
                  <a:pt x="591199" y="634646"/>
                </a:cubicBezTo>
                <a:cubicBezTo>
                  <a:pt x="591242" y="665981"/>
                  <a:pt x="588791" y="696872"/>
                  <a:pt x="583732" y="727122"/>
                </a:cubicBezTo>
                <a:lnTo>
                  <a:pt x="583194" y="733798"/>
                </a:lnTo>
                <a:cubicBezTo>
                  <a:pt x="583024" y="733803"/>
                  <a:pt x="582856" y="733808"/>
                  <a:pt x="582689" y="733861"/>
                </a:cubicBezTo>
                <a:cubicBezTo>
                  <a:pt x="537576" y="1050490"/>
                  <a:pt x="306662" y="1309076"/>
                  <a:pt x="0" y="1400276"/>
                </a:cubicBezTo>
                <a:lnTo>
                  <a:pt x="0" y="1267938"/>
                </a:lnTo>
                <a:cubicBezTo>
                  <a:pt x="229298" y="1185101"/>
                  <a:pt x="402181" y="989705"/>
                  <a:pt x="449203" y="750600"/>
                </a:cubicBezTo>
                <a:cubicBezTo>
                  <a:pt x="258971" y="791484"/>
                  <a:pt x="97576" y="906749"/>
                  <a:pt x="0" y="1064489"/>
                </a:cubicBezTo>
                <a:lnTo>
                  <a:pt x="0" y="857695"/>
                </a:lnTo>
                <a:cubicBezTo>
                  <a:pt x="121484" y="734788"/>
                  <a:pt x="282199" y="649000"/>
                  <a:pt x="462573" y="619144"/>
                </a:cubicBezTo>
                <a:lnTo>
                  <a:pt x="462690" y="617996"/>
                </a:lnTo>
                <a:cubicBezTo>
                  <a:pt x="467999" y="616986"/>
                  <a:pt x="473327" y="616038"/>
                  <a:pt x="478903" y="616457"/>
                </a:cubicBezTo>
                <a:cubicBezTo>
                  <a:pt x="510086" y="610900"/>
                  <a:pt x="541979" y="607919"/>
                  <a:pt x="574365" y="607392"/>
                </a:cubicBezTo>
                <a:close/>
                <a:moveTo>
                  <a:pt x="11969013" y="0"/>
                </a:moveTo>
                <a:lnTo>
                  <a:pt x="12180097" y="0"/>
                </a:lnTo>
                <a:cubicBezTo>
                  <a:pt x="12184579" y="2797"/>
                  <a:pt x="12188307" y="6390"/>
                  <a:pt x="12192000" y="10016"/>
                </a:cubicBezTo>
                <a:lnTo>
                  <a:pt x="12192000" y="210008"/>
                </a:lnTo>
                <a:cubicBezTo>
                  <a:pt x="12135666" y="124006"/>
                  <a:pt x="12059786" y="51396"/>
                  <a:pt x="11969013" y="0"/>
                </a:cubicBezTo>
                <a:close/>
                <a:moveTo>
                  <a:pt x="11640695" y="0"/>
                </a:moveTo>
                <a:lnTo>
                  <a:pt x="11775234" y="0"/>
                </a:lnTo>
                <a:cubicBezTo>
                  <a:pt x="11842228" y="193636"/>
                  <a:pt x="11995970" y="348667"/>
                  <a:pt x="12192000" y="421829"/>
                </a:cubicBezTo>
                <a:lnTo>
                  <a:pt x="12192000" y="553832"/>
                </a:lnTo>
                <a:cubicBezTo>
                  <a:pt x="11924422" y="471599"/>
                  <a:pt x="11715712" y="262771"/>
                  <a:pt x="11640695" y="0"/>
                </a:cubicBezTo>
                <a:close/>
                <a:moveTo>
                  <a:pt x="11023379" y="0"/>
                </a:moveTo>
                <a:lnTo>
                  <a:pt x="11232088" y="0"/>
                </a:lnTo>
                <a:cubicBezTo>
                  <a:pt x="11066618" y="98005"/>
                  <a:pt x="10947209" y="260867"/>
                  <a:pt x="10909358" y="451830"/>
                </a:cubicBezTo>
                <a:cubicBezTo>
                  <a:pt x="11153410" y="399791"/>
                  <a:pt x="11350000" y="226290"/>
                  <a:pt x="11427896" y="0"/>
                </a:cubicBezTo>
                <a:lnTo>
                  <a:pt x="11561912" y="0"/>
                </a:lnTo>
                <a:cubicBezTo>
                  <a:pt x="11477134" y="299826"/>
                  <a:pt x="11217862" y="529393"/>
                  <a:pt x="10895987" y="582253"/>
                </a:cubicBezTo>
                <a:lnTo>
                  <a:pt x="10895871" y="583392"/>
                </a:lnTo>
                <a:cubicBezTo>
                  <a:pt x="10890560" y="584395"/>
                  <a:pt x="10885231" y="585336"/>
                  <a:pt x="10879654" y="584920"/>
                </a:cubicBezTo>
                <a:cubicBezTo>
                  <a:pt x="10848482" y="590430"/>
                  <a:pt x="10816602" y="593388"/>
                  <a:pt x="10784227" y="593911"/>
                </a:cubicBezTo>
                <a:lnTo>
                  <a:pt x="10767109" y="595524"/>
                </a:lnTo>
                <a:lnTo>
                  <a:pt x="10767083" y="595033"/>
                </a:lnTo>
                <a:lnTo>
                  <a:pt x="10766584" y="595066"/>
                </a:lnTo>
                <a:cubicBezTo>
                  <a:pt x="10766018" y="591293"/>
                  <a:pt x="10765991" y="587507"/>
                  <a:pt x="10765991" y="583715"/>
                </a:cubicBezTo>
                <a:cubicBezTo>
                  <a:pt x="10765991" y="578078"/>
                  <a:pt x="10766050" y="572454"/>
                  <a:pt x="10767362" y="566868"/>
                </a:cubicBezTo>
                <a:cubicBezTo>
                  <a:pt x="10767319" y="535786"/>
                  <a:pt x="10769769" y="505143"/>
                  <a:pt x="10774826" y="475137"/>
                </a:cubicBezTo>
                <a:lnTo>
                  <a:pt x="10775366" y="468500"/>
                </a:lnTo>
                <a:cubicBezTo>
                  <a:pt x="10775535" y="468495"/>
                  <a:pt x="10775704" y="468490"/>
                  <a:pt x="10775872" y="468437"/>
                </a:cubicBezTo>
                <a:cubicBezTo>
                  <a:pt x="10802174" y="285283"/>
                  <a:pt x="10891635" y="121704"/>
                  <a:pt x="11023379" y="0"/>
                </a:cubicBezTo>
                <a:close/>
                <a:moveTo>
                  <a:pt x="9949555" y="0"/>
                </a:moveTo>
                <a:lnTo>
                  <a:pt x="10083571" y="0"/>
                </a:lnTo>
                <a:cubicBezTo>
                  <a:pt x="10161467" y="226290"/>
                  <a:pt x="10358057" y="399791"/>
                  <a:pt x="10602109" y="451830"/>
                </a:cubicBezTo>
                <a:cubicBezTo>
                  <a:pt x="10564258" y="260867"/>
                  <a:pt x="10444849" y="98005"/>
                  <a:pt x="10279379" y="0"/>
                </a:cubicBezTo>
                <a:lnTo>
                  <a:pt x="10488089" y="0"/>
                </a:lnTo>
                <a:cubicBezTo>
                  <a:pt x="10619833" y="121704"/>
                  <a:pt x="10709293" y="285283"/>
                  <a:pt x="10735596" y="468437"/>
                </a:cubicBezTo>
                <a:cubicBezTo>
                  <a:pt x="10735763" y="468490"/>
                  <a:pt x="10735932" y="468495"/>
                  <a:pt x="10736101" y="468500"/>
                </a:cubicBezTo>
                <a:lnTo>
                  <a:pt x="10736641" y="475137"/>
                </a:lnTo>
                <a:cubicBezTo>
                  <a:pt x="10741698" y="505143"/>
                  <a:pt x="10744148" y="535786"/>
                  <a:pt x="10744105" y="566868"/>
                </a:cubicBezTo>
                <a:cubicBezTo>
                  <a:pt x="10745417" y="572454"/>
                  <a:pt x="10745476" y="578078"/>
                  <a:pt x="10745476" y="583715"/>
                </a:cubicBezTo>
                <a:cubicBezTo>
                  <a:pt x="10745476" y="587507"/>
                  <a:pt x="10745449" y="591293"/>
                  <a:pt x="10744883" y="595066"/>
                </a:cubicBezTo>
                <a:lnTo>
                  <a:pt x="10744384" y="595033"/>
                </a:lnTo>
                <a:lnTo>
                  <a:pt x="10744358" y="595524"/>
                </a:lnTo>
                <a:lnTo>
                  <a:pt x="10727240" y="593911"/>
                </a:lnTo>
                <a:cubicBezTo>
                  <a:pt x="10694865" y="593388"/>
                  <a:pt x="10662985" y="590430"/>
                  <a:pt x="10631813" y="584920"/>
                </a:cubicBezTo>
                <a:cubicBezTo>
                  <a:pt x="10626236" y="585336"/>
                  <a:pt x="10620907" y="584395"/>
                  <a:pt x="10615596" y="583392"/>
                </a:cubicBezTo>
                <a:lnTo>
                  <a:pt x="10615480" y="582253"/>
                </a:lnTo>
                <a:cubicBezTo>
                  <a:pt x="10293605" y="529393"/>
                  <a:pt x="10034333" y="299826"/>
                  <a:pt x="9949555" y="0"/>
                </a:cubicBezTo>
                <a:close/>
                <a:moveTo>
                  <a:pt x="9331225" y="0"/>
                </a:moveTo>
                <a:lnTo>
                  <a:pt x="9539935" y="0"/>
                </a:lnTo>
                <a:cubicBezTo>
                  <a:pt x="9374465" y="98005"/>
                  <a:pt x="9255056" y="260867"/>
                  <a:pt x="9217205" y="451830"/>
                </a:cubicBezTo>
                <a:cubicBezTo>
                  <a:pt x="9461257" y="399791"/>
                  <a:pt x="9657847" y="226290"/>
                  <a:pt x="9735743" y="0"/>
                </a:cubicBezTo>
                <a:lnTo>
                  <a:pt x="9869759" y="0"/>
                </a:lnTo>
                <a:cubicBezTo>
                  <a:pt x="9784981" y="299826"/>
                  <a:pt x="9525709" y="529393"/>
                  <a:pt x="9203834" y="582253"/>
                </a:cubicBezTo>
                <a:lnTo>
                  <a:pt x="9203718" y="583392"/>
                </a:lnTo>
                <a:cubicBezTo>
                  <a:pt x="9198407" y="584395"/>
                  <a:pt x="9193078" y="585336"/>
                  <a:pt x="9187501" y="584920"/>
                </a:cubicBezTo>
                <a:cubicBezTo>
                  <a:pt x="9156329" y="590430"/>
                  <a:pt x="9124449" y="593388"/>
                  <a:pt x="9092074" y="593911"/>
                </a:cubicBezTo>
                <a:lnTo>
                  <a:pt x="9074956" y="595524"/>
                </a:lnTo>
                <a:lnTo>
                  <a:pt x="9074930" y="595033"/>
                </a:lnTo>
                <a:lnTo>
                  <a:pt x="9074431" y="595066"/>
                </a:lnTo>
                <a:cubicBezTo>
                  <a:pt x="9073865" y="591293"/>
                  <a:pt x="9073838" y="587507"/>
                  <a:pt x="9073838" y="583715"/>
                </a:cubicBezTo>
                <a:cubicBezTo>
                  <a:pt x="9073838" y="578078"/>
                  <a:pt x="9073897" y="572454"/>
                  <a:pt x="9075209" y="566868"/>
                </a:cubicBezTo>
                <a:cubicBezTo>
                  <a:pt x="9075166" y="535786"/>
                  <a:pt x="9077616" y="505143"/>
                  <a:pt x="9082673" y="475137"/>
                </a:cubicBezTo>
                <a:lnTo>
                  <a:pt x="9083213" y="468500"/>
                </a:lnTo>
                <a:cubicBezTo>
                  <a:pt x="9083382" y="468495"/>
                  <a:pt x="9083551" y="468490"/>
                  <a:pt x="9083718" y="468437"/>
                </a:cubicBezTo>
                <a:cubicBezTo>
                  <a:pt x="9110021" y="285283"/>
                  <a:pt x="9199481" y="121704"/>
                  <a:pt x="9331225" y="0"/>
                </a:cubicBezTo>
                <a:close/>
                <a:moveTo>
                  <a:pt x="8257405" y="0"/>
                </a:moveTo>
                <a:lnTo>
                  <a:pt x="8391420" y="0"/>
                </a:lnTo>
                <a:cubicBezTo>
                  <a:pt x="8469316" y="226290"/>
                  <a:pt x="8665906" y="399791"/>
                  <a:pt x="8909958" y="451830"/>
                </a:cubicBezTo>
                <a:cubicBezTo>
                  <a:pt x="8872107" y="260867"/>
                  <a:pt x="8752698" y="98005"/>
                  <a:pt x="8587228" y="0"/>
                </a:cubicBezTo>
                <a:lnTo>
                  <a:pt x="8795937" y="0"/>
                </a:lnTo>
                <a:cubicBezTo>
                  <a:pt x="8927681" y="121704"/>
                  <a:pt x="9017142" y="285283"/>
                  <a:pt x="9043444" y="468437"/>
                </a:cubicBezTo>
                <a:cubicBezTo>
                  <a:pt x="9043612" y="468490"/>
                  <a:pt x="9043781" y="468495"/>
                  <a:pt x="9043950" y="468500"/>
                </a:cubicBezTo>
                <a:lnTo>
                  <a:pt x="9044490" y="475137"/>
                </a:lnTo>
                <a:cubicBezTo>
                  <a:pt x="9049547" y="505143"/>
                  <a:pt x="9051997" y="535786"/>
                  <a:pt x="9051954" y="566868"/>
                </a:cubicBezTo>
                <a:cubicBezTo>
                  <a:pt x="9053266" y="572454"/>
                  <a:pt x="9053325" y="578078"/>
                  <a:pt x="9053325" y="583715"/>
                </a:cubicBezTo>
                <a:cubicBezTo>
                  <a:pt x="9053325" y="587507"/>
                  <a:pt x="9053298" y="591293"/>
                  <a:pt x="9052732" y="595066"/>
                </a:cubicBezTo>
                <a:lnTo>
                  <a:pt x="9052233" y="595033"/>
                </a:lnTo>
                <a:lnTo>
                  <a:pt x="9052207" y="595524"/>
                </a:lnTo>
                <a:lnTo>
                  <a:pt x="9035089" y="593911"/>
                </a:lnTo>
                <a:cubicBezTo>
                  <a:pt x="9002714" y="593388"/>
                  <a:pt x="8970834" y="590430"/>
                  <a:pt x="8939662" y="584920"/>
                </a:cubicBezTo>
                <a:cubicBezTo>
                  <a:pt x="8934085" y="585336"/>
                  <a:pt x="8928756" y="584395"/>
                  <a:pt x="8923445" y="583392"/>
                </a:cubicBezTo>
                <a:lnTo>
                  <a:pt x="8923329" y="582253"/>
                </a:lnTo>
                <a:cubicBezTo>
                  <a:pt x="8601454" y="529393"/>
                  <a:pt x="8342182" y="299826"/>
                  <a:pt x="8257405" y="0"/>
                </a:cubicBezTo>
                <a:close/>
                <a:moveTo>
                  <a:pt x="7639075" y="0"/>
                </a:moveTo>
                <a:lnTo>
                  <a:pt x="7847784" y="0"/>
                </a:lnTo>
                <a:cubicBezTo>
                  <a:pt x="7682314" y="98005"/>
                  <a:pt x="7562905" y="260867"/>
                  <a:pt x="7525054" y="451830"/>
                </a:cubicBezTo>
                <a:cubicBezTo>
                  <a:pt x="7769107" y="399791"/>
                  <a:pt x="7965696" y="226290"/>
                  <a:pt x="8043592" y="0"/>
                </a:cubicBezTo>
                <a:lnTo>
                  <a:pt x="8177609" y="0"/>
                </a:lnTo>
                <a:cubicBezTo>
                  <a:pt x="8092830" y="299826"/>
                  <a:pt x="7833558" y="529393"/>
                  <a:pt x="7511683" y="582253"/>
                </a:cubicBezTo>
                <a:lnTo>
                  <a:pt x="7511567" y="583392"/>
                </a:lnTo>
                <a:cubicBezTo>
                  <a:pt x="7506256" y="584395"/>
                  <a:pt x="7500927" y="585336"/>
                  <a:pt x="7495350" y="584920"/>
                </a:cubicBezTo>
                <a:cubicBezTo>
                  <a:pt x="7464178" y="590430"/>
                  <a:pt x="7432298" y="593388"/>
                  <a:pt x="7399924" y="593911"/>
                </a:cubicBezTo>
                <a:lnTo>
                  <a:pt x="7382805" y="595524"/>
                </a:lnTo>
                <a:lnTo>
                  <a:pt x="7382779" y="595033"/>
                </a:lnTo>
                <a:lnTo>
                  <a:pt x="7382280" y="595066"/>
                </a:lnTo>
                <a:cubicBezTo>
                  <a:pt x="7381714" y="591293"/>
                  <a:pt x="7381687" y="587507"/>
                  <a:pt x="7381687" y="583715"/>
                </a:cubicBezTo>
                <a:cubicBezTo>
                  <a:pt x="7381687" y="578078"/>
                  <a:pt x="7381746" y="572454"/>
                  <a:pt x="7383058" y="566868"/>
                </a:cubicBezTo>
                <a:cubicBezTo>
                  <a:pt x="7383016" y="535786"/>
                  <a:pt x="7385465" y="505143"/>
                  <a:pt x="7390522" y="475137"/>
                </a:cubicBezTo>
                <a:lnTo>
                  <a:pt x="7391062" y="468500"/>
                </a:lnTo>
                <a:cubicBezTo>
                  <a:pt x="7391231" y="468495"/>
                  <a:pt x="7391400" y="468490"/>
                  <a:pt x="7391568" y="468437"/>
                </a:cubicBezTo>
                <a:cubicBezTo>
                  <a:pt x="7417870" y="285283"/>
                  <a:pt x="7507331" y="121703"/>
                  <a:pt x="7639075" y="0"/>
                </a:cubicBezTo>
                <a:close/>
                <a:moveTo>
                  <a:pt x="6565254" y="0"/>
                </a:moveTo>
                <a:lnTo>
                  <a:pt x="6699270" y="0"/>
                </a:lnTo>
                <a:cubicBezTo>
                  <a:pt x="6777166" y="226290"/>
                  <a:pt x="6973755" y="399791"/>
                  <a:pt x="7217807" y="451830"/>
                </a:cubicBezTo>
                <a:cubicBezTo>
                  <a:pt x="7179956" y="260867"/>
                  <a:pt x="7060547" y="98005"/>
                  <a:pt x="6895077" y="0"/>
                </a:cubicBezTo>
                <a:lnTo>
                  <a:pt x="7103787" y="0"/>
                </a:lnTo>
                <a:cubicBezTo>
                  <a:pt x="7235531" y="121704"/>
                  <a:pt x="7324992" y="285283"/>
                  <a:pt x="7351294" y="468437"/>
                </a:cubicBezTo>
                <a:cubicBezTo>
                  <a:pt x="7351461" y="468490"/>
                  <a:pt x="7351631" y="468495"/>
                  <a:pt x="7351799" y="468500"/>
                </a:cubicBezTo>
                <a:lnTo>
                  <a:pt x="7352340" y="475137"/>
                </a:lnTo>
                <a:cubicBezTo>
                  <a:pt x="7357396" y="505143"/>
                  <a:pt x="7359846" y="535786"/>
                  <a:pt x="7359804" y="566868"/>
                </a:cubicBezTo>
                <a:cubicBezTo>
                  <a:pt x="7361116" y="572454"/>
                  <a:pt x="7361174" y="578078"/>
                  <a:pt x="7361174" y="583715"/>
                </a:cubicBezTo>
                <a:cubicBezTo>
                  <a:pt x="7361174" y="587507"/>
                  <a:pt x="7361147" y="591293"/>
                  <a:pt x="7360581" y="595066"/>
                </a:cubicBezTo>
                <a:lnTo>
                  <a:pt x="7360082" y="595033"/>
                </a:lnTo>
                <a:lnTo>
                  <a:pt x="7360056" y="595524"/>
                </a:lnTo>
                <a:lnTo>
                  <a:pt x="7342938" y="593911"/>
                </a:lnTo>
                <a:cubicBezTo>
                  <a:pt x="7310564" y="593388"/>
                  <a:pt x="7278683" y="590430"/>
                  <a:pt x="7247511" y="584920"/>
                </a:cubicBezTo>
                <a:cubicBezTo>
                  <a:pt x="7241934" y="585336"/>
                  <a:pt x="7236605" y="584395"/>
                  <a:pt x="7231295" y="583392"/>
                </a:cubicBezTo>
                <a:lnTo>
                  <a:pt x="7231179" y="582253"/>
                </a:lnTo>
                <a:cubicBezTo>
                  <a:pt x="6909304" y="529393"/>
                  <a:pt x="6650032" y="299826"/>
                  <a:pt x="6565254" y="0"/>
                </a:cubicBezTo>
                <a:close/>
                <a:moveTo>
                  <a:pt x="5946924" y="0"/>
                </a:moveTo>
                <a:lnTo>
                  <a:pt x="6155633" y="0"/>
                </a:lnTo>
                <a:cubicBezTo>
                  <a:pt x="5990163" y="98005"/>
                  <a:pt x="5870754" y="260867"/>
                  <a:pt x="5832903" y="451830"/>
                </a:cubicBezTo>
                <a:cubicBezTo>
                  <a:pt x="6076956" y="399791"/>
                  <a:pt x="6273545" y="226290"/>
                  <a:pt x="6351441" y="0"/>
                </a:cubicBezTo>
                <a:lnTo>
                  <a:pt x="6485457" y="0"/>
                </a:lnTo>
                <a:cubicBezTo>
                  <a:pt x="6400679" y="299826"/>
                  <a:pt x="6141407" y="529393"/>
                  <a:pt x="5819531" y="582253"/>
                </a:cubicBezTo>
                <a:lnTo>
                  <a:pt x="5819415" y="583392"/>
                </a:lnTo>
                <a:cubicBezTo>
                  <a:pt x="5814105" y="584395"/>
                  <a:pt x="5808776" y="585336"/>
                  <a:pt x="5803199" y="584920"/>
                </a:cubicBezTo>
                <a:cubicBezTo>
                  <a:pt x="5772027" y="590430"/>
                  <a:pt x="5740146" y="593388"/>
                  <a:pt x="5707772" y="593911"/>
                </a:cubicBezTo>
                <a:lnTo>
                  <a:pt x="5690654" y="595524"/>
                </a:lnTo>
                <a:lnTo>
                  <a:pt x="5690628" y="595033"/>
                </a:lnTo>
                <a:lnTo>
                  <a:pt x="5690129" y="595066"/>
                </a:lnTo>
                <a:cubicBezTo>
                  <a:pt x="5689563" y="591293"/>
                  <a:pt x="5689536" y="587507"/>
                  <a:pt x="5689536" y="583715"/>
                </a:cubicBezTo>
                <a:cubicBezTo>
                  <a:pt x="5689536" y="578078"/>
                  <a:pt x="5689594" y="572454"/>
                  <a:pt x="5690906" y="566868"/>
                </a:cubicBezTo>
                <a:cubicBezTo>
                  <a:pt x="5690864" y="535786"/>
                  <a:pt x="5693314" y="505143"/>
                  <a:pt x="5698370" y="475137"/>
                </a:cubicBezTo>
                <a:lnTo>
                  <a:pt x="5698911" y="468500"/>
                </a:lnTo>
                <a:cubicBezTo>
                  <a:pt x="5699079" y="468495"/>
                  <a:pt x="5699249" y="468490"/>
                  <a:pt x="5699416" y="468437"/>
                </a:cubicBezTo>
                <a:cubicBezTo>
                  <a:pt x="5725719" y="285283"/>
                  <a:pt x="5815180" y="121704"/>
                  <a:pt x="5946924" y="0"/>
                </a:cubicBezTo>
                <a:close/>
                <a:moveTo>
                  <a:pt x="4873102" y="0"/>
                </a:moveTo>
                <a:lnTo>
                  <a:pt x="5007119" y="0"/>
                </a:lnTo>
                <a:cubicBezTo>
                  <a:pt x="5085015" y="226291"/>
                  <a:pt x="5281604" y="399791"/>
                  <a:pt x="5525656" y="451830"/>
                </a:cubicBezTo>
                <a:cubicBezTo>
                  <a:pt x="5487805" y="260867"/>
                  <a:pt x="5368397" y="98005"/>
                  <a:pt x="5202927" y="0"/>
                </a:cubicBezTo>
                <a:lnTo>
                  <a:pt x="5411635" y="0"/>
                </a:lnTo>
                <a:cubicBezTo>
                  <a:pt x="5543380" y="121703"/>
                  <a:pt x="5632840" y="285283"/>
                  <a:pt x="5659142" y="468437"/>
                </a:cubicBezTo>
                <a:cubicBezTo>
                  <a:pt x="5659310" y="468490"/>
                  <a:pt x="5659479" y="468495"/>
                  <a:pt x="5659648" y="468499"/>
                </a:cubicBezTo>
                <a:lnTo>
                  <a:pt x="5660188" y="475137"/>
                </a:lnTo>
                <a:cubicBezTo>
                  <a:pt x="5665245" y="505143"/>
                  <a:pt x="5667694" y="535786"/>
                  <a:pt x="5667652" y="566868"/>
                </a:cubicBezTo>
                <a:cubicBezTo>
                  <a:pt x="5668964" y="572454"/>
                  <a:pt x="5669023" y="578078"/>
                  <a:pt x="5669023" y="583715"/>
                </a:cubicBezTo>
                <a:cubicBezTo>
                  <a:pt x="5669023" y="587508"/>
                  <a:pt x="5668996" y="591293"/>
                  <a:pt x="5668430" y="595066"/>
                </a:cubicBezTo>
                <a:lnTo>
                  <a:pt x="5667931" y="595033"/>
                </a:lnTo>
                <a:lnTo>
                  <a:pt x="5667905" y="595524"/>
                </a:lnTo>
                <a:lnTo>
                  <a:pt x="5650786" y="593911"/>
                </a:lnTo>
                <a:cubicBezTo>
                  <a:pt x="5618412" y="593388"/>
                  <a:pt x="5586532" y="590430"/>
                  <a:pt x="5555360" y="584920"/>
                </a:cubicBezTo>
                <a:cubicBezTo>
                  <a:pt x="5549783" y="585336"/>
                  <a:pt x="5544454" y="584395"/>
                  <a:pt x="5539143" y="583392"/>
                </a:cubicBezTo>
                <a:lnTo>
                  <a:pt x="5539027" y="582253"/>
                </a:lnTo>
                <a:cubicBezTo>
                  <a:pt x="5217153" y="529393"/>
                  <a:pt x="4957881" y="299826"/>
                  <a:pt x="4873102" y="0"/>
                </a:cubicBezTo>
                <a:close/>
                <a:moveTo>
                  <a:pt x="4254773" y="0"/>
                </a:moveTo>
                <a:lnTo>
                  <a:pt x="4463482" y="0"/>
                </a:lnTo>
                <a:cubicBezTo>
                  <a:pt x="4298012" y="98005"/>
                  <a:pt x="4178603" y="260867"/>
                  <a:pt x="4140752" y="451830"/>
                </a:cubicBezTo>
                <a:cubicBezTo>
                  <a:pt x="4384804" y="399791"/>
                  <a:pt x="4581394" y="226291"/>
                  <a:pt x="4659290" y="0"/>
                </a:cubicBezTo>
                <a:lnTo>
                  <a:pt x="4793306" y="0"/>
                </a:lnTo>
                <a:cubicBezTo>
                  <a:pt x="4708528" y="299826"/>
                  <a:pt x="4449256" y="529393"/>
                  <a:pt x="4127381" y="582253"/>
                </a:cubicBezTo>
                <a:lnTo>
                  <a:pt x="4127264" y="583392"/>
                </a:lnTo>
                <a:cubicBezTo>
                  <a:pt x="4121954" y="584395"/>
                  <a:pt x="4116625" y="585336"/>
                  <a:pt x="4111048" y="584920"/>
                </a:cubicBezTo>
                <a:cubicBezTo>
                  <a:pt x="4079876" y="590430"/>
                  <a:pt x="4047996" y="593388"/>
                  <a:pt x="4015621" y="593911"/>
                </a:cubicBezTo>
                <a:lnTo>
                  <a:pt x="3998503" y="595524"/>
                </a:lnTo>
                <a:lnTo>
                  <a:pt x="3998477" y="595033"/>
                </a:lnTo>
                <a:lnTo>
                  <a:pt x="3997978" y="595066"/>
                </a:lnTo>
                <a:cubicBezTo>
                  <a:pt x="3997412" y="591293"/>
                  <a:pt x="3997385" y="587507"/>
                  <a:pt x="3997385" y="583715"/>
                </a:cubicBezTo>
                <a:cubicBezTo>
                  <a:pt x="3997385" y="578078"/>
                  <a:pt x="3997443" y="572454"/>
                  <a:pt x="3998755" y="566868"/>
                </a:cubicBezTo>
                <a:cubicBezTo>
                  <a:pt x="3998713" y="535786"/>
                  <a:pt x="4001163" y="505143"/>
                  <a:pt x="4006219" y="475137"/>
                </a:cubicBezTo>
                <a:lnTo>
                  <a:pt x="4006760" y="468499"/>
                </a:lnTo>
                <a:cubicBezTo>
                  <a:pt x="4006928" y="468495"/>
                  <a:pt x="4007098" y="468490"/>
                  <a:pt x="4007265" y="468437"/>
                </a:cubicBezTo>
                <a:cubicBezTo>
                  <a:pt x="4033568" y="285283"/>
                  <a:pt x="4123028" y="121703"/>
                  <a:pt x="4254773" y="0"/>
                </a:cubicBezTo>
                <a:close/>
                <a:moveTo>
                  <a:pt x="3180951" y="0"/>
                </a:moveTo>
                <a:lnTo>
                  <a:pt x="3314968" y="0"/>
                </a:lnTo>
                <a:cubicBezTo>
                  <a:pt x="3392864" y="226291"/>
                  <a:pt x="3589453" y="399791"/>
                  <a:pt x="3833505" y="451830"/>
                </a:cubicBezTo>
                <a:cubicBezTo>
                  <a:pt x="3795654" y="260867"/>
                  <a:pt x="3676245" y="98005"/>
                  <a:pt x="3510776" y="0"/>
                </a:cubicBezTo>
                <a:lnTo>
                  <a:pt x="3719484" y="0"/>
                </a:lnTo>
                <a:cubicBezTo>
                  <a:pt x="3851229" y="121703"/>
                  <a:pt x="3940689" y="285283"/>
                  <a:pt x="3966991" y="468437"/>
                </a:cubicBezTo>
                <a:cubicBezTo>
                  <a:pt x="3967159" y="468490"/>
                  <a:pt x="3967328" y="468495"/>
                  <a:pt x="3967497" y="468499"/>
                </a:cubicBezTo>
                <a:lnTo>
                  <a:pt x="3968037" y="475137"/>
                </a:lnTo>
                <a:cubicBezTo>
                  <a:pt x="3973094" y="505143"/>
                  <a:pt x="3975543" y="535786"/>
                  <a:pt x="3975501" y="566868"/>
                </a:cubicBezTo>
                <a:cubicBezTo>
                  <a:pt x="3976813" y="572454"/>
                  <a:pt x="3976872" y="578078"/>
                  <a:pt x="3976872" y="583715"/>
                </a:cubicBezTo>
                <a:cubicBezTo>
                  <a:pt x="3976872" y="587508"/>
                  <a:pt x="3976845" y="591293"/>
                  <a:pt x="3976279" y="595066"/>
                </a:cubicBezTo>
                <a:lnTo>
                  <a:pt x="3975780" y="595033"/>
                </a:lnTo>
                <a:lnTo>
                  <a:pt x="3975754" y="595524"/>
                </a:lnTo>
                <a:lnTo>
                  <a:pt x="3958635" y="593911"/>
                </a:lnTo>
                <a:cubicBezTo>
                  <a:pt x="3926261" y="593388"/>
                  <a:pt x="3894381" y="590430"/>
                  <a:pt x="3863209" y="584920"/>
                </a:cubicBezTo>
                <a:cubicBezTo>
                  <a:pt x="3857632" y="585336"/>
                  <a:pt x="3852303" y="584395"/>
                  <a:pt x="3846992" y="583392"/>
                </a:cubicBezTo>
                <a:lnTo>
                  <a:pt x="3846876" y="582253"/>
                </a:lnTo>
                <a:cubicBezTo>
                  <a:pt x="3525002" y="529393"/>
                  <a:pt x="3265729" y="299826"/>
                  <a:pt x="3180951" y="0"/>
                </a:cubicBezTo>
                <a:close/>
                <a:moveTo>
                  <a:pt x="2562622" y="0"/>
                </a:moveTo>
                <a:lnTo>
                  <a:pt x="2771330" y="0"/>
                </a:lnTo>
                <a:cubicBezTo>
                  <a:pt x="2605861" y="98005"/>
                  <a:pt x="2486452" y="260867"/>
                  <a:pt x="2448601" y="451830"/>
                </a:cubicBezTo>
                <a:cubicBezTo>
                  <a:pt x="2692653" y="399791"/>
                  <a:pt x="2889242" y="226291"/>
                  <a:pt x="2967139" y="0"/>
                </a:cubicBezTo>
                <a:lnTo>
                  <a:pt x="3101155" y="0"/>
                </a:lnTo>
                <a:cubicBezTo>
                  <a:pt x="3016377" y="299826"/>
                  <a:pt x="2757105" y="529393"/>
                  <a:pt x="2435230" y="582253"/>
                </a:cubicBezTo>
                <a:lnTo>
                  <a:pt x="2435113" y="583392"/>
                </a:lnTo>
                <a:cubicBezTo>
                  <a:pt x="2429803" y="584395"/>
                  <a:pt x="2424474" y="585336"/>
                  <a:pt x="2418897" y="584920"/>
                </a:cubicBezTo>
                <a:cubicBezTo>
                  <a:pt x="2387725" y="590430"/>
                  <a:pt x="2355845" y="593388"/>
                  <a:pt x="2323470" y="593911"/>
                </a:cubicBezTo>
                <a:lnTo>
                  <a:pt x="2306352" y="595524"/>
                </a:lnTo>
                <a:lnTo>
                  <a:pt x="2306326" y="595033"/>
                </a:lnTo>
                <a:lnTo>
                  <a:pt x="2305827" y="595066"/>
                </a:lnTo>
                <a:cubicBezTo>
                  <a:pt x="2305261" y="591293"/>
                  <a:pt x="2305234" y="587507"/>
                  <a:pt x="2305234" y="583715"/>
                </a:cubicBezTo>
                <a:cubicBezTo>
                  <a:pt x="2305234" y="578078"/>
                  <a:pt x="2305292" y="572454"/>
                  <a:pt x="2306604" y="566868"/>
                </a:cubicBezTo>
                <a:cubicBezTo>
                  <a:pt x="2306562" y="535786"/>
                  <a:pt x="2309012" y="505143"/>
                  <a:pt x="2314068" y="475137"/>
                </a:cubicBezTo>
                <a:lnTo>
                  <a:pt x="2314609" y="468499"/>
                </a:lnTo>
                <a:cubicBezTo>
                  <a:pt x="2314777" y="468495"/>
                  <a:pt x="2314947" y="468490"/>
                  <a:pt x="2315114" y="468437"/>
                </a:cubicBezTo>
                <a:cubicBezTo>
                  <a:pt x="2341417" y="285283"/>
                  <a:pt x="2430877" y="121704"/>
                  <a:pt x="2562622" y="0"/>
                </a:cubicBezTo>
                <a:close/>
                <a:moveTo>
                  <a:pt x="1488800" y="0"/>
                </a:moveTo>
                <a:lnTo>
                  <a:pt x="1622816" y="0"/>
                </a:lnTo>
                <a:cubicBezTo>
                  <a:pt x="1700712" y="226290"/>
                  <a:pt x="1897302" y="399791"/>
                  <a:pt x="2141354" y="451830"/>
                </a:cubicBezTo>
                <a:cubicBezTo>
                  <a:pt x="2103503" y="260867"/>
                  <a:pt x="1984094" y="98005"/>
                  <a:pt x="1818624" y="0"/>
                </a:cubicBezTo>
                <a:lnTo>
                  <a:pt x="2027333" y="0"/>
                </a:lnTo>
                <a:cubicBezTo>
                  <a:pt x="2159078" y="121703"/>
                  <a:pt x="2248538" y="285283"/>
                  <a:pt x="2274840" y="468437"/>
                </a:cubicBezTo>
                <a:cubicBezTo>
                  <a:pt x="2275008" y="468490"/>
                  <a:pt x="2275177" y="468495"/>
                  <a:pt x="2275346" y="468500"/>
                </a:cubicBezTo>
                <a:lnTo>
                  <a:pt x="2275886" y="475137"/>
                </a:lnTo>
                <a:cubicBezTo>
                  <a:pt x="2280943" y="505143"/>
                  <a:pt x="2283392" y="535786"/>
                  <a:pt x="2283350" y="566868"/>
                </a:cubicBezTo>
                <a:cubicBezTo>
                  <a:pt x="2284662" y="572454"/>
                  <a:pt x="2284721" y="578078"/>
                  <a:pt x="2284721" y="583715"/>
                </a:cubicBezTo>
                <a:cubicBezTo>
                  <a:pt x="2284721" y="587508"/>
                  <a:pt x="2284694" y="591293"/>
                  <a:pt x="2284128" y="595066"/>
                </a:cubicBezTo>
                <a:lnTo>
                  <a:pt x="2283629" y="595033"/>
                </a:lnTo>
                <a:lnTo>
                  <a:pt x="2283603" y="595524"/>
                </a:lnTo>
                <a:lnTo>
                  <a:pt x="2266484" y="593911"/>
                </a:lnTo>
                <a:cubicBezTo>
                  <a:pt x="2234110" y="593388"/>
                  <a:pt x="2202230" y="590430"/>
                  <a:pt x="2171058" y="584920"/>
                </a:cubicBezTo>
                <a:cubicBezTo>
                  <a:pt x="2165481" y="585336"/>
                  <a:pt x="2160152" y="584395"/>
                  <a:pt x="2154841" y="583392"/>
                </a:cubicBezTo>
                <a:lnTo>
                  <a:pt x="2154725" y="582253"/>
                </a:lnTo>
                <a:cubicBezTo>
                  <a:pt x="1832850" y="529393"/>
                  <a:pt x="1573578" y="299826"/>
                  <a:pt x="1488800" y="0"/>
                </a:cubicBezTo>
                <a:close/>
                <a:moveTo>
                  <a:pt x="870471" y="0"/>
                </a:moveTo>
                <a:lnTo>
                  <a:pt x="1079179" y="0"/>
                </a:lnTo>
                <a:cubicBezTo>
                  <a:pt x="913710" y="98005"/>
                  <a:pt x="794301" y="260867"/>
                  <a:pt x="756450" y="451830"/>
                </a:cubicBezTo>
                <a:cubicBezTo>
                  <a:pt x="1000502" y="399791"/>
                  <a:pt x="1197091" y="226291"/>
                  <a:pt x="1274988" y="0"/>
                </a:cubicBezTo>
                <a:lnTo>
                  <a:pt x="1409004" y="0"/>
                </a:lnTo>
                <a:cubicBezTo>
                  <a:pt x="1324226" y="299826"/>
                  <a:pt x="1064954" y="529393"/>
                  <a:pt x="743078" y="582253"/>
                </a:cubicBezTo>
                <a:lnTo>
                  <a:pt x="742962" y="583392"/>
                </a:lnTo>
                <a:cubicBezTo>
                  <a:pt x="737652" y="584395"/>
                  <a:pt x="732323" y="585336"/>
                  <a:pt x="726746" y="584920"/>
                </a:cubicBezTo>
                <a:cubicBezTo>
                  <a:pt x="695574" y="590430"/>
                  <a:pt x="663693" y="593388"/>
                  <a:pt x="631319" y="593911"/>
                </a:cubicBezTo>
                <a:lnTo>
                  <a:pt x="614201" y="595524"/>
                </a:lnTo>
                <a:lnTo>
                  <a:pt x="614175" y="595033"/>
                </a:lnTo>
                <a:lnTo>
                  <a:pt x="613676" y="595066"/>
                </a:lnTo>
                <a:cubicBezTo>
                  <a:pt x="613110" y="591293"/>
                  <a:pt x="613083" y="587507"/>
                  <a:pt x="613083" y="583715"/>
                </a:cubicBezTo>
                <a:cubicBezTo>
                  <a:pt x="613083" y="578078"/>
                  <a:pt x="613141" y="572454"/>
                  <a:pt x="614453" y="566868"/>
                </a:cubicBezTo>
                <a:cubicBezTo>
                  <a:pt x="614411" y="535786"/>
                  <a:pt x="616861" y="505143"/>
                  <a:pt x="621918" y="475137"/>
                </a:cubicBezTo>
                <a:lnTo>
                  <a:pt x="622458" y="468499"/>
                </a:lnTo>
                <a:cubicBezTo>
                  <a:pt x="622626" y="468495"/>
                  <a:pt x="622796" y="468490"/>
                  <a:pt x="622963" y="468437"/>
                </a:cubicBezTo>
                <a:cubicBezTo>
                  <a:pt x="649266" y="285283"/>
                  <a:pt x="738726" y="121703"/>
                  <a:pt x="870471" y="0"/>
                </a:cubicBezTo>
                <a:close/>
                <a:moveTo>
                  <a:pt x="126374" y="0"/>
                </a:moveTo>
                <a:lnTo>
                  <a:pt x="334376" y="0"/>
                </a:lnTo>
                <a:cubicBezTo>
                  <a:pt x="466684" y="121261"/>
                  <a:pt x="556352" y="285035"/>
                  <a:pt x="582690" y="468437"/>
                </a:cubicBezTo>
                <a:cubicBezTo>
                  <a:pt x="582857" y="468490"/>
                  <a:pt x="583026" y="468495"/>
                  <a:pt x="583195" y="468499"/>
                </a:cubicBezTo>
                <a:lnTo>
                  <a:pt x="583735" y="475137"/>
                </a:lnTo>
                <a:cubicBezTo>
                  <a:pt x="588792" y="505143"/>
                  <a:pt x="591242" y="535786"/>
                  <a:pt x="591199" y="566868"/>
                </a:cubicBezTo>
                <a:cubicBezTo>
                  <a:pt x="592511" y="572454"/>
                  <a:pt x="592570" y="578078"/>
                  <a:pt x="592570" y="583715"/>
                </a:cubicBezTo>
                <a:cubicBezTo>
                  <a:pt x="592570" y="587507"/>
                  <a:pt x="592543" y="591293"/>
                  <a:pt x="591977" y="595066"/>
                </a:cubicBezTo>
                <a:lnTo>
                  <a:pt x="591478" y="595033"/>
                </a:lnTo>
                <a:lnTo>
                  <a:pt x="591452" y="595524"/>
                </a:lnTo>
                <a:lnTo>
                  <a:pt x="574334" y="593911"/>
                </a:lnTo>
                <a:cubicBezTo>
                  <a:pt x="541959" y="593388"/>
                  <a:pt x="510079" y="590430"/>
                  <a:pt x="478907" y="584920"/>
                </a:cubicBezTo>
                <a:cubicBezTo>
                  <a:pt x="473330" y="585336"/>
                  <a:pt x="468001" y="584395"/>
                  <a:pt x="462690" y="583392"/>
                </a:cubicBezTo>
                <a:lnTo>
                  <a:pt x="462574" y="582253"/>
                </a:lnTo>
                <a:cubicBezTo>
                  <a:pt x="282200" y="552631"/>
                  <a:pt x="121485" y="467518"/>
                  <a:pt x="0" y="345575"/>
                </a:cubicBezTo>
                <a:lnTo>
                  <a:pt x="0" y="140406"/>
                </a:lnTo>
                <a:cubicBezTo>
                  <a:pt x="97584" y="296912"/>
                  <a:pt x="258975" y="411268"/>
                  <a:pt x="449203" y="451830"/>
                </a:cubicBezTo>
                <a:cubicBezTo>
                  <a:pt x="411344" y="260824"/>
                  <a:pt x="291889" y="97931"/>
                  <a:pt x="1263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4960137"/>
            <a:ext cx="7772400" cy="1463040"/>
          </a:xfrm>
        </p:spPr>
        <p:txBody>
          <a:bodyPr anchor="ctr">
            <a:normAutofit/>
          </a:bodyPr>
          <a:lstStyle>
            <a:lvl1pPr algn="r">
              <a:defRPr sz="5000" b="0" spc="200" baseline="0"/>
            </a:lvl1pPr>
          </a:lstStyle>
          <a:p>
            <a:r>
              <a:rPr lang="en-US"/>
              <a:t>Click to edit Master title style</a:t>
            </a:r>
            <a:endParaRPr lang="en-US" dirty="0"/>
          </a:p>
        </p:txBody>
      </p:sp>
      <p:sp>
        <p:nvSpPr>
          <p:cNvPr id="3" name="Text Placeholder 2"/>
          <p:cNvSpPr>
            <a:spLocks noGrp="1"/>
          </p:cNvSpPr>
          <p:nvPr>
            <p:ph type="body" idx="1"/>
          </p:nvPr>
        </p:nvSpPr>
        <p:spPr>
          <a:xfrm>
            <a:off x="8610600" y="4960137"/>
            <a:ext cx="3200400" cy="1463040"/>
          </a:xfrm>
        </p:spPr>
        <p:txBody>
          <a:bodyPr lIns="91440" rIns="91440" anchor="ctr">
            <a:normAutofit/>
          </a:bodyPr>
          <a:lstStyle>
            <a:lvl1pPr marL="0" indent="0">
              <a:lnSpc>
                <a:spcPct val="100000"/>
              </a:lnSpc>
              <a:spcBef>
                <a:spcPts val="0"/>
              </a:spcBef>
              <a:buNone/>
              <a:defRPr sz="1800">
                <a:solidFill>
                  <a:schemeClr val="tx1">
                    <a:lumMod val="95000"/>
                    <a:lumOff val="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a:defRPr/>
            </a:pPr>
            <a:fld id="{F27D6586-74B9-4C76-864E-CE4E23D89055}" type="datetimeFigureOut">
              <a:rPr lang="vi-VN" smtClean="0"/>
              <a:pPr>
                <a:defRPr/>
              </a:pPr>
              <a:t>17/08/2023</a:t>
            </a:fld>
            <a:endParaRPr lang="vi-VN"/>
          </a:p>
        </p:txBody>
      </p:sp>
      <p:sp>
        <p:nvSpPr>
          <p:cNvPr id="5" name="Footer Placeholder 4"/>
          <p:cNvSpPr>
            <a:spLocks noGrp="1"/>
          </p:cNvSpPr>
          <p:nvPr>
            <p:ph type="ftr" sz="quarter" idx="11"/>
          </p:nvPr>
        </p:nvSpPr>
        <p:spPr/>
        <p:txBody>
          <a:bodyPr/>
          <a:lstStyle/>
          <a:p>
            <a:pPr>
              <a:defRPr/>
            </a:pPr>
            <a:endParaRPr lang="vi-VN"/>
          </a:p>
        </p:txBody>
      </p:sp>
      <p:sp>
        <p:nvSpPr>
          <p:cNvPr id="6" name="Slide Number Placeholder 5"/>
          <p:cNvSpPr>
            <a:spLocks noGrp="1"/>
          </p:cNvSpPr>
          <p:nvPr>
            <p:ph type="sldNum" sz="quarter" idx="12"/>
          </p:nvPr>
        </p:nvSpPr>
        <p:spPr/>
        <p:txBody>
          <a:bodyPr/>
          <a:lstStyle/>
          <a:p>
            <a:pPr>
              <a:defRPr/>
            </a:pPr>
            <a:fld id="{9045CD40-860F-4AE0-8318-020B1A12124A}" type="slidenum">
              <a:rPr lang="vi-VN" smtClean="0"/>
              <a:pPr>
                <a:defRPr/>
              </a:pPr>
              <a:t>‹#›</a:t>
            </a:fld>
            <a:endParaRPr lang="vi-VN"/>
          </a:p>
        </p:txBody>
      </p:sp>
      <p:cxnSp>
        <p:nvCxnSpPr>
          <p:cNvPr id="8" name="Straight Connector 7"/>
          <p:cNvCxnSpPr/>
          <p:nvPr/>
        </p:nvCxnSpPr>
        <p:spPr>
          <a:xfrm flipV="1">
            <a:off x="8386843"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216361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024128" y="585216"/>
            <a:ext cx="9720072" cy="1499616"/>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024127" y="2286000"/>
            <a:ext cx="475488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989320" y="2286000"/>
            <a:ext cx="475488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pPr>
              <a:defRPr/>
            </a:pPr>
            <a:fld id="{1DA1C0C6-A5B3-4B21-BE85-69E00465FE27}" type="datetimeFigureOut">
              <a:rPr lang="vi-VN" smtClean="0"/>
              <a:pPr>
                <a:defRPr/>
              </a:pPr>
              <a:t>17/08/2023</a:t>
            </a:fld>
            <a:endParaRPr lang="vi-VN"/>
          </a:p>
        </p:txBody>
      </p:sp>
      <p:sp>
        <p:nvSpPr>
          <p:cNvPr id="6" name="Footer Placeholder 5"/>
          <p:cNvSpPr>
            <a:spLocks noGrp="1"/>
          </p:cNvSpPr>
          <p:nvPr>
            <p:ph type="ftr" sz="quarter" idx="11"/>
          </p:nvPr>
        </p:nvSpPr>
        <p:spPr/>
        <p:txBody>
          <a:bodyPr/>
          <a:lstStyle/>
          <a:p>
            <a:pPr>
              <a:defRPr/>
            </a:pPr>
            <a:endParaRPr lang="vi-VN"/>
          </a:p>
        </p:txBody>
      </p:sp>
      <p:sp>
        <p:nvSpPr>
          <p:cNvPr id="7" name="Slide Number Placeholder 6"/>
          <p:cNvSpPr>
            <a:spLocks noGrp="1"/>
          </p:cNvSpPr>
          <p:nvPr>
            <p:ph type="sldNum" sz="quarter" idx="12"/>
          </p:nvPr>
        </p:nvSpPr>
        <p:spPr/>
        <p:txBody>
          <a:bodyPr/>
          <a:lstStyle/>
          <a:p>
            <a:pPr>
              <a:defRPr/>
            </a:pPr>
            <a:fld id="{843A4594-739C-4986-B892-F602FB9BBEC5}" type="slidenum">
              <a:rPr lang="vi-VN" smtClean="0"/>
              <a:pPr>
                <a:defRPr/>
              </a:pPr>
              <a:t>‹#›</a:t>
            </a:fld>
            <a:endParaRPr lang="vi-VN"/>
          </a:p>
        </p:txBody>
      </p:sp>
    </p:spTree>
    <p:extLst>
      <p:ext uri="{BB962C8B-B14F-4D97-AF65-F5344CB8AC3E}">
        <p14:creationId xmlns:p14="http://schemas.microsoft.com/office/powerpoint/2010/main" val="328229064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1024128" y="2179636"/>
            <a:ext cx="4754880" cy="822960"/>
          </a:xfrm>
        </p:spPr>
        <p:txBody>
          <a:bodyPr lIns="137160" rIns="137160" anchor="ctr">
            <a:normAutofit/>
          </a:bodyPr>
          <a:lstStyle>
            <a:lvl1pPr marL="0" indent="0">
              <a:spcBef>
                <a:spcPts val="0"/>
              </a:spcBef>
              <a:spcAft>
                <a:spcPts val="0"/>
              </a:spcAft>
              <a:buNone/>
              <a:defRPr sz="2300" b="0" cap="none" baseline="0">
                <a:solidFill>
                  <a:schemeClr val="accent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24128" y="2967788"/>
            <a:ext cx="4754880" cy="33415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990888" y="2179636"/>
            <a:ext cx="4754880" cy="822960"/>
          </a:xfrm>
        </p:spPr>
        <p:txBody>
          <a:bodyPr lIns="137160" rIns="137160" anchor="ctr">
            <a:normAutofit/>
          </a:bodyPr>
          <a:lstStyle>
            <a:lvl1pPr marL="0" indent="0">
              <a:spcBef>
                <a:spcPts val="0"/>
              </a:spcBef>
              <a:spcAft>
                <a:spcPts val="0"/>
              </a:spcAft>
              <a:buNone/>
              <a:defRPr lang="en-US" sz="2300" b="0" kern="1200" cap="none" baseline="0" dirty="0">
                <a:solidFill>
                  <a:schemeClr val="accent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800"/>
              </a:spcBef>
              <a:buNone/>
            </a:pPr>
            <a:r>
              <a:rPr lang="en-US"/>
              <a:t>Click to edit Master text styles</a:t>
            </a:r>
          </a:p>
        </p:txBody>
      </p:sp>
      <p:sp>
        <p:nvSpPr>
          <p:cNvPr id="6" name="Content Placeholder 5"/>
          <p:cNvSpPr>
            <a:spLocks noGrp="1"/>
          </p:cNvSpPr>
          <p:nvPr>
            <p:ph sz="quarter" idx="4"/>
          </p:nvPr>
        </p:nvSpPr>
        <p:spPr>
          <a:xfrm>
            <a:off x="5990888" y="2967788"/>
            <a:ext cx="4754880" cy="33415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pPr>
              <a:defRPr/>
            </a:pPr>
            <a:fld id="{4819C950-DBC5-4A02-9372-834F90C1890C}" type="datetimeFigureOut">
              <a:rPr lang="vi-VN" smtClean="0"/>
              <a:pPr>
                <a:defRPr/>
              </a:pPr>
              <a:t>17/08/2023</a:t>
            </a:fld>
            <a:endParaRPr lang="vi-VN"/>
          </a:p>
        </p:txBody>
      </p:sp>
      <p:sp>
        <p:nvSpPr>
          <p:cNvPr id="8" name="Footer Placeholder 7"/>
          <p:cNvSpPr>
            <a:spLocks noGrp="1"/>
          </p:cNvSpPr>
          <p:nvPr>
            <p:ph type="ftr" sz="quarter" idx="11"/>
          </p:nvPr>
        </p:nvSpPr>
        <p:spPr/>
        <p:txBody>
          <a:bodyPr/>
          <a:lstStyle/>
          <a:p>
            <a:pPr>
              <a:defRPr/>
            </a:pPr>
            <a:endParaRPr lang="vi-VN"/>
          </a:p>
        </p:txBody>
      </p:sp>
      <p:sp>
        <p:nvSpPr>
          <p:cNvPr id="9" name="Slide Number Placeholder 8"/>
          <p:cNvSpPr>
            <a:spLocks noGrp="1"/>
          </p:cNvSpPr>
          <p:nvPr>
            <p:ph type="sldNum" sz="quarter" idx="12"/>
          </p:nvPr>
        </p:nvSpPr>
        <p:spPr/>
        <p:txBody>
          <a:bodyPr/>
          <a:lstStyle/>
          <a:p>
            <a:pPr>
              <a:defRPr/>
            </a:pPr>
            <a:fld id="{5AA8E879-D646-4576-B6F2-C12EFE623B85}" type="slidenum">
              <a:rPr lang="vi-VN" smtClean="0"/>
              <a:pPr>
                <a:defRPr/>
              </a:pPr>
              <a:t>‹#›</a:t>
            </a:fld>
            <a:endParaRPr lang="vi-VN"/>
          </a:p>
        </p:txBody>
      </p:sp>
    </p:spTree>
    <p:extLst>
      <p:ext uri="{BB962C8B-B14F-4D97-AF65-F5344CB8AC3E}">
        <p14:creationId xmlns:p14="http://schemas.microsoft.com/office/powerpoint/2010/main" val="70790573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pPr>
              <a:defRPr/>
            </a:pPr>
            <a:fld id="{93897F1F-E92A-4667-8BC4-8B3ABC157F83}" type="datetimeFigureOut">
              <a:rPr lang="vi-VN" smtClean="0"/>
              <a:pPr>
                <a:defRPr/>
              </a:pPr>
              <a:t>17/08/2023</a:t>
            </a:fld>
            <a:endParaRPr lang="vi-VN"/>
          </a:p>
        </p:txBody>
      </p:sp>
      <p:sp>
        <p:nvSpPr>
          <p:cNvPr id="4" name="Footer Placeholder 3"/>
          <p:cNvSpPr>
            <a:spLocks noGrp="1"/>
          </p:cNvSpPr>
          <p:nvPr>
            <p:ph type="ftr" sz="quarter" idx="11"/>
          </p:nvPr>
        </p:nvSpPr>
        <p:spPr/>
        <p:txBody>
          <a:bodyPr/>
          <a:lstStyle/>
          <a:p>
            <a:pPr>
              <a:defRPr/>
            </a:pPr>
            <a:endParaRPr lang="vi-VN"/>
          </a:p>
        </p:txBody>
      </p:sp>
      <p:sp>
        <p:nvSpPr>
          <p:cNvPr id="5" name="Slide Number Placeholder 4"/>
          <p:cNvSpPr>
            <a:spLocks noGrp="1"/>
          </p:cNvSpPr>
          <p:nvPr>
            <p:ph type="sldNum" sz="quarter" idx="12"/>
          </p:nvPr>
        </p:nvSpPr>
        <p:spPr/>
        <p:txBody>
          <a:bodyPr/>
          <a:lstStyle/>
          <a:p>
            <a:pPr>
              <a:defRPr/>
            </a:pPr>
            <a:fld id="{31C09736-E632-4D0A-8392-D1E06EE53E11}" type="slidenum">
              <a:rPr lang="vi-VN" smtClean="0"/>
              <a:pPr>
                <a:defRPr/>
              </a:pPr>
              <a:t>‹#›</a:t>
            </a:fld>
            <a:endParaRPr lang="vi-VN"/>
          </a:p>
        </p:txBody>
      </p:sp>
    </p:spTree>
    <p:extLst>
      <p:ext uri="{BB962C8B-B14F-4D97-AF65-F5344CB8AC3E}">
        <p14:creationId xmlns:p14="http://schemas.microsoft.com/office/powerpoint/2010/main" val="233064636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fld id="{92EE4594-39A7-47BA-B99C-DC9764EED164}" type="datetimeFigureOut">
              <a:rPr lang="vi-VN" smtClean="0"/>
              <a:pPr>
                <a:defRPr/>
              </a:pPr>
              <a:t>17/08/2023</a:t>
            </a:fld>
            <a:endParaRPr lang="vi-VN"/>
          </a:p>
        </p:txBody>
      </p:sp>
      <p:sp>
        <p:nvSpPr>
          <p:cNvPr id="3" name="Footer Placeholder 2"/>
          <p:cNvSpPr>
            <a:spLocks noGrp="1"/>
          </p:cNvSpPr>
          <p:nvPr>
            <p:ph type="ftr" sz="quarter" idx="11"/>
          </p:nvPr>
        </p:nvSpPr>
        <p:spPr/>
        <p:txBody>
          <a:bodyPr/>
          <a:lstStyle/>
          <a:p>
            <a:pPr>
              <a:defRPr/>
            </a:pPr>
            <a:endParaRPr lang="vi-VN"/>
          </a:p>
        </p:txBody>
      </p:sp>
      <p:sp>
        <p:nvSpPr>
          <p:cNvPr id="4" name="Slide Number Placeholder 3"/>
          <p:cNvSpPr>
            <a:spLocks noGrp="1"/>
          </p:cNvSpPr>
          <p:nvPr>
            <p:ph type="sldNum" sz="quarter" idx="12"/>
          </p:nvPr>
        </p:nvSpPr>
        <p:spPr/>
        <p:txBody>
          <a:bodyPr/>
          <a:lstStyle/>
          <a:p>
            <a:pPr>
              <a:defRPr/>
            </a:pPr>
            <a:fld id="{029B2883-1697-4DC4-AE1B-2197BBD741C2}" type="slidenum">
              <a:rPr lang="vi-VN" smtClean="0"/>
              <a:pPr>
                <a:defRPr/>
              </a:pPr>
              <a:t>‹#›</a:t>
            </a:fld>
            <a:endParaRPr lang="vi-VN"/>
          </a:p>
        </p:txBody>
      </p:sp>
    </p:spTree>
    <p:extLst>
      <p:ext uri="{BB962C8B-B14F-4D97-AF65-F5344CB8AC3E}">
        <p14:creationId xmlns:p14="http://schemas.microsoft.com/office/powerpoint/2010/main" val="30339250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a:xfrm>
            <a:off x="1024128" y="471509"/>
            <a:ext cx="4389120" cy="1737360"/>
          </a:xfrm>
        </p:spPr>
        <p:txBody>
          <a:bodyPr>
            <a:noAutofit/>
          </a:bodyPr>
          <a:lstStyle>
            <a:lvl1pPr>
              <a:lnSpc>
                <a:spcPct val="80000"/>
              </a:lnSpc>
              <a:defRPr sz="4000"/>
            </a:lvl1pPr>
          </a:lstStyle>
          <a:p>
            <a:r>
              <a:rPr lang="en-US"/>
              <a:t>Click to edit Master title style</a:t>
            </a:r>
            <a:endParaRPr lang="en-US" dirty="0"/>
          </a:p>
        </p:txBody>
      </p:sp>
      <p:sp>
        <p:nvSpPr>
          <p:cNvPr id="3" name="Content Placeholder 2"/>
          <p:cNvSpPr>
            <a:spLocks noGrp="1"/>
          </p:cNvSpPr>
          <p:nvPr>
            <p:ph idx="1"/>
          </p:nvPr>
        </p:nvSpPr>
        <p:spPr>
          <a:xfrm>
            <a:off x="5715000" y="822960"/>
            <a:ext cx="5678424" cy="5184648"/>
          </a:xfrm>
        </p:spPr>
        <p:txBody>
          <a:bodyPr/>
          <a:lstStyle>
            <a:lvl1pPr>
              <a:defRPr sz="2400"/>
            </a:lvl1pPr>
            <a:lvl2pPr>
              <a:defRPr sz="20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024128" y="2257506"/>
            <a:ext cx="4389120" cy="3762294"/>
          </a:xfrm>
        </p:spPr>
        <p:txBody>
          <a:bodyPr lIns="91440" rIns="91440">
            <a:normAutofit/>
          </a:bodyPr>
          <a:lstStyle>
            <a:lvl1pPr marL="0" indent="0">
              <a:lnSpc>
                <a:spcPct val="108000"/>
              </a:lnSpc>
              <a:spcBef>
                <a:spcPts val="600"/>
              </a:spcBef>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pPr>
              <a:defRPr/>
            </a:pPr>
            <a:fld id="{990CB40E-3244-4923-B3E1-1C1C308BEC6F}" type="datetimeFigureOut">
              <a:rPr lang="vi-VN" smtClean="0"/>
              <a:pPr>
                <a:defRPr/>
              </a:pPr>
              <a:t>17/08/2023</a:t>
            </a:fld>
            <a:endParaRPr lang="vi-VN"/>
          </a:p>
        </p:txBody>
      </p:sp>
      <p:sp>
        <p:nvSpPr>
          <p:cNvPr id="6" name="Footer Placeholder 5"/>
          <p:cNvSpPr>
            <a:spLocks noGrp="1"/>
          </p:cNvSpPr>
          <p:nvPr>
            <p:ph type="ftr" sz="quarter" idx="11"/>
          </p:nvPr>
        </p:nvSpPr>
        <p:spPr/>
        <p:txBody>
          <a:bodyPr/>
          <a:lstStyle/>
          <a:p>
            <a:pPr>
              <a:defRPr/>
            </a:pPr>
            <a:endParaRPr lang="vi-VN"/>
          </a:p>
        </p:txBody>
      </p:sp>
      <p:sp>
        <p:nvSpPr>
          <p:cNvPr id="7" name="Slide Number Placeholder 6"/>
          <p:cNvSpPr>
            <a:spLocks noGrp="1"/>
          </p:cNvSpPr>
          <p:nvPr>
            <p:ph type="sldNum" sz="quarter" idx="12"/>
          </p:nvPr>
        </p:nvSpPr>
        <p:spPr/>
        <p:txBody>
          <a:bodyPr/>
          <a:lstStyle/>
          <a:p>
            <a:pPr>
              <a:defRPr/>
            </a:pPr>
            <a:fld id="{C99B8C52-6A1D-4243-8361-2CACD8F489E3}" type="slidenum">
              <a:rPr lang="vi-VN" smtClean="0"/>
              <a:pPr>
                <a:defRPr/>
              </a:pPr>
              <a:t>‹#›</a:t>
            </a:fld>
            <a:endParaRPr lang="vi-VN"/>
          </a:p>
        </p:txBody>
      </p:sp>
    </p:spTree>
    <p:extLst>
      <p:ext uri="{BB962C8B-B14F-4D97-AF65-F5344CB8AC3E}">
        <p14:creationId xmlns:p14="http://schemas.microsoft.com/office/powerpoint/2010/main" val="168336683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4960138"/>
            <a:ext cx="7772400" cy="1463040"/>
          </a:xfrm>
        </p:spPr>
        <p:txBody>
          <a:bodyPr anchor="ctr">
            <a:normAutofit/>
          </a:bodyPr>
          <a:lstStyle>
            <a:lvl1pPr algn="r">
              <a:defRPr sz="5000" spc="200" baseline="0"/>
            </a:lvl1pPr>
          </a:lstStyle>
          <a:p>
            <a:r>
              <a:rPr lang="en-US"/>
              <a:t>Click to edit Master title style</a:t>
            </a:r>
            <a:endParaRPr lang="en-US" dirty="0"/>
          </a:p>
        </p:txBody>
      </p:sp>
      <p:sp>
        <p:nvSpPr>
          <p:cNvPr id="3" name="Picture Placeholder 2"/>
          <p:cNvSpPr>
            <a:spLocks noGrp="1" noChangeAspect="1"/>
          </p:cNvSpPr>
          <p:nvPr>
            <p:ph type="pic" idx="1"/>
          </p:nvPr>
        </p:nvSpPr>
        <p:spPr>
          <a:xfrm>
            <a:off x="0" y="-1"/>
            <a:ext cx="12188952" cy="4572000"/>
          </a:xfrm>
          <a:solidFill>
            <a:schemeClr val="accent1">
              <a:lumMod val="60000"/>
              <a:lumOff val="40000"/>
            </a:schemeClr>
          </a:solidFill>
        </p:spPr>
        <p:txBody>
          <a:bodyPr lIns="457200" tIns="365760" rIns="45720" bIns="4572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610600" y="4960138"/>
            <a:ext cx="3200400" cy="1463040"/>
          </a:xfrm>
        </p:spPr>
        <p:txBody>
          <a:bodyPr lIns="91440" rIns="91440" anchor="ctr">
            <a:normAutofit/>
          </a:bodyPr>
          <a:lstStyle>
            <a:lvl1pPr marL="0" indent="0">
              <a:lnSpc>
                <a:spcPct val="100000"/>
              </a:lnSpc>
              <a:spcBef>
                <a:spcPts val="0"/>
              </a:spcBef>
              <a:buNone/>
              <a:defRPr sz="1800">
                <a:solidFill>
                  <a:schemeClr val="tx1">
                    <a:lumMod val="95000"/>
                    <a:lumOff val="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a:defRPr/>
            </a:pPr>
            <a:fld id="{28BCD1D8-B7BC-415E-93FF-508E0A4F3D43}" type="datetimeFigureOut">
              <a:rPr lang="vi-VN" smtClean="0"/>
              <a:pPr>
                <a:defRPr/>
              </a:pPr>
              <a:t>17/08/2023</a:t>
            </a:fld>
            <a:endParaRPr lang="vi-VN"/>
          </a:p>
        </p:txBody>
      </p:sp>
      <p:sp>
        <p:nvSpPr>
          <p:cNvPr id="6" name="Footer Placeholder 5"/>
          <p:cNvSpPr>
            <a:spLocks noGrp="1"/>
          </p:cNvSpPr>
          <p:nvPr>
            <p:ph type="ftr" sz="quarter" idx="11"/>
          </p:nvPr>
        </p:nvSpPr>
        <p:spPr/>
        <p:txBody>
          <a:bodyPr/>
          <a:lstStyle/>
          <a:p>
            <a:pPr>
              <a:defRPr/>
            </a:pPr>
            <a:endParaRPr lang="vi-VN"/>
          </a:p>
        </p:txBody>
      </p:sp>
      <p:sp>
        <p:nvSpPr>
          <p:cNvPr id="7" name="Slide Number Placeholder 6"/>
          <p:cNvSpPr>
            <a:spLocks noGrp="1"/>
          </p:cNvSpPr>
          <p:nvPr>
            <p:ph type="sldNum" sz="quarter" idx="12"/>
          </p:nvPr>
        </p:nvSpPr>
        <p:spPr/>
        <p:txBody>
          <a:bodyPr/>
          <a:lstStyle/>
          <a:p>
            <a:pPr>
              <a:defRPr/>
            </a:pPr>
            <a:fld id="{F8D933AB-FE36-41C1-A7C7-61AAF5781560}" type="slidenum">
              <a:rPr lang="vi-VN" smtClean="0"/>
              <a:pPr>
                <a:defRPr/>
              </a:pPr>
              <a:t>‹#›</a:t>
            </a:fld>
            <a:endParaRPr lang="vi-VN"/>
          </a:p>
        </p:txBody>
      </p:sp>
      <p:cxnSp>
        <p:nvCxnSpPr>
          <p:cNvPr id="8" name="Straight Connector 7"/>
          <p:cNvCxnSpPr/>
          <p:nvPr/>
        </p:nvCxnSpPr>
        <p:spPr>
          <a:xfrm flipV="1">
            <a:off x="8386843" y="5264106"/>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6206660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a:defRPr/>
            </a:pPr>
            <a:fld id="{986A0581-5FBF-48BB-836A-044DAEF809C8}" type="datetimeFigureOut">
              <a:rPr lang="vi-VN" smtClean="0"/>
              <a:pPr>
                <a:defRPr/>
              </a:pPr>
              <a:t>17/08/2023</a:t>
            </a:fld>
            <a:endParaRPr lang="vi-VN"/>
          </a:p>
        </p:txBody>
      </p:sp>
      <p:sp>
        <p:nvSpPr>
          <p:cNvPr id="5" name="Footer Placeholder 4"/>
          <p:cNvSpPr>
            <a:spLocks noGrp="1"/>
          </p:cNvSpPr>
          <p:nvPr>
            <p:ph type="ftr" sz="quarter" idx="11"/>
          </p:nvPr>
        </p:nvSpPr>
        <p:spPr/>
        <p:txBody>
          <a:bodyPr/>
          <a:lstStyle/>
          <a:p>
            <a:pPr>
              <a:defRPr/>
            </a:pPr>
            <a:endParaRPr lang="vi-VN"/>
          </a:p>
        </p:txBody>
      </p:sp>
      <p:sp>
        <p:nvSpPr>
          <p:cNvPr id="6" name="Slide Number Placeholder 5"/>
          <p:cNvSpPr>
            <a:spLocks noGrp="1"/>
          </p:cNvSpPr>
          <p:nvPr>
            <p:ph type="sldNum" sz="quarter" idx="12"/>
          </p:nvPr>
        </p:nvSpPr>
        <p:spPr/>
        <p:txBody>
          <a:bodyPr/>
          <a:lstStyle/>
          <a:p>
            <a:pPr>
              <a:defRPr/>
            </a:pPr>
            <a:fld id="{FE4C7181-82F3-4549-BC79-986838E2DC40}" type="slidenum">
              <a:rPr lang="vi-VN" smtClean="0"/>
              <a:pPr>
                <a:defRPr/>
              </a:pPr>
              <a:t>‹#›</a:t>
            </a:fld>
            <a:endParaRPr lang="vi-VN"/>
          </a:p>
        </p:txBody>
      </p:sp>
    </p:spTree>
    <p:extLst>
      <p:ext uri="{BB962C8B-B14F-4D97-AF65-F5344CB8AC3E}">
        <p14:creationId xmlns:p14="http://schemas.microsoft.com/office/powerpoint/2010/main" val="28961994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lumn">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A42EC3-BB61-5A42-8BF1-1D2972BB044D}"/>
              </a:ext>
            </a:extLst>
          </p:cNvPr>
          <p:cNvSpPr>
            <a:spLocks noGrp="1"/>
          </p:cNvSpPr>
          <p:nvPr>
            <p:ph type="title"/>
          </p:nvPr>
        </p:nvSpPr>
        <p:spPr/>
        <p:txBody>
          <a:bodyPr/>
          <a:lstStyle/>
          <a:p>
            <a:r>
              <a:rPr lang="en-US"/>
              <a:t>Click to edit Master title style</a:t>
            </a:r>
          </a:p>
        </p:txBody>
      </p:sp>
      <p:sp>
        <p:nvSpPr>
          <p:cNvPr id="6" name="Slide Number Placeholder 11">
            <a:extLst>
              <a:ext uri="{FF2B5EF4-FFF2-40B4-BE49-F238E27FC236}">
                <a16:creationId xmlns:a16="http://schemas.microsoft.com/office/drawing/2014/main" id="{CA35970F-C7C4-F346-8F9C-43C9A251063B}"/>
              </a:ext>
            </a:extLst>
          </p:cNvPr>
          <p:cNvSpPr>
            <a:spLocks noGrp="1"/>
          </p:cNvSpPr>
          <p:nvPr>
            <p:ph type="sldNum" sz="quarter" idx="10"/>
          </p:nvPr>
        </p:nvSpPr>
        <p:spPr>
          <a:xfrm>
            <a:off x="2" y="6553202"/>
            <a:ext cx="304799" cy="304799"/>
          </a:xfrm>
        </p:spPr>
        <p:txBody>
          <a:bodyPr lIns="0" tIns="0" rIns="0" bIns="0"/>
          <a:lstStyle/>
          <a:p>
            <a:fld id="{89006F1E-66CD-4A4B-9370-B4A3080F0E6C}" type="slidenum">
              <a:rPr lang="en-US" smtClean="0"/>
              <a:pPr/>
              <a:t>‹#›</a:t>
            </a:fld>
            <a:endParaRPr lang="en-US"/>
          </a:p>
        </p:txBody>
      </p:sp>
      <p:sp>
        <p:nvSpPr>
          <p:cNvPr id="7" name="Footer Placeholder 1">
            <a:extLst>
              <a:ext uri="{FF2B5EF4-FFF2-40B4-BE49-F238E27FC236}">
                <a16:creationId xmlns:a16="http://schemas.microsoft.com/office/drawing/2014/main" id="{CE9EC605-3413-1E4D-96BF-ECCB56711FD5}"/>
              </a:ext>
            </a:extLst>
          </p:cNvPr>
          <p:cNvSpPr>
            <a:spLocks noGrp="1"/>
          </p:cNvSpPr>
          <p:nvPr>
            <p:ph type="ftr" sz="quarter" idx="13"/>
          </p:nvPr>
        </p:nvSpPr>
        <p:spPr>
          <a:xfrm>
            <a:off x="304802" y="6553201"/>
            <a:ext cx="3657601" cy="304800"/>
          </a:xfrm>
          <a:prstGeom prst="rect">
            <a:avLst/>
          </a:prstGeom>
        </p:spPr>
        <p:txBody>
          <a:bodyPr/>
          <a:lstStyle>
            <a:lvl1pPr>
              <a:defRPr>
                <a:solidFill>
                  <a:schemeClr val="accent5"/>
                </a:solidFill>
              </a:defRPr>
            </a:lvl1pPr>
          </a:lstStyle>
          <a:p>
            <a:r>
              <a:rPr lang="en-US">
                <a:ea typeface="MS PGothic" panose="020B0600070205080204" pitchFamily="34" charset="-128"/>
              </a:rPr>
              <a:t>Proprietary &amp; Confidential |  authoremail@thermofisher.com | 5-August-2020</a:t>
            </a:r>
          </a:p>
        </p:txBody>
      </p:sp>
      <p:sp>
        <p:nvSpPr>
          <p:cNvPr id="8" name="Text Placeholder 7">
            <a:extLst>
              <a:ext uri="{FF2B5EF4-FFF2-40B4-BE49-F238E27FC236}">
                <a16:creationId xmlns:a16="http://schemas.microsoft.com/office/drawing/2014/main" id="{FE813D60-49DC-CC4E-8912-23F1B67BB019}"/>
              </a:ext>
            </a:extLst>
          </p:cNvPr>
          <p:cNvSpPr>
            <a:spLocks noGrp="1"/>
          </p:cNvSpPr>
          <p:nvPr>
            <p:ph type="body" sz="quarter" idx="14" hasCustomPrompt="1"/>
          </p:nvPr>
        </p:nvSpPr>
        <p:spPr>
          <a:xfrm>
            <a:off x="304798" y="6055756"/>
            <a:ext cx="11582400" cy="489204"/>
          </a:xfrm>
          <a:prstGeom prst="rect">
            <a:avLst/>
          </a:prstGeom>
        </p:spPr>
        <p:txBody>
          <a:bodyPr anchor="b">
            <a:normAutofit/>
          </a:bodyPr>
          <a:lstStyle>
            <a:lvl1pPr marL="0" indent="0">
              <a:spcBef>
                <a:spcPts val="75"/>
              </a:spcBef>
              <a:buNone/>
              <a:defRPr sz="750">
                <a:solidFill>
                  <a:schemeClr val="accent5"/>
                </a:solidFill>
              </a:defRPr>
            </a:lvl1pPr>
          </a:lstStyle>
          <a:p>
            <a:pPr lvl="0"/>
            <a:r>
              <a:rPr lang="en-US"/>
              <a:t>Source notes</a:t>
            </a:r>
          </a:p>
        </p:txBody>
      </p:sp>
      <p:sp>
        <p:nvSpPr>
          <p:cNvPr id="12" name="Content Placeholder 3">
            <a:extLst>
              <a:ext uri="{FF2B5EF4-FFF2-40B4-BE49-F238E27FC236}">
                <a16:creationId xmlns:a16="http://schemas.microsoft.com/office/drawing/2014/main" id="{D38D7C33-9A72-7247-9B25-82BE39794E09}"/>
              </a:ext>
            </a:extLst>
          </p:cNvPr>
          <p:cNvSpPr>
            <a:spLocks noGrp="1"/>
          </p:cNvSpPr>
          <p:nvPr>
            <p:ph sz="quarter" idx="16"/>
          </p:nvPr>
        </p:nvSpPr>
        <p:spPr>
          <a:xfrm>
            <a:off x="304801" y="1447801"/>
            <a:ext cx="5638796" cy="4607954"/>
          </a:xfrm>
          <a:prstGeom prst="rect">
            <a:avLst/>
          </a:prstGeom>
        </p:spPr>
        <p:txBody>
          <a:bodyPr vert="horz" lIns="0" tIns="0" rIns="0" bIns="0" rtlCol="0">
            <a:noAutofit/>
          </a:bodyPr>
          <a:lstStyle>
            <a:lvl1pPr marL="257166" indent="-257166">
              <a:buFont typeface="Arial" panose="020B0604020202020204" pitchFamily="34" charset="0"/>
              <a:buChar cha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a:extLst>
              <a:ext uri="{FF2B5EF4-FFF2-40B4-BE49-F238E27FC236}">
                <a16:creationId xmlns:a16="http://schemas.microsoft.com/office/drawing/2014/main" id="{4109D056-DC1B-0D4A-8CCD-D716570C884F}"/>
              </a:ext>
            </a:extLst>
          </p:cNvPr>
          <p:cNvSpPr>
            <a:spLocks noGrp="1"/>
          </p:cNvSpPr>
          <p:nvPr>
            <p:ph sz="quarter" idx="17"/>
          </p:nvPr>
        </p:nvSpPr>
        <p:spPr>
          <a:xfrm>
            <a:off x="6248400" y="1447801"/>
            <a:ext cx="5638798" cy="4607954"/>
          </a:xfrm>
          <a:prstGeom prst="rect">
            <a:avLst/>
          </a:prstGeo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7">
            <a:extLst>
              <a:ext uri="{FF2B5EF4-FFF2-40B4-BE49-F238E27FC236}">
                <a16:creationId xmlns:a16="http://schemas.microsoft.com/office/drawing/2014/main" id="{95884C43-267B-8949-85E3-D9171D3F9D13}"/>
              </a:ext>
            </a:extLst>
          </p:cNvPr>
          <p:cNvSpPr>
            <a:spLocks noGrp="1"/>
          </p:cNvSpPr>
          <p:nvPr>
            <p:ph type="body" sz="quarter" idx="11" hasCustomPrompt="1"/>
          </p:nvPr>
        </p:nvSpPr>
        <p:spPr>
          <a:xfrm>
            <a:off x="300227" y="893065"/>
            <a:ext cx="11591546" cy="381001"/>
          </a:xfrm>
          <a:prstGeom prst="rect">
            <a:avLst/>
          </a:prstGeom>
        </p:spPr>
        <p:txBody>
          <a:bodyPr lIns="0" tIns="0" rIns="0" bIns="0" anchor="t">
            <a:noAutofit/>
          </a:bodyPr>
          <a:lstStyle>
            <a:lvl1pPr marL="0" indent="0">
              <a:buNone/>
              <a:defRPr sz="1500">
                <a:solidFill>
                  <a:schemeClr val="tx1"/>
                </a:solidFill>
              </a:defRPr>
            </a:lvl1pPr>
          </a:lstStyle>
          <a:p>
            <a:pPr lvl="0"/>
            <a:r>
              <a:rPr lang="en-US"/>
              <a:t>Click to add </a:t>
            </a:r>
            <a:r>
              <a:rPr lang="en-US" err="1"/>
              <a:t>subheader</a:t>
            </a:r>
            <a:endParaRPr lang="en-US"/>
          </a:p>
        </p:txBody>
      </p:sp>
    </p:spTree>
    <p:extLst>
      <p:ext uri="{BB962C8B-B14F-4D97-AF65-F5344CB8AC3E}">
        <p14:creationId xmlns:p14="http://schemas.microsoft.com/office/powerpoint/2010/main" val="127530681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762000"/>
            <a:ext cx="2628900" cy="5410200"/>
          </a:xfrm>
        </p:spPr>
        <p:txBody>
          <a:bodyPr vert="eaVert" lIns="45720" tIns="91440" rIns="45720" bIns="91440"/>
          <a:lstStyle/>
          <a:p>
            <a:r>
              <a:rPr lang="en-US"/>
              <a:t>Click to edit Master title style</a:t>
            </a:r>
            <a:endParaRPr lang="en-US" dirty="0"/>
          </a:p>
        </p:txBody>
      </p:sp>
      <p:sp>
        <p:nvSpPr>
          <p:cNvPr id="3" name="Vertical Text Placeholder 2"/>
          <p:cNvSpPr>
            <a:spLocks noGrp="1"/>
          </p:cNvSpPr>
          <p:nvPr>
            <p:ph type="body" orient="vert" idx="1"/>
          </p:nvPr>
        </p:nvSpPr>
        <p:spPr>
          <a:xfrm>
            <a:off x="990601" y="762000"/>
            <a:ext cx="7581900" cy="54102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a:defRPr/>
            </a:pPr>
            <a:fld id="{893474E1-814B-4A79-A998-D9B177829322}" type="datetimeFigureOut">
              <a:rPr lang="vi-VN" smtClean="0"/>
              <a:pPr>
                <a:defRPr/>
              </a:pPr>
              <a:t>17/08/2023</a:t>
            </a:fld>
            <a:endParaRPr lang="vi-VN"/>
          </a:p>
        </p:txBody>
      </p:sp>
      <p:sp>
        <p:nvSpPr>
          <p:cNvPr id="5" name="Footer Placeholder 4"/>
          <p:cNvSpPr>
            <a:spLocks noGrp="1"/>
          </p:cNvSpPr>
          <p:nvPr>
            <p:ph type="ftr" sz="quarter" idx="11"/>
          </p:nvPr>
        </p:nvSpPr>
        <p:spPr/>
        <p:txBody>
          <a:bodyPr/>
          <a:lstStyle/>
          <a:p>
            <a:pPr>
              <a:defRPr/>
            </a:pPr>
            <a:endParaRPr lang="vi-VN"/>
          </a:p>
        </p:txBody>
      </p:sp>
      <p:sp>
        <p:nvSpPr>
          <p:cNvPr id="6" name="Slide Number Placeholder 5"/>
          <p:cNvSpPr>
            <a:spLocks noGrp="1"/>
          </p:cNvSpPr>
          <p:nvPr>
            <p:ph type="sldNum" sz="quarter" idx="12"/>
          </p:nvPr>
        </p:nvSpPr>
        <p:spPr/>
        <p:txBody>
          <a:bodyPr/>
          <a:lstStyle/>
          <a:p>
            <a:pPr>
              <a:defRPr/>
            </a:pPr>
            <a:fld id="{3633136F-4A3A-4735-ADE0-77D6B286A661}" type="slidenum">
              <a:rPr lang="vi-VN" smtClean="0"/>
              <a:pPr>
                <a:defRPr/>
              </a:pPr>
              <a:t>‹#›</a:t>
            </a:fld>
            <a:endParaRPr lang="vi-VN"/>
          </a:p>
        </p:txBody>
      </p:sp>
      <p:cxnSp>
        <p:nvCxnSpPr>
          <p:cNvPr id="7" name="Straight Connector 6"/>
          <p:cNvCxnSpPr/>
          <p:nvPr/>
        </p:nvCxnSpPr>
        <p:spPr>
          <a:xfrm rot="5400000" flipV="1">
            <a:off x="10058400" y="59263"/>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750116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Presentation Bumper (Red)">
    <p:bg>
      <p:bgPr>
        <a:gradFill flip="none" rotWithShape="1">
          <a:gsLst>
            <a:gs pos="0">
              <a:schemeClr val="tx2"/>
            </a:gs>
            <a:gs pos="45000">
              <a:schemeClr val="tx2"/>
            </a:gs>
            <a:gs pos="100000">
              <a:schemeClr val="tx2">
                <a:lumMod val="50000"/>
              </a:schemeClr>
            </a:gs>
          </a:gsLst>
          <a:lin ang="1080000" scaled="0"/>
          <a:tileRect/>
        </a:gra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1B3035E9-1E30-4A65-87BF-D87723B7387D}"/>
              </a:ext>
            </a:extLst>
          </p:cNvPr>
          <p:cNvGrpSpPr/>
          <p:nvPr userDrawn="1"/>
        </p:nvGrpSpPr>
        <p:grpSpPr>
          <a:xfrm>
            <a:off x="9662260" y="818784"/>
            <a:ext cx="2529740" cy="6039216"/>
            <a:chOff x="9662260" y="818784"/>
            <a:chExt cx="2529740" cy="6039216"/>
          </a:xfrm>
        </p:grpSpPr>
        <p:pic>
          <p:nvPicPr>
            <p:cNvPr id="10" name="Picture 9">
              <a:extLst>
                <a:ext uri="{FF2B5EF4-FFF2-40B4-BE49-F238E27FC236}">
                  <a16:creationId xmlns:a16="http://schemas.microsoft.com/office/drawing/2014/main" id="{9DFE8F35-3478-4D36-AE61-9902FA9E571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662260" y="1471202"/>
              <a:ext cx="2529740" cy="5386798"/>
            </a:xfrm>
            <a:prstGeom prst="rect">
              <a:avLst/>
            </a:prstGeom>
          </p:spPr>
        </p:pic>
        <p:pic>
          <p:nvPicPr>
            <p:cNvPr id="12" name="Picture 11">
              <a:extLst>
                <a:ext uri="{FF2B5EF4-FFF2-40B4-BE49-F238E27FC236}">
                  <a16:creationId xmlns:a16="http://schemas.microsoft.com/office/drawing/2014/main" id="{A63CB1BA-AEDB-454F-BBF3-A9613807210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0539851" y="4300794"/>
              <a:ext cx="1652148" cy="2095226"/>
            </a:xfrm>
            <a:prstGeom prst="rect">
              <a:avLst/>
            </a:prstGeom>
          </p:spPr>
        </p:pic>
        <p:pic>
          <p:nvPicPr>
            <p:cNvPr id="13" name="Picture 12">
              <a:extLst>
                <a:ext uri="{FF2B5EF4-FFF2-40B4-BE49-F238E27FC236}">
                  <a16:creationId xmlns:a16="http://schemas.microsoft.com/office/drawing/2014/main" id="{28BB9361-2245-45C7-85B1-98F75F74B97B}"/>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rot="20585276">
              <a:off x="10888776" y="3404437"/>
              <a:ext cx="841085" cy="888470"/>
            </a:xfrm>
            <a:prstGeom prst="rect">
              <a:avLst/>
            </a:prstGeom>
          </p:spPr>
        </p:pic>
        <p:pic>
          <p:nvPicPr>
            <p:cNvPr id="14" name="Picture 13">
              <a:extLst>
                <a:ext uri="{FF2B5EF4-FFF2-40B4-BE49-F238E27FC236}">
                  <a16:creationId xmlns:a16="http://schemas.microsoft.com/office/drawing/2014/main" id="{266621D9-C1BE-4A88-B2E8-40BCC4E56DF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839843" y="4683251"/>
              <a:ext cx="608076" cy="626643"/>
            </a:xfrm>
            <a:prstGeom prst="rect">
              <a:avLst/>
            </a:prstGeom>
          </p:spPr>
        </p:pic>
        <p:pic>
          <p:nvPicPr>
            <p:cNvPr id="15" name="Picture 14">
              <a:extLst>
                <a:ext uri="{FF2B5EF4-FFF2-40B4-BE49-F238E27FC236}">
                  <a16:creationId xmlns:a16="http://schemas.microsoft.com/office/drawing/2014/main" id="{98F6AB9F-8570-461E-BBA2-E013A3DA14E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rot="19848158">
              <a:off x="10621861" y="5789703"/>
              <a:ext cx="593846" cy="634660"/>
            </a:xfrm>
            <a:prstGeom prst="rect">
              <a:avLst/>
            </a:prstGeom>
          </p:spPr>
        </p:pic>
        <p:pic>
          <p:nvPicPr>
            <p:cNvPr id="16" name="Picture 15">
              <a:extLst>
                <a:ext uri="{FF2B5EF4-FFF2-40B4-BE49-F238E27FC236}">
                  <a16:creationId xmlns:a16="http://schemas.microsoft.com/office/drawing/2014/main" id="{1EE6F465-A690-4861-87C0-E7A6A65E3377}"/>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11037236" y="818784"/>
              <a:ext cx="1154763" cy="1703758"/>
            </a:xfrm>
            <a:prstGeom prst="rect">
              <a:avLst/>
            </a:prstGeom>
          </p:spPr>
        </p:pic>
      </p:grpSp>
      <p:sp>
        <p:nvSpPr>
          <p:cNvPr id="17" name="Slide Number Placeholder 2">
            <a:extLst>
              <a:ext uri="{FF2B5EF4-FFF2-40B4-BE49-F238E27FC236}">
                <a16:creationId xmlns:a16="http://schemas.microsoft.com/office/drawing/2014/main" id="{8EE24E27-68F9-E941-9584-DF35AA5AA788}"/>
              </a:ext>
            </a:extLst>
          </p:cNvPr>
          <p:cNvSpPr>
            <a:spLocks noGrp="1"/>
          </p:cNvSpPr>
          <p:nvPr>
            <p:ph type="sldNum" sz="quarter" idx="10"/>
          </p:nvPr>
        </p:nvSpPr>
        <p:spPr>
          <a:xfrm>
            <a:off x="1" y="6553200"/>
            <a:ext cx="304799" cy="304799"/>
          </a:xfrm>
        </p:spPr>
        <p:txBody>
          <a:bodyPr/>
          <a:lstStyle>
            <a:lvl1pPr>
              <a:defRPr>
                <a:solidFill>
                  <a:schemeClr val="bg1"/>
                </a:solidFill>
              </a:defRPr>
            </a:lvl1pPr>
          </a:lstStyle>
          <a:p>
            <a:fld id="{89006F1E-66CD-4A4B-9370-B4A3080F0E6C}" type="slidenum">
              <a:rPr lang="en-US" smtClean="0"/>
              <a:pPr/>
              <a:t>‹#›</a:t>
            </a:fld>
            <a:endParaRPr lang="en-US" dirty="0"/>
          </a:p>
        </p:txBody>
      </p:sp>
      <p:sp>
        <p:nvSpPr>
          <p:cNvPr id="18" name="Footer Placeholder 1">
            <a:extLst>
              <a:ext uri="{FF2B5EF4-FFF2-40B4-BE49-F238E27FC236}">
                <a16:creationId xmlns:a16="http://schemas.microsoft.com/office/drawing/2014/main" id="{6380E455-E213-C44A-A7FC-3A9E06997A4C}"/>
              </a:ext>
            </a:extLst>
          </p:cNvPr>
          <p:cNvSpPr>
            <a:spLocks noGrp="1"/>
          </p:cNvSpPr>
          <p:nvPr>
            <p:ph type="ftr" sz="quarter" idx="14"/>
          </p:nvPr>
        </p:nvSpPr>
        <p:spPr>
          <a:xfrm>
            <a:off x="304799" y="6553201"/>
            <a:ext cx="7620001" cy="304800"/>
          </a:xfrm>
          <a:prstGeom prst="rect">
            <a:avLst/>
          </a:prstGeom>
        </p:spPr>
        <p:txBody>
          <a:bodyPr/>
          <a:lstStyle>
            <a:lvl1pPr>
              <a:defRPr>
                <a:solidFill>
                  <a:schemeClr val="bg1"/>
                </a:solidFill>
              </a:defRPr>
            </a:lvl1pPr>
          </a:lstStyle>
          <a:p>
            <a:endParaRPr lang="en-US" dirty="0">
              <a:ea typeface="MS PGothic" panose="020B0600070205080204" pitchFamily="34" charset="-128"/>
            </a:endParaRPr>
          </a:p>
        </p:txBody>
      </p:sp>
      <p:sp>
        <p:nvSpPr>
          <p:cNvPr id="20" name="Content Placeholder 4">
            <a:extLst>
              <a:ext uri="{FF2B5EF4-FFF2-40B4-BE49-F238E27FC236}">
                <a16:creationId xmlns:a16="http://schemas.microsoft.com/office/drawing/2014/main" id="{20350945-012E-8845-8F5F-AD0E66DE7739}"/>
              </a:ext>
            </a:extLst>
          </p:cNvPr>
          <p:cNvSpPr>
            <a:spLocks noGrp="1"/>
          </p:cNvSpPr>
          <p:nvPr>
            <p:ph sz="quarter" idx="16" hasCustomPrompt="1"/>
          </p:nvPr>
        </p:nvSpPr>
        <p:spPr>
          <a:xfrm>
            <a:off x="318656" y="5268999"/>
            <a:ext cx="7691658" cy="489250"/>
          </a:xfrm>
        </p:spPr>
        <p:txBody>
          <a:bodyPr/>
          <a:lstStyle>
            <a:lvl1pPr marL="0" marR="0" indent="0" algn="l" defTabSz="914400" rtl="0" eaLnBrk="1" fontAlgn="auto" latinLnBrk="0" hangingPunct="1">
              <a:lnSpc>
                <a:spcPct val="120000"/>
              </a:lnSpc>
              <a:spcBef>
                <a:spcPts val="200"/>
              </a:spcBef>
              <a:spcAft>
                <a:spcPts val="0"/>
              </a:spcAft>
              <a:buClr>
                <a:schemeClr val="tx2"/>
              </a:buClr>
              <a:buSzPct val="100000"/>
              <a:buFont typeface="Arial" panose="020B0604020202020204" pitchFamily="34" charset="0"/>
              <a:buNone/>
              <a:tabLst/>
              <a:defRPr>
                <a:solidFill>
                  <a:schemeClr val="bg1"/>
                </a:solidFill>
              </a:defRPr>
            </a:lvl1pPr>
          </a:lstStyle>
          <a:p>
            <a:pPr marL="0" marR="0" lvl="0" indent="0" algn="l" defTabSz="914400" rtl="0" eaLnBrk="1" fontAlgn="auto" latinLnBrk="0" hangingPunct="1">
              <a:lnSpc>
                <a:spcPct val="120000"/>
              </a:lnSpc>
              <a:spcBef>
                <a:spcPts val="200"/>
              </a:spcBef>
              <a:spcAft>
                <a:spcPts val="0"/>
              </a:spcAft>
              <a:buClr>
                <a:schemeClr val="tx2"/>
              </a:buClr>
              <a:buSzPct val="100000"/>
              <a:buFont typeface="Arial" panose="020B0604020202020204" pitchFamily="34" charset="0"/>
              <a:buNone/>
              <a:tabLst/>
              <a:defRPr/>
            </a:pPr>
            <a:r>
              <a:rPr lang="en-US" sz="2000" b="0" dirty="0">
                <a:solidFill>
                  <a:schemeClr val="bg1"/>
                </a:solidFill>
              </a:rPr>
              <a:t>Custom message…</a:t>
            </a:r>
            <a:endParaRPr lang="en-US" sz="2000" dirty="0">
              <a:solidFill>
                <a:schemeClr val="bg1"/>
              </a:solidFill>
            </a:endParaRPr>
          </a:p>
        </p:txBody>
      </p:sp>
      <p:sp>
        <p:nvSpPr>
          <p:cNvPr id="21" name="Text Placeholder 2">
            <a:extLst>
              <a:ext uri="{FF2B5EF4-FFF2-40B4-BE49-F238E27FC236}">
                <a16:creationId xmlns:a16="http://schemas.microsoft.com/office/drawing/2014/main" id="{1F2724B9-ABB6-0B48-8CBE-4DC2424568F8}"/>
              </a:ext>
            </a:extLst>
          </p:cNvPr>
          <p:cNvSpPr>
            <a:spLocks noGrp="1"/>
          </p:cNvSpPr>
          <p:nvPr>
            <p:ph type="body" sz="quarter" idx="17" hasCustomPrompt="1"/>
          </p:nvPr>
        </p:nvSpPr>
        <p:spPr>
          <a:xfrm>
            <a:off x="255104" y="3792585"/>
            <a:ext cx="7755210" cy="1476413"/>
          </a:xfrm>
        </p:spPr>
        <p:txBody>
          <a:bodyPr/>
          <a:lstStyle>
            <a:lvl1pPr>
              <a:buNone/>
              <a:defRPr lang="en-US" sz="9600" b="1" kern="1200" dirty="0">
                <a:solidFill>
                  <a:schemeClr val="bg1"/>
                </a:solidFill>
                <a:latin typeface="+mn-lt"/>
                <a:ea typeface="+mn-ea"/>
                <a:cs typeface="+mn-cs"/>
              </a:defRPr>
            </a:lvl1pPr>
          </a:lstStyle>
          <a:p>
            <a:pPr lvl="0"/>
            <a:r>
              <a:rPr lang="en-US" dirty="0"/>
              <a:t>Custom…</a:t>
            </a:r>
          </a:p>
        </p:txBody>
      </p:sp>
    </p:spTree>
    <p:extLst>
      <p:ext uri="{BB962C8B-B14F-4D97-AF65-F5344CB8AC3E}">
        <p14:creationId xmlns:p14="http://schemas.microsoft.com/office/powerpoint/2010/main" val="2006754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Title and Content-red header">
    <p:spTree>
      <p:nvGrpSpPr>
        <p:cNvPr id="1" name=""/>
        <p:cNvGrpSpPr/>
        <p:nvPr/>
      </p:nvGrpSpPr>
      <p:grpSpPr>
        <a:xfrm>
          <a:off x="0" y="0"/>
          <a:ext cx="0" cy="0"/>
          <a:chOff x="0" y="0"/>
          <a:chExt cx="0" cy="0"/>
        </a:xfrm>
      </p:grpSpPr>
      <p:sp>
        <p:nvSpPr>
          <p:cNvPr id="4" name="Title 3"/>
          <p:cNvSpPr>
            <a:spLocks noGrp="1"/>
          </p:cNvSpPr>
          <p:nvPr>
            <p:ph type="title" hasCustomPrompt="1"/>
          </p:nvPr>
        </p:nvSpPr>
        <p:spPr>
          <a:solidFill>
            <a:schemeClr val="accent4"/>
          </a:solidFill>
        </p:spPr>
        <p:txBody>
          <a:bodyPr/>
          <a:lstStyle>
            <a:lvl1pPr>
              <a:defRPr baseline="0"/>
            </a:lvl1pPr>
          </a:lstStyle>
          <a:p>
            <a:r>
              <a:rPr lang="en-US" dirty="0"/>
              <a:t>Red Title Bar Reserved for Corporate Company Use</a:t>
            </a:r>
          </a:p>
        </p:txBody>
      </p:sp>
    </p:spTree>
    <p:extLst>
      <p:ext uri="{BB962C8B-B14F-4D97-AF65-F5344CB8AC3E}">
        <p14:creationId xmlns:p14="http://schemas.microsoft.com/office/powerpoint/2010/main" val="1011640517"/>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1_Title with content bar">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0" hasCustomPrompt="1"/>
          </p:nvPr>
        </p:nvSpPr>
        <p:spPr>
          <a:xfrm>
            <a:off x="0" y="533406"/>
            <a:ext cx="12192000" cy="1979613"/>
          </a:xfrm>
          <a:solidFill>
            <a:srgbClr val="5F8B00"/>
          </a:solidFill>
        </p:spPr>
        <p:txBody>
          <a:bodyPr lIns="274320" anchor="ctr" anchorCtr="0"/>
          <a:lstStyle>
            <a:lvl1pPr marL="0" indent="0">
              <a:spcBef>
                <a:spcPts val="544"/>
              </a:spcBef>
              <a:buClr>
                <a:schemeClr val="bg1"/>
              </a:buClr>
              <a:buFontTx/>
              <a:buNone/>
              <a:defRPr sz="1633" baseline="0">
                <a:solidFill>
                  <a:schemeClr val="bg1"/>
                </a:solidFill>
              </a:defRPr>
            </a:lvl1pPr>
            <a:lvl2pPr marL="155502" indent="0">
              <a:buFontTx/>
              <a:buNone/>
              <a:defRPr sz="1451"/>
            </a:lvl2pPr>
          </a:lstStyle>
          <a:p>
            <a:pPr marL="0" indent="0">
              <a:spcBef>
                <a:spcPts val="600"/>
              </a:spcBef>
              <a:buClr>
                <a:schemeClr val="bg1"/>
              </a:buClr>
              <a:buNone/>
            </a:pPr>
            <a:r>
              <a:rPr lang="en-US" sz="2177" kern="0" dirty="0">
                <a:solidFill>
                  <a:schemeClr val="bg1"/>
                </a:solidFill>
              </a:rPr>
              <a:t>Place sub-head or framing statement text in this box. </a:t>
            </a:r>
            <a:br>
              <a:rPr lang="en-US" sz="2177" kern="0" dirty="0">
                <a:solidFill>
                  <a:schemeClr val="bg1"/>
                </a:solidFill>
              </a:rPr>
            </a:br>
            <a:r>
              <a:rPr lang="en-US" sz="2177" kern="0" dirty="0">
                <a:solidFill>
                  <a:schemeClr val="bg1"/>
                </a:solidFill>
              </a:rPr>
              <a:t>Change box color and transparency as desired.</a:t>
            </a:r>
            <a:br>
              <a:rPr lang="en-US" sz="2177" kern="0" dirty="0">
                <a:solidFill>
                  <a:schemeClr val="bg1"/>
                </a:solidFill>
              </a:rPr>
            </a:br>
            <a:r>
              <a:rPr lang="en-US" sz="2177" kern="0" dirty="0">
                <a:solidFill>
                  <a:schemeClr val="bg1"/>
                </a:solidFill>
              </a:rPr>
              <a:t>Vertically reposition as desired.</a:t>
            </a:r>
          </a:p>
        </p:txBody>
      </p:sp>
    </p:spTree>
    <p:extLst>
      <p:ext uri="{BB962C8B-B14F-4D97-AF65-F5344CB8AC3E}">
        <p14:creationId xmlns:p14="http://schemas.microsoft.com/office/powerpoint/2010/main" val="3356646358"/>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Important Disclaimer">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0081F8D7-94E1-D14A-9B72-83893197CFDB}"/>
              </a:ext>
            </a:extLst>
          </p:cNvPr>
          <p:cNvSpPr/>
          <p:nvPr userDrawn="1"/>
        </p:nvSpPr>
        <p:spPr>
          <a:xfrm>
            <a:off x="304802" y="1447801"/>
            <a:ext cx="4876801" cy="234730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46" name="Text Placeholder 9">
            <a:extLst>
              <a:ext uri="{FF2B5EF4-FFF2-40B4-BE49-F238E27FC236}">
                <a16:creationId xmlns:a16="http://schemas.microsoft.com/office/drawing/2014/main" id="{4DB97ED0-9771-E044-B63D-01D4F8A70AD0}"/>
              </a:ext>
            </a:extLst>
          </p:cNvPr>
          <p:cNvSpPr txBox="1">
            <a:spLocks/>
          </p:cNvSpPr>
          <p:nvPr userDrawn="1"/>
        </p:nvSpPr>
        <p:spPr>
          <a:xfrm>
            <a:off x="300227" y="3966984"/>
            <a:ext cx="4869915" cy="2586217"/>
          </a:xfrm>
          <a:prstGeom prst="rect">
            <a:avLst/>
          </a:prstGeom>
        </p:spPr>
        <p:txBody>
          <a:bodyPr vert="horz" lIns="0" tIns="0" rIns="0" bIns="0" numCol="1" rtlCol="0" anchor="t">
            <a:noAutofit/>
          </a:bodyPr>
          <a:lstStyle>
            <a:lvl1pPr marL="0" indent="0" algn="l" defTabSz="914400" rtl="0" eaLnBrk="1" latinLnBrk="0" hangingPunct="1">
              <a:lnSpc>
                <a:spcPct val="100000"/>
              </a:lnSpc>
              <a:spcBef>
                <a:spcPts val="400"/>
              </a:spcBef>
              <a:buClr>
                <a:schemeClr val="accent4"/>
              </a:buClr>
              <a:buSzPct val="100000"/>
              <a:buFont typeface="Arial" panose="020B0604020202020204" pitchFamily="34" charset="0"/>
              <a:buNone/>
              <a:tabLst/>
              <a:defRPr sz="2000" b="0" kern="1200">
                <a:solidFill>
                  <a:schemeClr val="tx1"/>
                </a:solidFill>
                <a:latin typeface="+mn-lt"/>
                <a:ea typeface="+mn-ea"/>
                <a:cs typeface="+mn-cs"/>
              </a:defRPr>
            </a:lvl1pPr>
            <a:lvl2pPr marL="236537" marR="0" indent="0" algn="l" defTabSz="914400" rtl="0" eaLnBrk="1" fontAlgn="auto" latinLnBrk="0" hangingPunct="1">
              <a:lnSpc>
                <a:spcPct val="100000"/>
              </a:lnSpc>
              <a:spcBef>
                <a:spcPts val="400"/>
              </a:spcBef>
              <a:spcAft>
                <a:spcPts val="0"/>
              </a:spcAft>
              <a:buClrTx/>
              <a:buSzPct val="76000"/>
              <a:buFont typeface="Arial" panose="020B0604020202020204" pitchFamily="34" charset="0"/>
              <a:buNone/>
              <a:tabLst/>
              <a:defRPr sz="1800" b="0" kern="1200">
                <a:solidFill>
                  <a:schemeClr val="tx1"/>
                </a:solidFill>
                <a:latin typeface="+mn-lt"/>
                <a:ea typeface="+mn-ea"/>
                <a:cs typeface="+mn-cs"/>
              </a:defRPr>
            </a:lvl2pPr>
            <a:lvl3pPr marL="749300" marR="0" indent="-285750" algn="l" defTabSz="914400" rtl="0" eaLnBrk="1" fontAlgn="auto" latinLnBrk="0" hangingPunct="1">
              <a:lnSpc>
                <a:spcPct val="100000"/>
              </a:lnSpc>
              <a:spcBef>
                <a:spcPts val="400"/>
              </a:spcBef>
              <a:spcAft>
                <a:spcPts val="0"/>
              </a:spcAft>
              <a:buClrTx/>
              <a:buSzPct val="80000"/>
              <a:buFont typeface="System Font Regular"/>
              <a:buChar char="-"/>
              <a:tabLst/>
              <a:defRPr sz="1400" b="0" kern="1200">
                <a:solidFill>
                  <a:schemeClr val="tx1"/>
                </a:solidFill>
                <a:latin typeface="+mn-lt"/>
                <a:ea typeface="+mn-ea"/>
                <a:cs typeface="+mn-cs"/>
              </a:defRPr>
            </a:lvl3pPr>
            <a:lvl4pPr marL="690563" marR="0" indent="0" algn="l" defTabSz="914400" rtl="0" eaLnBrk="1" fontAlgn="auto" latinLnBrk="0" hangingPunct="1">
              <a:lnSpc>
                <a:spcPct val="100000"/>
              </a:lnSpc>
              <a:spcBef>
                <a:spcPts val="400"/>
              </a:spcBef>
              <a:spcAft>
                <a:spcPts val="0"/>
              </a:spcAft>
              <a:buClrTx/>
              <a:buSzPct val="80000"/>
              <a:buFont typeface="Arial" panose="020B0604020202020204" pitchFamily="34" charset="0"/>
              <a:buNone/>
              <a:tabLst/>
              <a:defRPr sz="1200" b="0" kern="1200">
                <a:solidFill>
                  <a:schemeClr val="tx1"/>
                </a:solidFill>
                <a:latin typeface="+mn-lt"/>
                <a:ea typeface="+mn-ea"/>
                <a:cs typeface="+mn-cs"/>
              </a:defRPr>
            </a:lvl4pPr>
            <a:lvl5pPr marL="909637" marR="0" indent="0" algn="l" defTabSz="914400" rtl="0" eaLnBrk="1" fontAlgn="auto" latinLnBrk="0" hangingPunct="1">
              <a:lnSpc>
                <a:spcPct val="100000"/>
              </a:lnSpc>
              <a:spcBef>
                <a:spcPts val="400"/>
              </a:spcBef>
              <a:spcAft>
                <a:spcPts val="0"/>
              </a:spcAft>
              <a:buClrTx/>
              <a:buSzPct val="80000"/>
              <a:buFont typeface="Arial" panose="020B0604020202020204" pitchFamily="34" charset="0"/>
              <a:buNone/>
              <a:tabLst/>
              <a:defRPr sz="11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40000"/>
              </a:lnSpc>
            </a:pPr>
            <a:r>
              <a:rPr lang="en-US" sz="900" b="1"/>
              <a:t>External disclaimer criteria:</a:t>
            </a:r>
          </a:p>
          <a:p>
            <a:pPr marL="128584" indent="-128584">
              <a:lnSpc>
                <a:spcPct val="140000"/>
              </a:lnSpc>
              <a:buFont typeface="Arial" panose="020B0604020202020204" pitchFamily="34" charset="0"/>
              <a:buChar char="•"/>
            </a:pPr>
            <a:r>
              <a:rPr lang="en-US" sz="675"/>
              <a:t>Before sharing confidential information externally, ensure you have a confidential disclosure agreement (CDA) in place. The </a:t>
            </a:r>
            <a:r>
              <a:rPr lang="en-US" sz="675" b="1"/>
              <a:t>“Proprietary &amp; Confidential” </a:t>
            </a:r>
            <a:r>
              <a:rPr lang="en-US" sz="675"/>
              <a:t>disclaimer does not replace a CDA.</a:t>
            </a:r>
          </a:p>
          <a:p>
            <a:pPr marL="128584" indent="-128584">
              <a:lnSpc>
                <a:spcPct val="140000"/>
              </a:lnSpc>
              <a:buFont typeface="Arial" panose="020B0604020202020204" pitchFamily="34" charset="0"/>
              <a:buChar char="•"/>
            </a:pPr>
            <a:r>
              <a:rPr lang="en-US" sz="675"/>
              <a:t>Before removing the </a:t>
            </a:r>
            <a:r>
              <a:rPr lang="en-US" sz="675" b="1"/>
              <a:t>“Proprietary &amp; Confidential” </a:t>
            </a:r>
            <a:r>
              <a:rPr lang="en-US" sz="675"/>
              <a:t>disclaimer to exhibit content externally, you must ensure the content is appropriate from a Business, Division or Group entity; Legal; and Regulatory Affairs perspective. This means following your business’s, division’s or group’s process for obtaining Legal and Regulatory Affairs approval.</a:t>
            </a:r>
          </a:p>
          <a:p>
            <a:pPr marL="128584" indent="-128584">
              <a:lnSpc>
                <a:spcPct val="140000"/>
              </a:lnSpc>
              <a:buFont typeface="Arial" panose="020B0604020202020204" pitchFamily="34" charset="0"/>
              <a:buChar char="•"/>
            </a:pPr>
            <a:r>
              <a:rPr lang="en-US" sz="675"/>
              <a:t>If you’re importing slides from the </a:t>
            </a:r>
            <a:r>
              <a:rPr lang="en-US" sz="675">
                <a:hlinkClick r:id="rId2">
                  <a:extLst>
                    <a:ext uri="{A12FA001-AC4F-418D-AE19-62706E023703}">
                      <ahyp:hlinkClr xmlns:ahyp="http://schemas.microsoft.com/office/drawing/2018/hyperlinkcolor" val="tx"/>
                    </a:ext>
                  </a:extLst>
                </a:hlinkClick>
              </a:rPr>
              <a:t>Customer Value Proposition</a:t>
            </a:r>
            <a:r>
              <a:rPr lang="en-US" sz="675"/>
              <a:t> deck, which is cleared for external use and not considered Proprietary &amp; Confidential, you can leave a disclaimer off those slides and simply list the author’s email and date published on those slides.</a:t>
            </a:r>
          </a:p>
        </p:txBody>
      </p:sp>
      <p:pic>
        <p:nvPicPr>
          <p:cNvPr id="47" name="Graphic 46">
            <a:extLst>
              <a:ext uri="{FF2B5EF4-FFF2-40B4-BE49-F238E27FC236}">
                <a16:creationId xmlns:a16="http://schemas.microsoft.com/office/drawing/2014/main" id="{5957BB70-3758-2241-95DE-E49DED9F761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44035" y="1665185"/>
            <a:ext cx="356616" cy="365760"/>
          </a:xfrm>
          <a:prstGeom prst="rect">
            <a:avLst/>
          </a:prstGeom>
        </p:spPr>
      </p:pic>
      <p:cxnSp>
        <p:nvCxnSpPr>
          <p:cNvPr id="48" name="Straight Connector 47">
            <a:extLst>
              <a:ext uri="{FF2B5EF4-FFF2-40B4-BE49-F238E27FC236}">
                <a16:creationId xmlns:a16="http://schemas.microsoft.com/office/drawing/2014/main" id="{63783495-6D28-834A-90D4-F810D049B150}"/>
              </a:ext>
            </a:extLst>
          </p:cNvPr>
          <p:cNvCxnSpPr>
            <a:cxnSpLocks/>
          </p:cNvCxnSpPr>
          <p:nvPr userDrawn="1"/>
        </p:nvCxnSpPr>
        <p:spPr>
          <a:xfrm>
            <a:off x="5505901" y="1481339"/>
            <a:ext cx="0" cy="472440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23692791-F43E-EE45-B104-207B0D8D1E5C}"/>
              </a:ext>
            </a:extLst>
          </p:cNvPr>
          <p:cNvSpPr txBox="1"/>
          <p:nvPr userDrawn="1"/>
        </p:nvSpPr>
        <p:spPr>
          <a:xfrm>
            <a:off x="1143002" y="1667692"/>
            <a:ext cx="3807134" cy="1873031"/>
          </a:xfrm>
          <a:prstGeom prst="rect">
            <a:avLst/>
          </a:prstGeom>
          <a:noFill/>
        </p:spPr>
        <p:txBody>
          <a:bodyPr wrap="square" lIns="0" tIns="0" rIns="0" bIns="0" rtlCol="0">
            <a:normAutofit/>
          </a:bodyPr>
          <a:lstStyle/>
          <a:p>
            <a:pPr defTabSz="685778">
              <a:lnSpc>
                <a:spcPct val="120000"/>
              </a:lnSpc>
              <a:spcBef>
                <a:spcPts val="150"/>
              </a:spcBef>
              <a:buClr>
                <a:schemeClr val="tx2"/>
              </a:buClr>
              <a:buSzPct val="100000"/>
            </a:pPr>
            <a:r>
              <a:rPr lang="en-US" sz="825" b="1">
                <a:solidFill>
                  <a:schemeClr val="bg1"/>
                </a:solidFill>
              </a:rPr>
              <a:t>Important:</a:t>
            </a:r>
            <a:r>
              <a:rPr lang="en-US" sz="825">
                <a:solidFill>
                  <a:schemeClr val="bg1"/>
                </a:solidFill>
              </a:rPr>
              <a:t> This template contains a default </a:t>
            </a:r>
            <a:r>
              <a:rPr lang="en-US" sz="825" b="1">
                <a:solidFill>
                  <a:schemeClr val="bg1"/>
                </a:solidFill>
              </a:rPr>
              <a:t>“Proprietary &amp; Confidential” </a:t>
            </a:r>
            <a:r>
              <a:rPr lang="en-US" sz="825">
                <a:solidFill>
                  <a:schemeClr val="bg1"/>
                </a:solidFill>
              </a:rPr>
              <a:t>disclaimer in the footer. It is designed to protect information that we want to protect as </a:t>
            </a:r>
            <a:r>
              <a:rPr lang="en-US" sz="825" b="1">
                <a:solidFill>
                  <a:schemeClr val="bg1"/>
                </a:solidFill>
              </a:rPr>
              <a:t>internal use only </a:t>
            </a:r>
            <a:r>
              <a:rPr lang="en-US" sz="825">
                <a:solidFill>
                  <a:schemeClr val="bg1"/>
                </a:solidFill>
              </a:rPr>
              <a:t>and don't want to share with third parties.  You should use this unless your material meets criteria that would allow it be shared externally.</a:t>
            </a:r>
            <a:br>
              <a:rPr lang="en-US" sz="825">
                <a:solidFill>
                  <a:schemeClr val="bg1"/>
                </a:solidFill>
              </a:rPr>
            </a:br>
            <a:endParaRPr lang="en-US" sz="825">
              <a:solidFill>
                <a:schemeClr val="bg1"/>
              </a:solidFill>
            </a:endParaRPr>
          </a:p>
          <a:p>
            <a:pPr defTabSz="685778">
              <a:lnSpc>
                <a:spcPct val="120000"/>
              </a:lnSpc>
              <a:spcBef>
                <a:spcPts val="150"/>
              </a:spcBef>
              <a:buClr>
                <a:schemeClr val="tx2"/>
              </a:buClr>
              <a:buSzPct val="100000"/>
            </a:pPr>
            <a:r>
              <a:rPr lang="en-US" sz="825">
                <a:solidFill>
                  <a:schemeClr val="bg1"/>
                </a:solidFill>
              </a:rPr>
              <a:t>To edit the footer, click Insert &gt; Header &amp; Footer, make the change in the pop-up window, and then choose “Apply” for one slide or “Apply to all” for the entire deck.</a:t>
            </a:r>
          </a:p>
        </p:txBody>
      </p:sp>
      <p:sp>
        <p:nvSpPr>
          <p:cNvPr id="79" name="Footer Placeholder 1">
            <a:extLst>
              <a:ext uri="{FF2B5EF4-FFF2-40B4-BE49-F238E27FC236}">
                <a16:creationId xmlns:a16="http://schemas.microsoft.com/office/drawing/2014/main" id="{555EAE1F-5676-C34A-8CF6-B38C31AF80D9}"/>
              </a:ext>
            </a:extLst>
          </p:cNvPr>
          <p:cNvSpPr>
            <a:spLocks noGrp="1"/>
          </p:cNvSpPr>
          <p:nvPr>
            <p:ph type="ftr" sz="quarter" idx="11"/>
          </p:nvPr>
        </p:nvSpPr>
        <p:spPr>
          <a:xfrm>
            <a:off x="304801" y="6553202"/>
            <a:ext cx="5791200" cy="304799"/>
          </a:xfrm>
        </p:spPr>
        <p:txBody>
          <a:bodyPr/>
          <a:lstStyle/>
          <a:p>
            <a:r>
              <a:rPr lang="en-US"/>
              <a:t>Proprietary &amp; Confidential |  </a:t>
            </a:r>
            <a:r>
              <a:rPr lang="en-US" err="1"/>
              <a:t>authoremail@thermofisher.com</a:t>
            </a:r>
            <a:r>
              <a:rPr lang="en-US"/>
              <a:t> | 5-August-2020</a:t>
            </a:r>
          </a:p>
        </p:txBody>
      </p:sp>
      <p:sp>
        <p:nvSpPr>
          <p:cNvPr id="80" name="Slide Number Placeholder 2">
            <a:extLst>
              <a:ext uri="{FF2B5EF4-FFF2-40B4-BE49-F238E27FC236}">
                <a16:creationId xmlns:a16="http://schemas.microsoft.com/office/drawing/2014/main" id="{B2F62D11-9A5D-6545-93AD-739D274B4BC5}"/>
              </a:ext>
            </a:extLst>
          </p:cNvPr>
          <p:cNvSpPr>
            <a:spLocks noGrp="1"/>
          </p:cNvSpPr>
          <p:nvPr>
            <p:ph type="sldNum" sz="quarter" idx="13"/>
          </p:nvPr>
        </p:nvSpPr>
        <p:spPr>
          <a:xfrm>
            <a:off x="2" y="6553202"/>
            <a:ext cx="304799" cy="304799"/>
          </a:xfrm>
        </p:spPr>
        <p:txBody>
          <a:bodyPr/>
          <a:lstStyle/>
          <a:p>
            <a:fld id="{89006F1E-66CD-4A4B-9370-B4A3080F0E6C}" type="slidenum">
              <a:rPr lang="en-US" smtClean="0"/>
              <a:pPr/>
              <a:t>‹#›</a:t>
            </a:fld>
            <a:endParaRPr lang="en-US"/>
          </a:p>
        </p:txBody>
      </p:sp>
      <p:sp>
        <p:nvSpPr>
          <p:cNvPr id="82" name="Title 6">
            <a:extLst>
              <a:ext uri="{FF2B5EF4-FFF2-40B4-BE49-F238E27FC236}">
                <a16:creationId xmlns:a16="http://schemas.microsoft.com/office/drawing/2014/main" id="{E671D4F8-A815-C84C-8B84-2BC0FD804D52}"/>
              </a:ext>
            </a:extLst>
          </p:cNvPr>
          <p:cNvSpPr txBox="1">
            <a:spLocks/>
          </p:cNvSpPr>
          <p:nvPr/>
        </p:nvSpPr>
        <p:spPr>
          <a:xfrm>
            <a:off x="304801" y="304800"/>
            <a:ext cx="9753600" cy="381001"/>
          </a:xfrm>
          <a:prstGeom prst="rect">
            <a:avLst/>
          </a:prstGeom>
        </p:spPr>
        <p:txBody>
          <a:bodyPr lIns="0" tIns="0" rIns="0" bIns="0"/>
          <a:lst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a:lstStyle>
          <a:p>
            <a:r>
              <a:rPr lang="en-US" sz="2100"/>
              <a:t>Footer content</a:t>
            </a:r>
          </a:p>
        </p:txBody>
      </p:sp>
      <p:sp>
        <p:nvSpPr>
          <p:cNvPr id="83" name="Text Placeholder 9">
            <a:extLst>
              <a:ext uri="{FF2B5EF4-FFF2-40B4-BE49-F238E27FC236}">
                <a16:creationId xmlns:a16="http://schemas.microsoft.com/office/drawing/2014/main" id="{B9D80A7B-7EE9-C344-B667-9AC3E29BB508}"/>
              </a:ext>
            </a:extLst>
          </p:cNvPr>
          <p:cNvSpPr txBox="1">
            <a:spLocks/>
          </p:cNvSpPr>
          <p:nvPr/>
        </p:nvSpPr>
        <p:spPr>
          <a:xfrm>
            <a:off x="300227" y="893065"/>
            <a:ext cx="11591546" cy="381001"/>
          </a:xfrm>
          <a:prstGeom prst="rect">
            <a:avLst/>
          </a:prstGeom>
        </p:spPr>
        <p:txBody>
          <a:bodyPr vert="horz" lIns="0" tIns="0" rIns="0" bIns="0" rtlCol="0" anchor="t">
            <a:noAutofit/>
          </a:bodyPr>
          <a:lstStyle>
            <a:defPPr>
              <a:defRPr lang="en-US"/>
            </a:defPPr>
            <a:lvl1pPr marL="0" algn="l" defTabSz="457200" rtl="0" eaLnBrk="1" latinLnBrk="0" hangingPunct="1">
              <a:defRPr lang="en-US" sz="800" kern="1200">
                <a:solidFill>
                  <a:schemeClr val="accent5"/>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500" b="0">
                <a:solidFill>
                  <a:schemeClr val="tx1"/>
                </a:solidFill>
              </a:rPr>
              <a:t>Including confidentiality, product-use disclaimers, author, and date</a:t>
            </a:r>
          </a:p>
        </p:txBody>
      </p:sp>
      <p:sp>
        <p:nvSpPr>
          <p:cNvPr id="45" name="Rectangle 44">
            <a:extLst>
              <a:ext uri="{FF2B5EF4-FFF2-40B4-BE49-F238E27FC236}">
                <a16:creationId xmlns:a16="http://schemas.microsoft.com/office/drawing/2014/main" id="{25AC3306-F602-FF47-86A9-EF05C807374D}"/>
              </a:ext>
            </a:extLst>
          </p:cNvPr>
          <p:cNvSpPr/>
          <p:nvPr userDrawn="1"/>
        </p:nvSpPr>
        <p:spPr>
          <a:xfrm>
            <a:off x="5788337" y="2637632"/>
            <a:ext cx="1952553" cy="138499"/>
          </a:xfrm>
          <a:prstGeom prst="rect">
            <a:avLst/>
          </a:prstGeom>
        </p:spPr>
        <p:txBody>
          <a:bodyPr wrap="square" lIns="0" tIns="0" rIns="0" bIns="0">
            <a:spAutoFit/>
          </a:bodyPr>
          <a:lstStyle/>
          <a:p>
            <a:r>
              <a:rPr lang="en-US" sz="900" b="1"/>
              <a:t>Footer examples</a:t>
            </a:r>
            <a:endParaRPr lang="en-US" sz="900"/>
          </a:p>
        </p:txBody>
      </p:sp>
      <p:sp>
        <p:nvSpPr>
          <p:cNvPr id="50" name="Rectangle 49">
            <a:extLst>
              <a:ext uri="{FF2B5EF4-FFF2-40B4-BE49-F238E27FC236}">
                <a16:creationId xmlns:a16="http://schemas.microsoft.com/office/drawing/2014/main" id="{23960E65-62E9-7547-97E0-D130B22286C4}"/>
              </a:ext>
            </a:extLst>
          </p:cNvPr>
          <p:cNvSpPr/>
          <p:nvPr userDrawn="1"/>
        </p:nvSpPr>
        <p:spPr>
          <a:xfrm>
            <a:off x="5788336" y="1447802"/>
            <a:ext cx="6098864" cy="1135775"/>
          </a:xfrm>
          <a:prstGeom prst="rect">
            <a:avLst/>
          </a:prstGeom>
          <a:noFill/>
        </p:spPr>
        <p:txBody>
          <a:bodyPr wrap="square" lIns="0" tIns="0" rIns="0" bIns="0" rtlCol="0">
            <a:noAutofit/>
          </a:bodyPr>
          <a:lstStyle/>
          <a:p>
            <a:pPr defTabSz="685778">
              <a:lnSpc>
                <a:spcPct val="120000"/>
              </a:lnSpc>
              <a:spcBef>
                <a:spcPts val="150"/>
              </a:spcBef>
              <a:buClr>
                <a:schemeClr val="tx2"/>
              </a:buClr>
              <a:buSzPct val="100000"/>
            </a:pPr>
            <a:r>
              <a:rPr lang="en-US" sz="900" b="1"/>
              <a:t>All footers should contain an author’s or group’s email address and publication date for future reference.  </a:t>
            </a:r>
            <a:r>
              <a:rPr lang="en-US" sz="825" b="0"/>
              <a:t>Always use four digits for the year.</a:t>
            </a:r>
          </a:p>
          <a:p>
            <a:pPr marL="0" marR="0" lvl="0" indent="0" algn="l" defTabSz="685778" rtl="0" eaLnBrk="1" fontAlgn="auto" latinLnBrk="0" hangingPunct="1">
              <a:lnSpc>
                <a:spcPct val="120000"/>
              </a:lnSpc>
              <a:spcBef>
                <a:spcPts val="150"/>
              </a:spcBef>
              <a:spcAft>
                <a:spcPts val="0"/>
              </a:spcAft>
              <a:buClr>
                <a:schemeClr val="tx2"/>
              </a:buClr>
              <a:buSzPct val="100000"/>
              <a:buFontTx/>
              <a:buNone/>
              <a:tabLst/>
              <a:defRPr/>
            </a:pPr>
            <a:r>
              <a:rPr lang="en-US" sz="825"/>
              <a:t>A </a:t>
            </a:r>
            <a:r>
              <a:rPr lang="en-US" sz="825" b="1"/>
              <a:t>“</a:t>
            </a:r>
            <a:r>
              <a:rPr lang="en-US" sz="825" b="1" kern="1200">
                <a:solidFill>
                  <a:schemeClr val="tx1"/>
                </a:solidFill>
                <a:latin typeface="+mn-lt"/>
                <a:ea typeface="+mn-ea"/>
                <a:cs typeface="+mn-cs"/>
              </a:rPr>
              <a:t>For Research Use Only</a:t>
            </a:r>
            <a:r>
              <a:rPr lang="en-US" sz="825" b="1"/>
              <a:t>” </a:t>
            </a:r>
            <a:r>
              <a:rPr lang="en-US" sz="825"/>
              <a:t>or similar product-use disclaimer should appear on select slides as directed by Regulatory Affairs or Legal only. It should be added on appropriate slides as directed vs being added across the entire deck.</a:t>
            </a:r>
          </a:p>
          <a:p>
            <a:pPr defTabSz="685778">
              <a:lnSpc>
                <a:spcPct val="120000"/>
              </a:lnSpc>
              <a:spcBef>
                <a:spcPts val="150"/>
              </a:spcBef>
              <a:buClr>
                <a:schemeClr val="tx2"/>
              </a:buClr>
              <a:buSzPct val="100000"/>
            </a:pPr>
            <a:endParaRPr lang="en-US" sz="825" b="1"/>
          </a:p>
        </p:txBody>
      </p:sp>
      <p:sp>
        <p:nvSpPr>
          <p:cNvPr id="51" name="TextBox 50">
            <a:extLst>
              <a:ext uri="{FF2B5EF4-FFF2-40B4-BE49-F238E27FC236}">
                <a16:creationId xmlns:a16="http://schemas.microsoft.com/office/drawing/2014/main" id="{FF007E31-8387-6341-92E9-BBE1A50606DE}"/>
              </a:ext>
            </a:extLst>
          </p:cNvPr>
          <p:cNvSpPr txBox="1"/>
          <p:nvPr userDrawn="1"/>
        </p:nvSpPr>
        <p:spPr>
          <a:xfrm>
            <a:off x="9038025" y="6553200"/>
            <a:ext cx="2849177" cy="304800"/>
          </a:xfrm>
          <a:prstGeom prst="rect">
            <a:avLst/>
          </a:prstGeom>
          <a:noFill/>
        </p:spPr>
        <p:txBody>
          <a:bodyPr wrap="square" lIns="0" tIns="0" rIns="0" bIns="0" rtlCol="0" anchor="ctr">
            <a:noAutofit/>
          </a:bodyPr>
          <a:lstStyle/>
          <a:p>
            <a:pPr marL="0" indent="0" algn="r" defTabSz="685778">
              <a:lnSpc>
                <a:spcPct val="120000"/>
              </a:lnSpc>
              <a:spcBef>
                <a:spcPts val="150"/>
              </a:spcBef>
              <a:buClr>
                <a:schemeClr val="tx2"/>
              </a:buClr>
              <a:buSzPct val="100000"/>
              <a:buFont typeface="Arial" panose="020B0604020202020204" pitchFamily="34" charset="0"/>
              <a:buNone/>
            </a:pPr>
            <a:r>
              <a:rPr lang="en-US" sz="600" kern="1200">
                <a:solidFill>
                  <a:schemeClr val="accent5"/>
                </a:solidFill>
                <a:latin typeface="+mn-lt"/>
                <a:ea typeface="+mn-ea"/>
                <a:cs typeface="+mn-cs"/>
              </a:rPr>
              <a:t>2020 Template V1 published 5-August-2020</a:t>
            </a:r>
          </a:p>
        </p:txBody>
      </p:sp>
      <p:grpSp>
        <p:nvGrpSpPr>
          <p:cNvPr id="52" name="Group 51">
            <a:extLst>
              <a:ext uri="{FF2B5EF4-FFF2-40B4-BE49-F238E27FC236}">
                <a16:creationId xmlns:a16="http://schemas.microsoft.com/office/drawing/2014/main" id="{C9CC4B9B-0022-9243-85E2-88CFCF42B221}"/>
              </a:ext>
            </a:extLst>
          </p:cNvPr>
          <p:cNvGrpSpPr/>
          <p:nvPr userDrawn="1"/>
        </p:nvGrpSpPr>
        <p:grpSpPr>
          <a:xfrm>
            <a:off x="5788337" y="2980947"/>
            <a:ext cx="6027918" cy="552629"/>
            <a:chOff x="5788335" y="3097907"/>
            <a:chExt cx="6027917" cy="552630"/>
          </a:xfrm>
        </p:grpSpPr>
        <p:sp>
          <p:nvSpPr>
            <p:cNvPr id="54" name="Rectangle 53">
              <a:extLst>
                <a:ext uri="{FF2B5EF4-FFF2-40B4-BE49-F238E27FC236}">
                  <a16:creationId xmlns:a16="http://schemas.microsoft.com/office/drawing/2014/main" id="{AFDF3057-293D-7845-83FA-63A8080C0331}"/>
                </a:ext>
              </a:extLst>
            </p:cNvPr>
            <p:cNvSpPr/>
            <p:nvPr/>
          </p:nvSpPr>
          <p:spPr>
            <a:xfrm>
              <a:off x="5826082" y="3529285"/>
              <a:ext cx="4549321" cy="121252"/>
            </a:xfrm>
            <a:prstGeom prst="rect">
              <a:avLst/>
            </a:prstGeom>
          </p:spPr>
          <p:txBody>
            <a:bodyPr wrap="none" lIns="0" tIns="0" rIns="0" bIns="0">
              <a:spAutoFit/>
            </a:bodyPr>
            <a:lstStyle/>
            <a:p>
              <a:r>
                <a:rPr lang="en-US" sz="788"/>
                <a:t>Proprietary &amp; Confidential | For Research Use Only | </a:t>
              </a:r>
              <a:r>
                <a:rPr lang="en-US" sz="788" err="1"/>
                <a:t>authoremail@thermofisher.com</a:t>
              </a:r>
              <a:r>
                <a:rPr lang="en-US" sz="788"/>
                <a:t> | 5-August-2020</a:t>
              </a:r>
            </a:p>
          </p:txBody>
        </p:sp>
        <p:sp>
          <p:nvSpPr>
            <p:cNvPr id="56" name="Rectangle 55">
              <a:extLst>
                <a:ext uri="{FF2B5EF4-FFF2-40B4-BE49-F238E27FC236}">
                  <a16:creationId xmlns:a16="http://schemas.microsoft.com/office/drawing/2014/main" id="{4DB60CFA-FA50-6140-9323-F8017BB086F4}"/>
                </a:ext>
              </a:extLst>
            </p:cNvPr>
            <p:cNvSpPr/>
            <p:nvPr/>
          </p:nvSpPr>
          <p:spPr>
            <a:xfrm>
              <a:off x="7011571" y="3097910"/>
              <a:ext cx="619079" cy="184666"/>
            </a:xfrm>
            <a:prstGeom prst="rect">
              <a:avLst/>
            </a:prstGeom>
          </p:spPr>
          <p:txBody>
            <a:bodyPr wrap="none">
              <a:spAutoFit/>
            </a:bodyPr>
            <a:lstStyle/>
            <a:p>
              <a:pPr algn="ctr"/>
              <a:r>
                <a:rPr lang="en-US" sz="600" b="1"/>
                <a:t>Disclaimers</a:t>
              </a:r>
            </a:p>
          </p:txBody>
        </p:sp>
        <p:sp>
          <p:nvSpPr>
            <p:cNvPr id="57" name="Rectangle 56">
              <a:extLst>
                <a:ext uri="{FF2B5EF4-FFF2-40B4-BE49-F238E27FC236}">
                  <a16:creationId xmlns:a16="http://schemas.microsoft.com/office/drawing/2014/main" id="{9D13A8EF-9551-064B-9C13-D54C8100D205}"/>
                </a:ext>
              </a:extLst>
            </p:cNvPr>
            <p:cNvSpPr/>
            <p:nvPr/>
          </p:nvSpPr>
          <p:spPr>
            <a:xfrm>
              <a:off x="9538402" y="3097908"/>
              <a:ext cx="718465" cy="184666"/>
            </a:xfrm>
            <a:prstGeom prst="rect">
              <a:avLst/>
            </a:prstGeom>
          </p:spPr>
          <p:txBody>
            <a:bodyPr wrap="none">
              <a:spAutoFit/>
            </a:bodyPr>
            <a:lstStyle/>
            <a:p>
              <a:pPr algn="ctr"/>
              <a:r>
                <a:rPr lang="en-US" sz="600" b="1"/>
                <a:t>Author’s email</a:t>
              </a:r>
            </a:p>
          </p:txBody>
        </p:sp>
        <p:sp>
          <p:nvSpPr>
            <p:cNvPr id="59" name="Rectangle 58">
              <a:extLst>
                <a:ext uri="{FF2B5EF4-FFF2-40B4-BE49-F238E27FC236}">
                  <a16:creationId xmlns:a16="http://schemas.microsoft.com/office/drawing/2014/main" id="{D5641267-53C7-4847-A375-2753B43B2214}"/>
                </a:ext>
              </a:extLst>
            </p:cNvPr>
            <p:cNvSpPr/>
            <p:nvPr/>
          </p:nvSpPr>
          <p:spPr>
            <a:xfrm>
              <a:off x="11001044" y="3097907"/>
              <a:ext cx="734496" cy="184666"/>
            </a:xfrm>
            <a:prstGeom prst="rect">
              <a:avLst/>
            </a:prstGeom>
          </p:spPr>
          <p:txBody>
            <a:bodyPr wrap="none">
              <a:spAutoFit/>
            </a:bodyPr>
            <a:lstStyle/>
            <a:p>
              <a:pPr algn="ctr"/>
              <a:r>
                <a:rPr lang="en-US" sz="600" b="1"/>
                <a:t>Date published</a:t>
              </a:r>
            </a:p>
          </p:txBody>
        </p:sp>
        <p:sp>
          <p:nvSpPr>
            <p:cNvPr id="60" name="Left Brace 59">
              <a:extLst>
                <a:ext uri="{FF2B5EF4-FFF2-40B4-BE49-F238E27FC236}">
                  <a16:creationId xmlns:a16="http://schemas.microsoft.com/office/drawing/2014/main" id="{C9E8E1FC-BD9C-7E4D-9155-AC218F931E6B}"/>
                </a:ext>
              </a:extLst>
            </p:cNvPr>
            <p:cNvSpPr/>
            <p:nvPr/>
          </p:nvSpPr>
          <p:spPr>
            <a:xfrm rot="5400000">
              <a:off x="7252434" y="1882734"/>
              <a:ext cx="137356" cy="3065553"/>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p>
          </p:txBody>
        </p:sp>
        <p:sp>
          <p:nvSpPr>
            <p:cNvPr id="61" name="Left Brace 60">
              <a:extLst>
                <a:ext uri="{FF2B5EF4-FFF2-40B4-BE49-F238E27FC236}">
                  <a16:creationId xmlns:a16="http://schemas.microsoft.com/office/drawing/2014/main" id="{CAF8E30E-A971-3245-B5A1-59A016D2BDF0}"/>
                </a:ext>
              </a:extLst>
            </p:cNvPr>
            <p:cNvSpPr/>
            <p:nvPr/>
          </p:nvSpPr>
          <p:spPr>
            <a:xfrm rot="5400000">
              <a:off x="9824590" y="2447952"/>
              <a:ext cx="137355" cy="1935127"/>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p>
          </p:txBody>
        </p:sp>
        <p:sp>
          <p:nvSpPr>
            <p:cNvPr id="62" name="Left Brace 61">
              <a:extLst>
                <a:ext uri="{FF2B5EF4-FFF2-40B4-BE49-F238E27FC236}">
                  <a16:creationId xmlns:a16="http://schemas.microsoft.com/office/drawing/2014/main" id="{3DF20831-4F0F-1F4D-A1ED-6CDE187ABA67}"/>
                </a:ext>
              </a:extLst>
            </p:cNvPr>
            <p:cNvSpPr/>
            <p:nvPr userDrawn="1"/>
          </p:nvSpPr>
          <p:spPr>
            <a:xfrm rot="5400000">
              <a:off x="11295692" y="2963632"/>
              <a:ext cx="137354" cy="903767"/>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p>
          </p:txBody>
        </p:sp>
      </p:grpSp>
      <p:grpSp>
        <p:nvGrpSpPr>
          <p:cNvPr id="69" name="Group 68">
            <a:extLst>
              <a:ext uri="{FF2B5EF4-FFF2-40B4-BE49-F238E27FC236}">
                <a16:creationId xmlns:a16="http://schemas.microsoft.com/office/drawing/2014/main" id="{ADCC7EAB-1071-2443-BC4E-2E61AD774EB3}"/>
              </a:ext>
            </a:extLst>
          </p:cNvPr>
          <p:cNvGrpSpPr/>
          <p:nvPr userDrawn="1"/>
        </p:nvGrpSpPr>
        <p:grpSpPr>
          <a:xfrm>
            <a:off x="5788337" y="3890003"/>
            <a:ext cx="4389748" cy="541702"/>
            <a:chOff x="5788335" y="3923409"/>
            <a:chExt cx="4389748" cy="541702"/>
          </a:xfrm>
        </p:grpSpPr>
        <p:sp>
          <p:nvSpPr>
            <p:cNvPr id="71" name="Rectangle 70">
              <a:extLst>
                <a:ext uri="{FF2B5EF4-FFF2-40B4-BE49-F238E27FC236}">
                  <a16:creationId xmlns:a16="http://schemas.microsoft.com/office/drawing/2014/main" id="{8DEAE227-E5BE-904A-BFCC-50EA2483D0E1}"/>
                </a:ext>
              </a:extLst>
            </p:cNvPr>
            <p:cNvSpPr/>
            <p:nvPr/>
          </p:nvSpPr>
          <p:spPr>
            <a:xfrm>
              <a:off x="5826082" y="4343859"/>
              <a:ext cx="3310202" cy="121252"/>
            </a:xfrm>
            <a:prstGeom prst="rect">
              <a:avLst/>
            </a:prstGeom>
          </p:spPr>
          <p:txBody>
            <a:bodyPr wrap="none" lIns="0" tIns="0" rIns="0" bIns="0">
              <a:spAutoFit/>
            </a:bodyPr>
            <a:lstStyle/>
            <a:p>
              <a:r>
                <a:rPr lang="en-US" sz="788"/>
                <a:t>For Research Use Only | </a:t>
              </a:r>
              <a:r>
                <a:rPr lang="en-US" sz="788" err="1"/>
                <a:t>authoremail@thermofisher.com</a:t>
              </a:r>
              <a:r>
                <a:rPr lang="en-US" sz="788"/>
                <a:t> | 5-August-2020</a:t>
              </a:r>
            </a:p>
          </p:txBody>
        </p:sp>
        <p:sp>
          <p:nvSpPr>
            <p:cNvPr id="72" name="Rectangle 71">
              <a:extLst>
                <a:ext uri="{FF2B5EF4-FFF2-40B4-BE49-F238E27FC236}">
                  <a16:creationId xmlns:a16="http://schemas.microsoft.com/office/drawing/2014/main" id="{8262B94A-CDF8-6248-B4D3-D04C67489253}"/>
                </a:ext>
              </a:extLst>
            </p:cNvPr>
            <p:cNvSpPr/>
            <p:nvPr userDrawn="1"/>
          </p:nvSpPr>
          <p:spPr>
            <a:xfrm>
              <a:off x="6211153" y="3923412"/>
              <a:ext cx="619079" cy="184666"/>
            </a:xfrm>
            <a:prstGeom prst="rect">
              <a:avLst/>
            </a:prstGeom>
          </p:spPr>
          <p:txBody>
            <a:bodyPr wrap="none">
              <a:spAutoFit/>
            </a:bodyPr>
            <a:lstStyle/>
            <a:p>
              <a:pPr algn="ctr"/>
              <a:r>
                <a:rPr lang="en-US" sz="600" b="1"/>
                <a:t>Disclaimers</a:t>
              </a:r>
            </a:p>
          </p:txBody>
        </p:sp>
        <p:sp>
          <p:nvSpPr>
            <p:cNvPr id="73" name="Rectangle 72">
              <a:extLst>
                <a:ext uri="{FF2B5EF4-FFF2-40B4-BE49-F238E27FC236}">
                  <a16:creationId xmlns:a16="http://schemas.microsoft.com/office/drawing/2014/main" id="{96EC3CD9-96F0-F848-9D70-DC6BC4C588B0}"/>
                </a:ext>
              </a:extLst>
            </p:cNvPr>
            <p:cNvSpPr/>
            <p:nvPr userDrawn="1"/>
          </p:nvSpPr>
          <p:spPr>
            <a:xfrm>
              <a:off x="7914673" y="3923410"/>
              <a:ext cx="718465" cy="184666"/>
            </a:xfrm>
            <a:prstGeom prst="rect">
              <a:avLst/>
            </a:prstGeom>
          </p:spPr>
          <p:txBody>
            <a:bodyPr wrap="none">
              <a:spAutoFit/>
            </a:bodyPr>
            <a:lstStyle/>
            <a:p>
              <a:pPr algn="ctr"/>
              <a:r>
                <a:rPr lang="en-US" sz="600" b="1"/>
                <a:t>Author’s email</a:t>
              </a:r>
            </a:p>
          </p:txBody>
        </p:sp>
        <p:sp>
          <p:nvSpPr>
            <p:cNvPr id="74" name="Rectangle 73">
              <a:extLst>
                <a:ext uri="{FF2B5EF4-FFF2-40B4-BE49-F238E27FC236}">
                  <a16:creationId xmlns:a16="http://schemas.microsoft.com/office/drawing/2014/main" id="{F088D113-2507-AA47-BB48-FAF00FE54633}"/>
                </a:ext>
              </a:extLst>
            </p:cNvPr>
            <p:cNvSpPr/>
            <p:nvPr userDrawn="1"/>
          </p:nvSpPr>
          <p:spPr>
            <a:xfrm>
              <a:off x="9362874" y="3923409"/>
              <a:ext cx="734496" cy="184666"/>
            </a:xfrm>
            <a:prstGeom prst="rect">
              <a:avLst/>
            </a:prstGeom>
          </p:spPr>
          <p:txBody>
            <a:bodyPr wrap="none">
              <a:spAutoFit/>
            </a:bodyPr>
            <a:lstStyle/>
            <a:p>
              <a:pPr algn="ctr"/>
              <a:r>
                <a:rPr lang="en-US" sz="600" b="1"/>
                <a:t>Date published</a:t>
              </a:r>
            </a:p>
          </p:txBody>
        </p:sp>
        <p:sp>
          <p:nvSpPr>
            <p:cNvPr id="75" name="Left Brace 74">
              <a:extLst>
                <a:ext uri="{FF2B5EF4-FFF2-40B4-BE49-F238E27FC236}">
                  <a16:creationId xmlns:a16="http://schemas.microsoft.com/office/drawing/2014/main" id="{33912165-6C04-F34D-8A97-E920B407AA54}"/>
                </a:ext>
              </a:extLst>
            </p:cNvPr>
            <p:cNvSpPr/>
            <p:nvPr userDrawn="1"/>
          </p:nvSpPr>
          <p:spPr>
            <a:xfrm rot="5400000">
              <a:off x="6449400" y="3511270"/>
              <a:ext cx="137356" cy="1459485"/>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p>
          </p:txBody>
        </p:sp>
        <p:sp>
          <p:nvSpPr>
            <p:cNvPr id="76" name="Left Brace 75">
              <a:extLst>
                <a:ext uri="{FF2B5EF4-FFF2-40B4-BE49-F238E27FC236}">
                  <a16:creationId xmlns:a16="http://schemas.microsoft.com/office/drawing/2014/main" id="{F82EE3D1-89D0-6645-9D8B-24CA42BA0ADC}"/>
                </a:ext>
              </a:extLst>
            </p:cNvPr>
            <p:cNvSpPr/>
            <p:nvPr userDrawn="1"/>
          </p:nvSpPr>
          <p:spPr>
            <a:xfrm rot="5400000">
              <a:off x="8200860" y="3273454"/>
              <a:ext cx="137355" cy="1935127"/>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p>
          </p:txBody>
        </p:sp>
        <p:sp>
          <p:nvSpPr>
            <p:cNvPr id="77" name="Left Brace 76">
              <a:extLst>
                <a:ext uri="{FF2B5EF4-FFF2-40B4-BE49-F238E27FC236}">
                  <a16:creationId xmlns:a16="http://schemas.microsoft.com/office/drawing/2014/main" id="{A399837B-45C9-7343-B884-DE166B5EC1C1}"/>
                </a:ext>
              </a:extLst>
            </p:cNvPr>
            <p:cNvSpPr/>
            <p:nvPr userDrawn="1"/>
          </p:nvSpPr>
          <p:spPr>
            <a:xfrm rot="5400000">
              <a:off x="9657523" y="3789134"/>
              <a:ext cx="137354" cy="903767"/>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p>
          </p:txBody>
        </p:sp>
      </p:grpSp>
      <p:grpSp>
        <p:nvGrpSpPr>
          <p:cNvPr id="78" name="Group 77">
            <a:extLst>
              <a:ext uri="{FF2B5EF4-FFF2-40B4-BE49-F238E27FC236}">
                <a16:creationId xmlns:a16="http://schemas.microsoft.com/office/drawing/2014/main" id="{F0E03FFE-8C31-E44D-BE6B-C22B9CF70098}"/>
              </a:ext>
            </a:extLst>
          </p:cNvPr>
          <p:cNvGrpSpPr/>
          <p:nvPr userDrawn="1"/>
        </p:nvGrpSpPr>
        <p:grpSpPr>
          <a:xfrm>
            <a:off x="5788337" y="4788131"/>
            <a:ext cx="4519929" cy="547400"/>
            <a:chOff x="5788336" y="4908696"/>
            <a:chExt cx="4519929" cy="547400"/>
          </a:xfrm>
        </p:grpSpPr>
        <p:sp>
          <p:nvSpPr>
            <p:cNvPr id="81" name="Rectangle 80">
              <a:extLst>
                <a:ext uri="{FF2B5EF4-FFF2-40B4-BE49-F238E27FC236}">
                  <a16:creationId xmlns:a16="http://schemas.microsoft.com/office/drawing/2014/main" id="{01A73866-731B-9946-A849-187A98BD4E85}"/>
                </a:ext>
              </a:extLst>
            </p:cNvPr>
            <p:cNvSpPr/>
            <p:nvPr/>
          </p:nvSpPr>
          <p:spPr>
            <a:xfrm>
              <a:off x="5842103" y="5334844"/>
              <a:ext cx="3403176" cy="121252"/>
            </a:xfrm>
            <a:prstGeom prst="rect">
              <a:avLst/>
            </a:prstGeom>
          </p:spPr>
          <p:txBody>
            <a:bodyPr wrap="none" lIns="0" tIns="0" rIns="0" bIns="0">
              <a:spAutoFit/>
            </a:bodyPr>
            <a:lstStyle/>
            <a:p>
              <a:r>
                <a:rPr lang="en-US" sz="788"/>
                <a:t>Proprietary &amp; Confidential | </a:t>
              </a:r>
              <a:r>
                <a:rPr lang="en-US" sz="788" err="1"/>
                <a:t>authoremail@thermofisher.com</a:t>
              </a:r>
              <a:r>
                <a:rPr lang="en-US" sz="788"/>
                <a:t> | 5-August-2020</a:t>
              </a:r>
            </a:p>
          </p:txBody>
        </p:sp>
        <p:sp>
          <p:nvSpPr>
            <p:cNvPr id="85" name="Rectangle 84">
              <a:extLst>
                <a:ext uri="{FF2B5EF4-FFF2-40B4-BE49-F238E27FC236}">
                  <a16:creationId xmlns:a16="http://schemas.microsoft.com/office/drawing/2014/main" id="{8FD63569-449B-3E48-807D-D3F3AE9F8342}"/>
                </a:ext>
              </a:extLst>
            </p:cNvPr>
            <p:cNvSpPr/>
            <p:nvPr userDrawn="1"/>
          </p:nvSpPr>
          <p:spPr>
            <a:xfrm>
              <a:off x="6277994" y="4908699"/>
              <a:ext cx="619079" cy="184666"/>
            </a:xfrm>
            <a:prstGeom prst="rect">
              <a:avLst/>
            </a:prstGeom>
          </p:spPr>
          <p:txBody>
            <a:bodyPr wrap="none">
              <a:spAutoFit/>
            </a:bodyPr>
            <a:lstStyle/>
            <a:p>
              <a:pPr algn="ctr"/>
              <a:r>
                <a:rPr lang="en-US" sz="600" b="1"/>
                <a:t>Disclaimers</a:t>
              </a:r>
            </a:p>
          </p:txBody>
        </p:sp>
        <p:sp>
          <p:nvSpPr>
            <p:cNvPr id="86" name="Rectangle 85">
              <a:extLst>
                <a:ext uri="{FF2B5EF4-FFF2-40B4-BE49-F238E27FC236}">
                  <a16:creationId xmlns:a16="http://schemas.microsoft.com/office/drawing/2014/main" id="{0C656FAD-AD19-DC49-92E8-76EAC46938F6}"/>
                </a:ext>
              </a:extLst>
            </p:cNvPr>
            <p:cNvSpPr/>
            <p:nvPr userDrawn="1"/>
          </p:nvSpPr>
          <p:spPr>
            <a:xfrm>
              <a:off x="8044855" y="4908697"/>
              <a:ext cx="718465" cy="184666"/>
            </a:xfrm>
            <a:prstGeom prst="rect">
              <a:avLst/>
            </a:prstGeom>
          </p:spPr>
          <p:txBody>
            <a:bodyPr wrap="none">
              <a:spAutoFit/>
            </a:bodyPr>
            <a:lstStyle/>
            <a:p>
              <a:pPr algn="ctr"/>
              <a:r>
                <a:rPr lang="en-US" sz="600" b="1"/>
                <a:t>Author’s email</a:t>
              </a:r>
            </a:p>
          </p:txBody>
        </p:sp>
        <p:sp>
          <p:nvSpPr>
            <p:cNvPr id="103" name="Rectangle 102">
              <a:extLst>
                <a:ext uri="{FF2B5EF4-FFF2-40B4-BE49-F238E27FC236}">
                  <a16:creationId xmlns:a16="http://schemas.microsoft.com/office/drawing/2014/main" id="{DC8954A9-BBCF-F843-BCC2-DFD09FC6E9CD}"/>
                </a:ext>
              </a:extLst>
            </p:cNvPr>
            <p:cNvSpPr/>
            <p:nvPr userDrawn="1"/>
          </p:nvSpPr>
          <p:spPr>
            <a:xfrm>
              <a:off x="9493057" y="4908696"/>
              <a:ext cx="734496" cy="184666"/>
            </a:xfrm>
            <a:prstGeom prst="rect">
              <a:avLst/>
            </a:prstGeom>
          </p:spPr>
          <p:txBody>
            <a:bodyPr wrap="none">
              <a:spAutoFit/>
            </a:bodyPr>
            <a:lstStyle/>
            <a:p>
              <a:pPr algn="ctr"/>
              <a:r>
                <a:rPr lang="en-US" sz="600" b="1"/>
                <a:t>Date published</a:t>
              </a:r>
            </a:p>
          </p:txBody>
        </p:sp>
        <p:sp>
          <p:nvSpPr>
            <p:cNvPr id="104" name="Left Brace 103">
              <a:extLst>
                <a:ext uri="{FF2B5EF4-FFF2-40B4-BE49-F238E27FC236}">
                  <a16:creationId xmlns:a16="http://schemas.microsoft.com/office/drawing/2014/main" id="{6A6BA891-938B-7B46-9D54-7310473CEEDC}"/>
                </a:ext>
              </a:extLst>
            </p:cNvPr>
            <p:cNvSpPr/>
            <p:nvPr userDrawn="1"/>
          </p:nvSpPr>
          <p:spPr>
            <a:xfrm rot="5400000">
              <a:off x="6520304" y="4425654"/>
              <a:ext cx="137356" cy="1601292"/>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p>
          </p:txBody>
        </p:sp>
        <p:sp>
          <p:nvSpPr>
            <p:cNvPr id="105" name="Left Brace 104">
              <a:extLst>
                <a:ext uri="{FF2B5EF4-FFF2-40B4-BE49-F238E27FC236}">
                  <a16:creationId xmlns:a16="http://schemas.microsoft.com/office/drawing/2014/main" id="{2C270CE8-9750-7B45-B039-32F907449AF8}"/>
                </a:ext>
              </a:extLst>
            </p:cNvPr>
            <p:cNvSpPr/>
            <p:nvPr userDrawn="1"/>
          </p:nvSpPr>
          <p:spPr>
            <a:xfrm rot="5400000">
              <a:off x="8331042" y="4258741"/>
              <a:ext cx="137355" cy="1935127"/>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p>
          </p:txBody>
        </p:sp>
        <p:sp>
          <p:nvSpPr>
            <p:cNvPr id="106" name="Left Brace 105">
              <a:extLst>
                <a:ext uri="{FF2B5EF4-FFF2-40B4-BE49-F238E27FC236}">
                  <a16:creationId xmlns:a16="http://schemas.microsoft.com/office/drawing/2014/main" id="{BD54688D-F399-8D44-B80A-35A584C4E8A1}"/>
                </a:ext>
              </a:extLst>
            </p:cNvPr>
            <p:cNvSpPr/>
            <p:nvPr userDrawn="1"/>
          </p:nvSpPr>
          <p:spPr>
            <a:xfrm rot="5400000">
              <a:off x="9787705" y="4774421"/>
              <a:ext cx="137354" cy="903767"/>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p>
          </p:txBody>
        </p:sp>
      </p:grpSp>
      <p:grpSp>
        <p:nvGrpSpPr>
          <p:cNvPr id="107" name="Group 106">
            <a:extLst>
              <a:ext uri="{FF2B5EF4-FFF2-40B4-BE49-F238E27FC236}">
                <a16:creationId xmlns:a16="http://schemas.microsoft.com/office/drawing/2014/main" id="{F3B269BE-A155-AD4E-BB6F-14E01F7B2B53}"/>
              </a:ext>
            </a:extLst>
          </p:cNvPr>
          <p:cNvGrpSpPr/>
          <p:nvPr userDrawn="1"/>
        </p:nvGrpSpPr>
        <p:grpSpPr>
          <a:xfrm>
            <a:off x="5788334" y="5691960"/>
            <a:ext cx="2876667" cy="550835"/>
            <a:chOff x="5826081" y="5638800"/>
            <a:chExt cx="2876668" cy="550836"/>
          </a:xfrm>
        </p:grpSpPr>
        <p:sp>
          <p:nvSpPr>
            <p:cNvPr id="108" name="Rectangle 107">
              <a:extLst>
                <a:ext uri="{FF2B5EF4-FFF2-40B4-BE49-F238E27FC236}">
                  <a16:creationId xmlns:a16="http://schemas.microsoft.com/office/drawing/2014/main" id="{2837D300-05AE-6B41-B8F5-CB05D9A81C4D}"/>
                </a:ext>
              </a:extLst>
            </p:cNvPr>
            <p:cNvSpPr/>
            <p:nvPr/>
          </p:nvSpPr>
          <p:spPr>
            <a:xfrm>
              <a:off x="5826081" y="6068384"/>
              <a:ext cx="2192909" cy="121252"/>
            </a:xfrm>
            <a:prstGeom prst="rect">
              <a:avLst/>
            </a:prstGeom>
          </p:spPr>
          <p:txBody>
            <a:bodyPr wrap="none" lIns="0" tIns="0" rIns="0" bIns="0">
              <a:spAutoFit/>
            </a:bodyPr>
            <a:lstStyle/>
            <a:p>
              <a:pPr marL="0" marR="0" indent="0" algn="l" defTabSz="342889" rtl="0" eaLnBrk="1" fontAlgn="auto" latinLnBrk="0" hangingPunct="1">
                <a:lnSpc>
                  <a:spcPct val="100000"/>
                </a:lnSpc>
                <a:spcBef>
                  <a:spcPts val="0"/>
                </a:spcBef>
                <a:spcAft>
                  <a:spcPts val="0"/>
                </a:spcAft>
                <a:buClrTx/>
                <a:buSzTx/>
                <a:buFontTx/>
                <a:buNone/>
                <a:tabLst/>
                <a:defRPr/>
              </a:pPr>
              <a:r>
                <a:rPr lang="en-US" sz="788"/>
                <a:t> authoremail@thermofisher.com | 5-August-2020</a:t>
              </a:r>
            </a:p>
          </p:txBody>
        </p:sp>
        <p:sp>
          <p:nvSpPr>
            <p:cNvPr id="109" name="Rectangle 108">
              <a:extLst>
                <a:ext uri="{FF2B5EF4-FFF2-40B4-BE49-F238E27FC236}">
                  <a16:creationId xmlns:a16="http://schemas.microsoft.com/office/drawing/2014/main" id="{B2636A22-B29C-8347-827F-06CC739D8F27}"/>
                </a:ext>
              </a:extLst>
            </p:cNvPr>
            <p:cNvSpPr/>
            <p:nvPr userDrawn="1"/>
          </p:nvSpPr>
          <p:spPr>
            <a:xfrm>
              <a:off x="6439340" y="5638801"/>
              <a:ext cx="718465" cy="184666"/>
            </a:xfrm>
            <a:prstGeom prst="rect">
              <a:avLst/>
            </a:prstGeom>
          </p:spPr>
          <p:txBody>
            <a:bodyPr wrap="none">
              <a:spAutoFit/>
            </a:bodyPr>
            <a:lstStyle/>
            <a:p>
              <a:pPr algn="ctr"/>
              <a:r>
                <a:rPr lang="en-US" sz="600" b="1"/>
                <a:t>Author’s email</a:t>
              </a:r>
            </a:p>
          </p:txBody>
        </p:sp>
        <p:sp>
          <p:nvSpPr>
            <p:cNvPr id="110" name="Rectangle 109">
              <a:extLst>
                <a:ext uri="{FF2B5EF4-FFF2-40B4-BE49-F238E27FC236}">
                  <a16:creationId xmlns:a16="http://schemas.microsoft.com/office/drawing/2014/main" id="{DBE3A603-FB25-6640-8CE8-A9490CC8FD57}"/>
                </a:ext>
              </a:extLst>
            </p:cNvPr>
            <p:cNvSpPr/>
            <p:nvPr userDrawn="1"/>
          </p:nvSpPr>
          <p:spPr>
            <a:xfrm>
              <a:off x="7887541" y="5638800"/>
              <a:ext cx="734496" cy="184666"/>
            </a:xfrm>
            <a:prstGeom prst="rect">
              <a:avLst/>
            </a:prstGeom>
          </p:spPr>
          <p:txBody>
            <a:bodyPr wrap="none">
              <a:spAutoFit/>
            </a:bodyPr>
            <a:lstStyle/>
            <a:p>
              <a:pPr algn="ctr"/>
              <a:r>
                <a:rPr lang="en-US" sz="600" b="1"/>
                <a:t>Date published</a:t>
              </a:r>
            </a:p>
          </p:txBody>
        </p:sp>
        <p:sp>
          <p:nvSpPr>
            <p:cNvPr id="111" name="Left Brace 110">
              <a:extLst>
                <a:ext uri="{FF2B5EF4-FFF2-40B4-BE49-F238E27FC236}">
                  <a16:creationId xmlns:a16="http://schemas.microsoft.com/office/drawing/2014/main" id="{2BD98F31-696C-874F-A675-84D3E0D98D96}"/>
                </a:ext>
              </a:extLst>
            </p:cNvPr>
            <p:cNvSpPr/>
            <p:nvPr userDrawn="1"/>
          </p:nvSpPr>
          <p:spPr>
            <a:xfrm rot="5400000">
              <a:off x="6725526" y="4988845"/>
              <a:ext cx="137355" cy="1935127"/>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p>
          </p:txBody>
        </p:sp>
        <p:sp>
          <p:nvSpPr>
            <p:cNvPr id="112" name="Left Brace 111">
              <a:extLst>
                <a:ext uri="{FF2B5EF4-FFF2-40B4-BE49-F238E27FC236}">
                  <a16:creationId xmlns:a16="http://schemas.microsoft.com/office/drawing/2014/main" id="{5DFD7081-3892-7148-86E2-00827E674843}"/>
                </a:ext>
              </a:extLst>
            </p:cNvPr>
            <p:cNvSpPr/>
            <p:nvPr userDrawn="1"/>
          </p:nvSpPr>
          <p:spPr>
            <a:xfrm rot="5400000">
              <a:off x="8182189" y="5504525"/>
              <a:ext cx="137354" cy="903767"/>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p>
          </p:txBody>
        </p:sp>
      </p:grpSp>
    </p:spTree>
    <p:extLst>
      <p:ext uri="{BB962C8B-B14F-4D97-AF65-F5344CB8AC3E}">
        <p14:creationId xmlns:p14="http://schemas.microsoft.com/office/powerpoint/2010/main" val="86469358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efault title slide 1">
    <p:bg>
      <p:bgPr>
        <a:gradFill>
          <a:gsLst>
            <a:gs pos="0">
              <a:schemeClr val="bg1"/>
            </a:gs>
            <a:gs pos="41000">
              <a:schemeClr val="bg1"/>
            </a:gs>
            <a:gs pos="63000">
              <a:schemeClr val="bg2"/>
            </a:gs>
          </a:gsLst>
          <a:lin ang="1080000" scaled="0"/>
        </a:gra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677DF418-A9B4-B748-8DE9-21DBD7EA3747}"/>
              </a:ext>
            </a:extLst>
          </p:cNvPr>
          <p:cNvPicPr>
            <a:picLocks noChangeAspect="1"/>
          </p:cNvPicPr>
          <p:nvPr userDrawn="1"/>
        </p:nvPicPr>
        <p:blipFill>
          <a:blip r:embed="rId2" cstate="screen">
            <a:extLst>
              <a:ext uri="{28A0092B-C50C-407E-A947-70E740481C1C}">
                <a14:useLocalDpi xmlns:a14="http://schemas.microsoft.com/office/drawing/2010/main"/>
              </a:ext>
            </a:extLst>
          </a:blip>
          <a:srcRect l="2177" r="2177"/>
          <a:stretch>
            <a:fillRect/>
          </a:stretch>
        </p:blipFill>
        <p:spPr>
          <a:xfrm>
            <a:off x="5560460" y="3"/>
            <a:ext cx="6631541" cy="6857999"/>
          </a:xfrm>
          <a:custGeom>
            <a:avLst/>
            <a:gdLst>
              <a:gd name="connsiteX0" fmla="*/ 2183862 w 6631541"/>
              <a:gd name="connsiteY0" fmla="*/ 0 h 6857999"/>
              <a:gd name="connsiteX1" fmla="*/ 6631541 w 6631541"/>
              <a:gd name="connsiteY1" fmla="*/ 0 h 6857999"/>
              <a:gd name="connsiteX2" fmla="*/ 6631541 w 6631541"/>
              <a:gd name="connsiteY2" fmla="*/ 6857999 h 6857999"/>
              <a:gd name="connsiteX3" fmla="*/ 0 w 66315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6631541" h="6857999">
                <a:moveTo>
                  <a:pt x="2183862" y="0"/>
                </a:moveTo>
                <a:lnTo>
                  <a:pt x="6631541" y="0"/>
                </a:lnTo>
                <a:lnTo>
                  <a:pt x="6631541" y="6857999"/>
                </a:lnTo>
                <a:lnTo>
                  <a:pt x="0" y="6857999"/>
                </a:lnTo>
                <a:close/>
              </a:path>
            </a:pathLst>
          </a:custGeom>
        </p:spPr>
      </p:pic>
      <p:grpSp>
        <p:nvGrpSpPr>
          <p:cNvPr id="7" name="Group 6">
            <a:extLst>
              <a:ext uri="{FF2B5EF4-FFF2-40B4-BE49-F238E27FC236}">
                <a16:creationId xmlns:a16="http://schemas.microsoft.com/office/drawing/2014/main" id="{B1F511C6-A535-A245-B123-CC04435D2DAF}"/>
              </a:ext>
            </a:extLst>
          </p:cNvPr>
          <p:cNvGrpSpPr/>
          <p:nvPr userDrawn="1"/>
        </p:nvGrpSpPr>
        <p:grpSpPr>
          <a:xfrm>
            <a:off x="304801" y="0"/>
            <a:ext cx="2427682" cy="1044934"/>
            <a:chOff x="0" y="0"/>
            <a:chExt cx="2447693" cy="1053548"/>
          </a:xfrm>
        </p:grpSpPr>
        <p:sp>
          <p:nvSpPr>
            <p:cNvPr id="8" name="Parallelogram 7">
              <a:extLst>
                <a:ext uri="{FF2B5EF4-FFF2-40B4-BE49-F238E27FC236}">
                  <a16:creationId xmlns:a16="http://schemas.microsoft.com/office/drawing/2014/main" id="{6399281C-FD14-2942-9A9B-13B5E50B7517}"/>
                </a:ext>
              </a:extLst>
            </p:cNvPr>
            <p:cNvSpPr/>
            <p:nvPr userDrawn="1"/>
          </p:nvSpPr>
          <p:spPr bwMode="auto">
            <a:xfrm>
              <a:off x="0" y="0"/>
              <a:ext cx="2447693" cy="1053548"/>
            </a:xfrm>
            <a:prstGeom prst="parallelogram">
              <a:avLst>
                <a:gd name="adj" fmla="val 0"/>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685778" rtl="0" eaLnBrk="0" fontAlgn="base" latinLnBrk="0" hangingPunct="0">
                <a:lnSpc>
                  <a:spcPct val="100000"/>
                </a:lnSpc>
                <a:spcBef>
                  <a:spcPct val="0"/>
                </a:spcBef>
                <a:spcAft>
                  <a:spcPct val="0"/>
                </a:spcAft>
                <a:buClrTx/>
                <a:buSzTx/>
                <a:buFontTx/>
                <a:buNone/>
                <a:tabLst/>
              </a:pPr>
              <a:r>
                <a:rPr lang="en-US" sz="1350">
                  <a:latin typeface="Arial" pitchFamily="124" charset="0"/>
                </a:rPr>
                <a:t>               </a:t>
              </a:r>
            </a:p>
          </p:txBody>
        </p:sp>
        <p:pic>
          <p:nvPicPr>
            <p:cNvPr id="9" name="Picture 8">
              <a:extLst>
                <a:ext uri="{FF2B5EF4-FFF2-40B4-BE49-F238E27FC236}">
                  <a16:creationId xmlns:a16="http://schemas.microsoft.com/office/drawing/2014/main" id="{7D60AD95-BD80-6049-9976-D024EC4ECDE8}"/>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35820" y="154984"/>
              <a:ext cx="2178058" cy="756021"/>
            </a:xfrm>
            <a:prstGeom prst="rect">
              <a:avLst/>
            </a:prstGeom>
          </p:spPr>
        </p:pic>
      </p:grpSp>
      <p:grpSp>
        <p:nvGrpSpPr>
          <p:cNvPr id="29" name="Group 28">
            <a:extLst>
              <a:ext uri="{FF2B5EF4-FFF2-40B4-BE49-F238E27FC236}">
                <a16:creationId xmlns:a16="http://schemas.microsoft.com/office/drawing/2014/main" id="{C22F9FBA-8765-F543-9501-7F99893993AB}"/>
              </a:ext>
            </a:extLst>
          </p:cNvPr>
          <p:cNvGrpSpPr/>
          <p:nvPr userDrawn="1"/>
        </p:nvGrpSpPr>
        <p:grpSpPr>
          <a:xfrm>
            <a:off x="283193" y="5970592"/>
            <a:ext cx="5053203" cy="441233"/>
            <a:chOff x="5155556" y="6168462"/>
            <a:chExt cx="5053203" cy="441233"/>
          </a:xfrm>
        </p:grpSpPr>
        <p:sp>
          <p:nvSpPr>
            <p:cNvPr id="30" name="TextBox 29">
              <a:extLst>
                <a:ext uri="{FF2B5EF4-FFF2-40B4-BE49-F238E27FC236}">
                  <a16:creationId xmlns:a16="http://schemas.microsoft.com/office/drawing/2014/main" id="{AA7B3D6A-876F-BF4D-9180-BC91EE9697B0}"/>
                </a:ext>
              </a:extLst>
            </p:cNvPr>
            <p:cNvSpPr txBox="1"/>
            <p:nvPr userDrawn="1"/>
          </p:nvSpPr>
          <p:spPr>
            <a:xfrm>
              <a:off x="5656050" y="6168462"/>
              <a:ext cx="4552709" cy="441233"/>
            </a:xfrm>
            <a:prstGeom prst="rect">
              <a:avLst/>
            </a:prstGeom>
            <a:noFill/>
          </p:spPr>
          <p:txBody>
            <a:bodyPr vert="horz" wrap="square" lIns="0" tIns="0" rIns="0" bIns="0" rtlCol="0" anchor="ctr" anchorCtr="0">
              <a:noAutofit/>
            </a:bodyPr>
            <a:lstStyle/>
            <a:p>
              <a:pPr algn="l"/>
              <a:r>
                <a:rPr lang="en-US" sz="1500">
                  <a:solidFill>
                    <a:schemeClr val="tx1"/>
                  </a:solidFill>
                  <a:latin typeface="Arial"/>
                </a:rPr>
                <a:t>The world leader in serving science</a:t>
              </a:r>
            </a:p>
          </p:txBody>
        </p:sp>
        <p:sp>
          <p:nvSpPr>
            <p:cNvPr id="31" name="Parallelogram 30">
              <a:extLst>
                <a:ext uri="{FF2B5EF4-FFF2-40B4-BE49-F238E27FC236}">
                  <a16:creationId xmlns:a16="http://schemas.microsoft.com/office/drawing/2014/main" id="{05D00626-6EB1-244B-9ADB-13C2AE5E1907}"/>
                </a:ext>
              </a:extLst>
            </p:cNvPr>
            <p:cNvSpPr/>
            <p:nvPr userDrawn="1"/>
          </p:nvSpPr>
          <p:spPr bwMode="auto">
            <a:xfrm>
              <a:off x="5155556" y="6302295"/>
              <a:ext cx="310510" cy="188737"/>
            </a:xfrm>
            <a:prstGeom prst="parallelogram">
              <a:avLst>
                <a:gd name="adj" fmla="val 31844"/>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685778" rtl="0" eaLnBrk="0" fontAlgn="base" latinLnBrk="0" hangingPunct="0">
                <a:lnSpc>
                  <a:spcPct val="100000"/>
                </a:lnSpc>
                <a:spcBef>
                  <a:spcPct val="0"/>
                </a:spcBef>
                <a:spcAft>
                  <a:spcPct val="0"/>
                </a:spcAft>
                <a:buClrTx/>
                <a:buSzTx/>
                <a:buFontTx/>
                <a:buNone/>
                <a:tabLst/>
              </a:pPr>
              <a:r>
                <a:rPr lang="en-US" sz="1350">
                  <a:latin typeface="Arial" pitchFamily="124" charset="0"/>
                </a:rPr>
                <a:t>               </a:t>
              </a:r>
            </a:p>
          </p:txBody>
        </p:sp>
      </p:grpSp>
      <p:sp>
        <p:nvSpPr>
          <p:cNvPr id="2" name="Footer Placeholder 1">
            <a:extLst>
              <a:ext uri="{FF2B5EF4-FFF2-40B4-BE49-F238E27FC236}">
                <a16:creationId xmlns:a16="http://schemas.microsoft.com/office/drawing/2014/main" id="{BA129332-E471-D44D-8711-996E85A9EE29}"/>
              </a:ext>
            </a:extLst>
          </p:cNvPr>
          <p:cNvSpPr>
            <a:spLocks noGrp="1"/>
          </p:cNvSpPr>
          <p:nvPr>
            <p:ph type="ftr" sz="quarter" idx="11"/>
          </p:nvPr>
        </p:nvSpPr>
        <p:spPr>
          <a:xfrm>
            <a:off x="304800" y="6553202"/>
            <a:ext cx="3657600" cy="304799"/>
          </a:xfrm>
        </p:spPr>
        <p:txBody>
          <a:bodyPr/>
          <a:lstStyle/>
          <a:p>
            <a:r>
              <a:rPr lang="en-US"/>
              <a:t>Proprietary &amp; Confidential |  authoremail@thermofisher.com | 5-August-2020</a:t>
            </a:r>
          </a:p>
        </p:txBody>
      </p:sp>
      <p:sp>
        <p:nvSpPr>
          <p:cNvPr id="3" name="Slide Number Placeholder 2">
            <a:extLst>
              <a:ext uri="{FF2B5EF4-FFF2-40B4-BE49-F238E27FC236}">
                <a16:creationId xmlns:a16="http://schemas.microsoft.com/office/drawing/2014/main" id="{B4F77913-5D2C-C141-AB22-388096EB8230}"/>
              </a:ext>
            </a:extLst>
          </p:cNvPr>
          <p:cNvSpPr>
            <a:spLocks noGrp="1"/>
          </p:cNvSpPr>
          <p:nvPr>
            <p:ph type="sldNum" sz="quarter" idx="12"/>
          </p:nvPr>
        </p:nvSpPr>
        <p:spPr/>
        <p:txBody>
          <a:bodyPr/>
          <a:lstStyle/>
          <a:p>
            <a:fld id="{89006F1E-66CD-4A4B-9370-B4A3080F0E6C}" type="slidenum">
              <a:rPr lang="en-US" smtClean="0"/>
              <a:pPr/>
              <a:t>‹#›</a:t>
            </a:fld>
            <a:endParaRPr lang="en-US"/>
          </a:p>
        </p:txBody>
      </p:sp>
      <p:sp>
        <p:nvSpPr>
          <p:cNvPr id="15" name="Text Placeholder 15">
            <a:extLst>
              <a:ext uri="{FF2B5EF4-FFF2-40B4-BE49-F238E27FC236}">
                <a16:creationId xmlns:a16="http://schemas.microsoft.com/office/drawing/2014/main" id="{8209BE38-5C75-4E48-AACA-BEDC106131D5}"/>
              </a:ext>
            </a:extLst>
          </p:cNvPr>
          <p:cNvSpPr>
            <a:spLocks noGrp="1"/>
          </p:cNvSpPr>
          <p:nvPr>
            <p:ph type="body" sz="quarter" idx="10" hasCustomPrompt="1"/>
          </p:nvPr>
        </p:nvSpPr>
        <p:spPr>
          <a:xfrm>
            <a:off x="304802" y="3903896"/>
            <a:ext cx="5791199" cy="308120"/>
          </a:xfrm>
          <a:prstGeom prst="rect">
            <a:avLst/>
          </a:prstGeom>
        </p:spPr>
        <p:txBody>
          <a:bodyPr lIns="0" tIns="0" rIns="0" bIns="0" anchor="b"/>
          <a:lstStyle>
            <a:lvl1pPr>
              <a:spcBef>
                <a:spcPts val="0"/>
              </a:spcBef>
              <a:spcAft>
                <a:spcPts val="0"/>
              </a:spcAft>
              <a:buFontTx/>
              <a:buNone/>
              <a:defRPr sz="1200" b="0" baseline="0">
                <a:solidFill>
                  <a:schemeClr val="tx2"/>
                </a:solidFill>
              </a:defRPr>
            </a:lvl1pPr>
            <a:lvl2pPr marL="85722" indent="3572">
              <a:spcAft>
                <a:spcPts val="0"/>
              </a:spcAft>
              <a:buFontTx/>
              <a:buNone/>
              <a:defRPr sz="1050" i="1" baseline="0">
                <a:solidFill>
                  <a:schemeClr val="tx1"/>
                </a:solidFill>
              </a:defRPr>
            </a:lvl2pPr>
          </a:lstStyle>
          <a:p>
            <a:pPr lvl="0"/>
            <a:r>
              <a:rPr lang="en-US"/>
              <a:t>Presenter name [16pt Arial] </a:t>
            </a:r>
          </a:p>
        </p:txBody>
      </p:sp>
      <p:sp>
        <p:nvSpPr>
          <p:cNvPr id="16" name="Title 16">
            <a:extLst>
              <a:ext uri="{FF2B5EF4-FFF2-40B4-BE49-F238E27FC236}">
                <a16:creationId xmlns:a16="http://schemas.microsoft.com/office/drawing/2014/main" id="{B2B8D3D1-6FA6-C04D-951C-FD0E7458C808}"/>
              </a:ext>
            </a:extLst>
          </p:cNvPr>
          <p:cNvSpPr>
            <a:spLocks noGrp="1"/>
          </p:cNvSpPr>
          <p:nvPr>
            <p:ph type="title" hasCustomPrompt="1"/>
          </p:nvPr>
        </p:nvSpPr>
        <p:spPr>
          <a:xfrm>
            <a:off x="304802" y="1726100"/>
            <a:ext cx="5791199" cy="2071868"/>
          </a:xfrm>
          <a:prstGeom prst="rect">
            <a:avLst/>
          </a:prstGeom>
          <a:noFill/>
        </p:spPr>
        <p:txBody>
          <a:bodyPr wrap="square" lIns="0" tIns="0" rIns="0" bIns="0" anchor="b">
            <a:noAutofit/>
          </a:bodyPr>
          <a:lstStyle>
            <a:lvl1pPr>
              <a:lnSpc>
                <a:spcPct val="110000"/>
              </a:lnSpc>
              <a:defRPr sz="2100" b="1">
                <a:solidFill>
                  <a:schemeClr val="tx1"/>
                </a:solidFill>
              </a:defRPr>
            </a:lvl1pPr>
          </a:lstStyle>
          <a:p>
            <a:r>
              <a:rPr lang="en-US"/>
              <a:t>Title [28pt Arial Bold] </a:t>
            </a:r>
          </a:p>
        </p:txBody>
      </p:sp>
      <p:sp>
        <p:nvSpPr>
          <p:cNvPr id="21" name="Text Placeholder 15">
            <a:extLst>
              <a:ext uri="{FF2B5EF4-FFF2-40B4-BE49-F238E27FC236}">
                <a16:creationId xmlns:a16="http://schemas.microsoft.com/office/drawing/2014/main" id="{046B4CC3-134E-7548-B9F5-FA5784CFD5AE}"/>
              </a:ext>
            </a:extLst>
          </p:cNvPr>
          <p:cNvSpPr>
            <a:spLocks noGrp="1"/>
          </p:cNvSpPr>
          <p:nvPr>
            <p:ph type="body" sz="quarter" idx="14" hasCustomPrompt="1"/>
          </p:nvPr>
        </p:nvSpPr>
        <p:spPr>
          <a:xfrm>
            <a:off x="304802" y="4255835"/>
            <a:ext cx="5791199" cy="1097215"/>
          </a:xfrm>
          <a:prstGeom prst="rect">
            <a:avLst/>
          </a:prstGeom>
        </p:spPr>
        <p:txBody>
          <a:bodyPr lIns="0" tIns="0" rIns="0" bIns="0" anchor="t">
            <a:normAutofit/>
          </a:bodyPr>
          <a:lstStyle>
            <a:lvl1pPr marL="134536" marR="0" indent="-134536" algn="l" defTabSz="685778" rtl="0" eaLnBrk="1" fontAlgn="auto" latinLnBrk="0" hangingPunct="1">
              <a:lnSpc>
                <a:spcPct val="120000"/>
              </a:lnSpc>
              <a:spcBef>
                <a:spcPts val="0"/>
              </a:spcBef>
              <a:spcAft>
                <a:spcPts val="0"/>
              </a:spcAft>
              <a:buClr>
                <a:schemeClr val="accent4"/>
              </a:buClr>
              <a:buSzPct val="100000"/>
              <a:buFontTx/>
              <a:buNone/>
              <a:tabLst/>
              <a:defRPr sz="1050" b="0" baseline="0">
                <a:solidFill>
                  <a:schemeClr val="tx1"/>
                </a:solidFill>
              </a:defRPr>
            </a:lvl1pPr>
            <a:lvl2pPr marL="85722" indent="3572">
              <a:spcAft>
                <a:spcPts val="0"/>
              </a:spcAft>
              <a:buFontTx/>
              <a:buNone/>
              <a:defRPr sz="1050" i="1" baseline="0">
                <a:solidFill>
                  <a:schemeClr val="tx1"/>
                </a:solidFill>
              </a:defRPr>
            </a:lvl2pPr>
          </a:lstStyle>
          <a:p>
            <a:pPr marL="308600" marR="0" lvl="0" indent="-308600" algn="l" defTabSz="685778" rtl="0" eaLnBrk="1" fontAlgn="auto" latinLnBrk="0" hangingPunct="1">
              <a:lnSpc>
                <a:spcPct val="120000"/>
              </a:lnSpc>
              <a:spcBef>
                <a:spcPts val="0"/>
              </a:spcBef>
              <a:spcAft>
                <a:spcPts val="0"/>
              </a:spcAft>
              <a:buClr>
                <a:schemeClr val="accent4"/>
              </a:buClr>
              <a:buSzPct val="100000"/>
              <a:buFontTx/>
              <a:buNone/>
              <a:tabLst/>
              <a:defRPr/>
            </a:pPr>
            <a:r>
              <a:rPr lang="en-US"/>
              <a:t>Presenter Title [14pt Arial]</a:t>
            </a:r>
            <a:br>
              <a:rPr lang="en-US"/>
            </a:br>
            <a:r>
              <a:rPr lang="en-US"/>
              <a:t>Date [14pt Arial] </a:t>
            </a:r>
          </a:p>
        </p:txBody>
      </p:sp>
    </p:spTree>
    <p:extLst>
      <p:ext uri="{BB962C8B-B14F-4D97-AF65-F5344CB8AC3E}">
        <p14:creationId xmlns:p14="http://schemas.microsoft.com/office/powerpoint/2010/main" val="411478226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Default title slide 2">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7D997E8D-54A7-034E-BB18-43BE9D8B72AF}"/>
              </a:ext>
            </a:extLst>
          </p:cNvPr>
          <p:cNvGrpSpPr/>
          <p:nvPr userDrawn="1"/>
        </p:nvGrpSpPr>
        <p:grpSpPr>
          <a:xfrm>
            <a:off x="10015962" y="24564"/>
            <a:ext cx="2176038" cy="6833436"/>
            <a:chOff x="10024536" y="24564"/>
            <a:chExt cx="2176039" cy="6833436"/>
          </a:xfrm>
        </p:grpSpPr>
        <p:sp>
          <p:nvSpPr>
            <p:cNvPr id="25" name="Freeform 24">
              <a:extLst>
                <a:ext uri="{FF2B5EF4-FFF2-40B4-BE49-F238E27FC236}">
                  <a16:creationId xmlns:a16="http://schemas.microsoft.com/office/drawing/2014/main" id="{72CE4260-6521-4748-93CA-26778BA70D03}"/>
                </a:ext>
              </a:extLst>
            </p:cNvPr>
            <p:cNvSpPr/>
            <p:nvPr userDrawn="1"/>
          </p:nvSpPr>
          <p:spPr bwMode="auto">
            <a:xfrm>
              <a:off x="10024536" y="24564"/>
              <a:ext cx="2176039" cy="6833436"/>
            </a:xfrm>
            <a:custGeom>
              <a:avLst/>
              <a:gdLst>
                <a:gd name="connsiteX0" fmla="*/ 1745961 w 1745961"/>
                <a:gd name="connsiteY0" fmla="*/ 0 h 5482857"/>
                <a:gd name="connsiteX1" fmla="*/ 1745961 w 1745961"/>
                <a:gd name="connsiteY1" fmla="*/ 5482857 h 5482857"/>
                <a:gd name="connsiteX2" fmla="*/ 0 w 1745961"/>
                <a:gd name="connsiteY2" fmla="*/ 5482857 h 5482857"/>
              </a:gdLst>
              <a:ahLst/>
              <a:cxnLst>
                <a:cxn ang="0">
                  <a:pos x="connsiteX0" y="connsiteY0"/>
                </a:cxn>
                <a:cxn ang="0">
                  <a:pos x="connsiteX1" y="connsiteY1"/>
                </a:cxn>
                <a:cxn ang="0">
                  <a:pos x="connsiteX2" y="connsiteY2"/>
                </a:cxn>
              </a:cxnLst>
              <a:rect l="l" t="t" r="r" b="b"/>
              <a:pathLst>
                <a:path w="1745961" h="5482857">
                  <a:moveTo>
                    <a:pt x="1745961" y="0"/>
                  </a:moveTo>
                  <a:lnTo>
                    <a:pt x="1745961" y="5482857"/>
                  </a:lnTo>
                  <a:lnTo>
                    <a:pt x="0" y="5482857"/>
                  </a:lnTo>
                  <a:close/>
                </a:path>
              </a:pathLst>
            </a:custGeom>
            <a:solidFill>
              <a:schemeClr val="tx2">
                <a:lumMod val="75000"/>
                <a:alpha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685778" rtl="0" eaLnBrk="0" fontAlgn="base" latinLnBrk="0" hangingPunct="0">
                <a:lnSpc>
                  <a:spcPct val="100000"/>
                </a:lnSpc>
                <a:spcBef>
                  <a:spcPct val="0"/>
                </a:spcBef>
                <a:spcAft>
                  <a:spcPct val="0"/>
                </a:spcAft>
                <a:buClrTx/>
                <a:buSzTx/>
                <a:buFontTx/>
                <a:buNone/>
                <a:tabLst/>
              </a:pPr>
              <a:r>
                <a:rPr lang="en-US" sz="1350">
                  <a:latin typeface="Arial" pitchFamily="124" charset="0"/>
                </a:rPr>
                <a:t> </a:t>
              </a:r>
            </a:p>
          </p:txBody>
        </p:sp>
        <p:sp>
          <p:nvSpPr>
            <p:cNvPr id="26" name="Freeform 25">
              <a:extLst>
                <a:ext uri="{FF2B5EF4-FFF2-40B4-BE49-F238E27FC236}">
                  <a16:creationId xmlns:a16="http://schemas.microsoft.com/office/drawing/2014/main" id="{312BDDE4-0CBA-1748-A49D-A2A5F2CE8891}"/>
                </a:ext>
              </a:extLst>
            </p:cNvPr>
            <p:cNvSpPr/>
            <p:nvPr userDrawn="1"/>
          </p:nvSpPr>
          <p:spPr bwMode="auto">
            <a:xfrm>
              <a:off x="10805603" y="2477356"/>
              <a:ext cx="1394972" cy="4380644"/>
            </a:xfrm>
            <a:custGeom>
              <a:avLst/>
              <a:gdLst>
                <a:gd name="connsiteX0" fmla="*/ 1745961 w 1745961"/>
                <a:gd name="connsiteY0" fmla="*/ 0 h 5482857"/>
                <a:gd name="connsiteX1" fmla="*/ 1745961 w 1745961"/>
                <a:gd name="connsiteY1" fmla="*/ 5482857 h 5482857"/>
                <a:gd name="connsiteX2" fmla="*/ 0 w 1745961"/>
                <a:gd name="connsiteY2" fmla="*/ 5482857 h 5482857"/>
              </a:gdLst>
              <a:ahLst/>
              <a:cxnLst>
                <a:cxn ang="0">
                  <a:pos x="connsiteX0" y="connsiteY0"/>
                </a:cxn>
                <a:cxn ang="0">
                  <a:pos x="connsiteX1" y="connsiteY1"/>
                </a:cxn>
                <a:cxn ang="0">
                  <a:pos x="connsiteX2" y="connsiteY2"/>
                </a:cxn>
              </a:cxnLst>
              <a:rect l="l" t="t" r="r" b="b"/>
              <a:pathLst>
                <a:path w="1745961" h="5482857">
                  <a:moveTo>
                    <a:pt x="1745961" y="0"/>
                  </a:moveTo>
                  <a:lnTo>
                    <a:pt x="1745961" y="5482857"/>
                  </a:lnTo>
                  <a:lnTo>
                    <a:pt x="0" y="5482857"/>
                  </a:lnTo>
                  <a:close/>
                </a:path>
              </a:pathLst>
            </a:cu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685778" rtl="0" eaLnBrk="0" fontAlgn="base" latinLnBrk="0" hangingPunct="0">
                <a:lnSpc>
                  <a:spcPct val="100000"/>
                </a:lnSpc>
                <a:spcBef>
                  <a:spcPct val="0"/>
                </a:spcBef>
                <a:spcAft>
                  <a:spcPct val="0"/>
                </a:spcAft>
                <a:buClrTx/>
                <a:buSzTx/>
                <a:buFontTx/>
                <a:buNone/>
                <a:tabLst/>
              </a:pPr>
              <a:endParaRPr lang="en-US" sz="1350">
                <a:latin typeface="Arial" pitchFamily="124" charset="0"/>
              </a:endParaRPr>
            </a:p>
          </p:txBody>
        </p:sp>
      </p:grpSp>
      <p:grpSp>
        <p:nvGrpSpPr>
          <p:cNvPr id="27" name="Group 26">
            <a:extLst>
              <a:ext uri="{FF2B5EF4-FFF2-40B4-BE49-F238E27FC236}">
                <a16:creationId xmlns:a16="http://schemas.microsoft.com/office/drawing/2014/main" id="{50A6D8E5-0F1B-4F46-A75F-B4236465A272}"/>
              </a:ext>
            </a:extLst>
          </p:cNvPr>
          <p:cNvGrpSpPr/>
          <p:nvPr userDrawn="1"/>
        </p:nvGrpSpPr>
        <p:grpSpPr>
          <a:xfrm>
            <a:off x="9662262" y="818784"/>
            <a:ext cx="2529740" cy="6039216"/>
            <a:chOff x="9662260" y="818784"/>
            <a:chExt cx="2529740" cy="6039216"/>
          </a:xfrm>
        </p:grpSpPr>
        <p:pic>
          <p:nvPicPr>
            <p:cNvPr id="28" name="Picture 27">
              <a:extLst>
                <a:ext uri="{FF2B5EF4-FFF2-40B4-BE49-F238E27FC236}">
                  <a16:creationId xmlns:a16="http://schemas.microsoft.com/office/drawing/2014/main" id="{F29E788A-C660-B84C-99A5-D234AA41381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662260" y="1471202"/>
              <a:ext cx="2529740" cy="5386798"/>
            </a:xfrm>
            <a:prstGeom prst="rect">
              <a:avLst/>
            </a:prstGeom>
          </p:spPr>
        </p:pic>
        <p:pic>
          <p:nvPicPr>
            <p:cNvPr id="29" name="Picture 28">
              <a:extLst>
                <a:ext uri="{FF2B5EF4-FFF2-40B4-BE49-F238E27FC236}">
                  <a16:creationId xmlns:a16="http://schemas.microsoft.com/office/drawing/2014/main" id="{DFD590AF-386B-9048-ABEA-59B6BE9DA72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0539851" y="4300794"/>
              <a:ext cx="1652148" cy="2095226"/>
            </a:xfrm>
            <a:prstGeom prst="rect">
              <a:avLst/>
            </a:prstGeom>
          </p:spPr>
        </p:pic>
        <p:pic>
          <p:nvPicPr>
            <p:cNvPr id="30" name="Picture 29">
              <a:extLst>
                <a:ext uri="{FF2B5EF4-FFF2-40B4-BE49-F238E27FC236}">
                  <a16:creationId xmlns:a16="http://schemas.microsoft.com/office/drawing/2014/main" id="{E2756107-63E2-5F45-8CC3-D5261B2411F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rot="20585276">
              <a:off x="10888776" y="3404437"/>
              <a:ext cx="841085" cy="888470"/>
            </a:xfrm>
            <a:prstGeom prst="rect">
              <a:avLst/>
            </a:prstGeom>
          </p:spPr>
        </p:pic>
        <p:pic>
          <p:nvPicPr>
            <p:cNvPr id="31" name="Picture 30">
              <a:extLst>
                <a:ext uri="{FF2B5EF4-FFF2-40B4-BE49-F238E27FC236}">
                  <a16:creationId xmlns:a16="http://schemas.microsoft.com/office/drawing/2014/main" id="{0BBAF86D-A33D-1F45-96FF-45390C30D2F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839843" y="4683251"/>
              <a:ext cx="608076" cy="626643"/>
            </a:xfrm>
            <a:prstGeom prst="rect">
              <a:avLst/>
            </a:prstGeom>
          </p:spPr>
        </p:pic>
        <p:pic>
          <p:nvPicPr>
            <p:cNvPr id="32" name="Picture 31">
              <a:extLst>
                <a:ext uri="{FF2B5EF4-FFF2-40B4-BE49-F238E27FC236}">
                  <a16:creationId xmlns:a16="http://schemas.microsoft.com/office/drawing/2014/main" id="{48104F42-09E4-4B40-858C-D0F13E205AD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rot="19848158">
              <a:off x="10621861" y="5789703"/>
              <a:ext cx="593846" cy="634660"/>
            </a:xfrm>
            <a:prstGeom prst="rect">
              <a:avLst/>
            </a:prstGeom>
          </p:spPr>
        </p:pic>
        <p:pic>
          <p:nvPicPr>
            <p:cNvPr id="33" name="Picture 32">
              <a:extLst>
                <a:ext uri="{FF2B5EF4-FFF2-40B4-BE49-F238E27FC236}">
                  <a16:creationId xmlns:a16="http://schemas.microsoft.com/office/drawing/2014/main" id="{02EBF489-D968-EB46-B15F-78B5BB5FD92E}"/>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l="-38854"/>
            <a:stretch/>
          </p:blipFill>
          <p:spPr>
            <a:xfrm>
              <a:off x="10588564" y="818784"/>
              <a:ext cx="1603435" cy="1703758"/>
            </a:xfrm>
            <a:prstGeom prst="rect">
              <a:avLst/>
            </a:prstGeom>
          </p:spPr>
        </p:pic>
      </p:grpSp>
      <p:grpSp>
        <p:nvGrpSpPr>
          <p:cNvPr id="21" name="Group 20">
            <a:extLst>
              <a:ext uri="{FF2B5EF4-FFF2-40B4-BE49-F238E27FC236}">
                <a16:creationId xmlns:a16="http://schemas.microsoft.com/office/drawing/2014/main" id="{529B2BDF-CCF7-1348-A3D5-D71BE6DC81B3}"/>
              </a:ext>
            </a:extLst>
          </p:cNvPr>
          <p:cNvGrpSpPr/>
          <p:nvPr userDrawn="1"/>
        </p:nvGrpSpPr>
        <p:grpSpPr>
          <a:xfrm>
            <a:off x="304801" y="0"/>
            <a:ext cx="2427682" cy="1044934"/>
            <a:chOff x="0" y="0"/>
            <a:chExt cx="2447693" cy="1053548"/>
          </a:xfrm>
        </p:grpSpPr>
        <p:sp>
          <p:nvSpPr>
            <p:cNvPr id="22" name="Parallelogram 21">
              <a:extLst>
                <a:ext uri="{FF2B5EF4-FFF2-40B4-BE49-F238E27FC236}">
                  <a16:creationId xmlns:a16="http://schemas.microsoft.com/office/drawing/2014/main" id="{5AC29362-88F4-1D4E-981B-656DAC0CCDA0}"/>
                </a:ext>
              </a:extLst>
            </p:cNvPr>
            <p:cNvSpPr/>
            <p:nvPr userDrawn="1"/>
          </p:nvSpPr>
          <p:spPr bwMode="auto">
            <a:xfrm>
              <a:off x="0" y="0"/>
              <a:ext cx="2447693" cy="1053548"/>
            </a:xfrm>
            <a:prstGeom prst="parallelogram">
              <a:avLst>
                <a:gd name="adj" fmla="val 0"/>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685778" rtl="0" eaLnBrk="0" fontAlgn="base" latinLnBrk="0" hangingPunct="0">
                <a:lnSpc>
                  <a:spcPct val="100000"/>
                </a:lnSpc>
                <a:spcBef>
                  <a:spcPct val="0"/>
                </a:spcBef>
                <a:spcAft>
                  <a:spcPct val="0"/>
                </a:spcAft>
                <a:buClrTx/>
                <a:buSzTx/>
                <a:buFontTx/>
                <a:buNone/>
                <a:tabLst/>
              </a:pPr>
              <a:r>
                <a:rPr lang="en-US" sz="1350">
                  <a:latin typeface="Arial" pitchFamily="124" charset="0"/>
                </a:rPr>
                <a:t>               </a:t>
              </a:r>
            </a:p>
          </p:txBody>
        </p:sp>
        <p:pic>
          <p:nvPicPr>
            <p:cNvPr id="23" name="Picture 22">
              <a:extLst>
                <a:ext uri="{FF2B5EF4-FFF2-40B4-BE49-F238E27FC236}">
                  <a16:creationId xmlns:a16="http://schemas.microsoft.com/office/drawing/2014/main" id="{3FDEE4BE-E092-CA4F-AF35-8DF125AB2591}"/>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135820" y="154984"/>
              <a:ext cx="2178058" cy="756021"/>
            </a:xfrm>
            <a:prstGeom prst="rect">
              <a:avLst/>
            </a:prstGeom>
          </p:spPr>
        </p:pic>
      </p:grpSp>
      <p:grpSp>
        <p:nvGrpSpPr>
          <p:cNvPr id="34" name="Group 33">
            <a:extLst>
              <a:ext uri="{FF2B5EF4-FFF2-40B4-BE49-F238E27FC236}">
                <a16:creationId xmlns:a16="http://schemas.microsoft.com/office/drawing/2014/main" id="{229B0B5C-E093-DA4B-806C-77D92FB04B00}"/>
              </a:ext>
            </a:extLst>
          </p:cNvPr>
          <p:cNvGrpSpPr/>
          <p:nvPr userDrawn="1"/>
        </p:nvGrpSpPr>
        <p:grpSpPr>
          <a:xfrm>
            <a:off x="283193" y="5970592"/>
            <a:ext cx="5053203" cy="441233"/>
            <a:chOff x="5155556" y="6168462"/>
            <a:chExt cx="5053203" cy="441233"/>
          </a:xfrm>
        </p:grpSpPr>
        <p:sp>
          <p:nvSpPr>
            <p:cNvPr id="35" name="TextBox 34">
              <a:extLst>
                <a:ext uri="{FF2B5EF4-FFF2-40B4-BE49-F238E27FC236}">
                  <a16:creationId xmlns:a16="http://schemas.microsoft.com/office/drawing/2014/main" id="{8E3D34E8-07DE-DB49-893D-0283BBF248E0}"/>
                </a:ext>
              </a:extLst>
            </p:cNvPr>
            <p:cNvSpPr txBox="1"/>
            <p:nvPr userDrawn="1"/>
          </p:nvSpPr>
          <p:spPr>
            <a:xfrm>
              <a:off x="5656050" y="6168462"/>
              <a:ext cx="4552709" cy="441233"/>
            </a:xfrm>
            <a:prstGeom prst="rect">
              <a:avLst/>
            </a:prstGeom>
            <a:noFill/>
          </p:spPr>
          <p:txBody>
            <a:bodyPr vert="horz" wrap="square" lIns="0" tIns="0" rIns="0" bIns="0" rtlCol="0" anchor="ctr" anchorCtr="0">
              <a:noAutofit/>
            </a:bodyPr>
            <a:lstStyle/>
            <a:p>
              <a:pPr algn="l"/>
              <a:r>
                <a:rPr lang="en-US" sz="1500">
                  <a:solidFill>
                    <a:schemeClr val="tx1"/>
                  </a:solidFill>
                  <a:latin typeface="Arial"/>
                </a:rPr>
                <a:t>The world leader in serving science</a:t>
              </a:r>
            </a:p>
          </p:txBody>
        </p:sp>
        <p:sp>
          <p:nvSpPr>
            <p:cNvPr id="36" name="Parallelogram 35">
              <a:extLst>
                <a:ext uri="{FF2B5EF4-FFF2-40B4-BE49-F238E27FC236}">
                  <a16:creationId xmlns:a16="http://schemas.microsoft.com/office/drawing/2014/main" id="{BC757F20-58AC-5B4E-ACFF-20D22B6D507B}"/>
                </a:ext>
              </a:extLst>
            </p:cNvPr>
            <p:cNvSpPr/>
            <p:nvPr userDrawn="1"/>
          </p:nvSpPr>
          <p:spPr bwMode="auto">
            <a:xfrm>
              <a:off x="5155556" y="6302295"/>
              <a:ext cx="310510" cy="188737"/>
            </a:xfrm>
            <a:prstGeom prst="parallelogram">
              <a:avLst>
                <a:gd name="adj" fmla="val 31844"/>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685778" rtl="0" eaLnBrk="0" fontAlgn="base" latinLnBrk="0" hangingPunct="0">
                <a:lnSpc>
                  <a:spcPct val="100000"/>
                </a:lnSpc>
                <a:spcBef>
                  <a:spcPct val="0"/>
                </a:spcBef>
                <a:spcAft>
                  <a:spcPct val="0"/>
                </a:spcAft>
                <a:buClrTx/>
                <a:buSzTx/>
                <a:buFontTx/>
                <a:buNone/>
                <a:tabLst/>
              </a:pPr>
              <a:r>
                <a:rPr lang="en-US" sz="1350">
                  <a:latin typeface="Arial" pitchFamily="124" charset="0"/>
                </a:rPr>
                <a:t>               </a:t>
              </a:r>
            </a:p>
          </p:txBody>
        </p:sp>
      </p:grpSp>
      <p:sp>
        <p:nvSpPr>
          <p:cNvPr id="45" name="Footer Placeholder 1">
            <a:extLst>
              <a:ext uri="{FF2B5EF4-FFF2-40B4-BE49-F238E27FC236}">
                <a16:creationId xmlns:a16="http://schemas.microsoft.com/office/drawing/2014/main" id="{F96EC45B-102C-174F-9F23-FF784CDB7AB8}"/>
              </a:ext>
            </a:extLst>
          </p:cNvPr>
          <p:cNvSpPr>
            <a:spLocks noGrp="1"/>
          </p:cNvSpPr>
          <p:nvPr>
            <p:ph type="ftr" sz="quarter" idx="15"/>
          </p:nvPr>
        </p:nvSpPr>
        <p:spPr>
          <a:xfrm>
            <a:off x="304800" y="6553202"/>
            <a:ext cx="3657600" cy="304799"/>
          </a:xfrm>
        </p:spPr>
        <p:txBody>
          <a:bodyPr/>
          <a:lstStyle/>
          <a:p>
            <a:r>
              <a:rPr lang="en-US"/>
              <a:t>Proprietary &amp; Confidential |  authoremail@thermofisher.com | 5-August-2020</a:t>
            </a:r>
          </a:p>
        </p:txBody>
      </p:sp>
      <p:sp>
        <p:nvSpPr>
          <p:cNvPr id="46" name="Slide Number Placeholder 2">
            <a:extLst>
              <a:ext uri="{FF2B5EF4-FFF2-40B4-BE49-F238E27FC236}">
                <a16:creationId xmlns:a16="http://schemas.microsoft.com/office/drawing/2014/main" id="{8D006509-7DB4-6541-835F-3B6972AE0860}"/>
              </a:ext>
            </a:extLst>
          </p:cNvPr>
          <p:cNvSpPr>
            <a:spLocks noGrp="1"/>
          </p:cNvSpPr>
          <p:nvPr>
            <p:ph type="sldNum" sz="quarter" idx="12"/>
          </p:nvPr>
        </p:nvSpPr>
        <p:spPr>
          <a:xfrm>
            <a:off x="2" y="6553202"/>
            <a:ext cx="304799" cy="304799"/>
          </a:xfrm>
        </p:spPr>
        <p:txBody>
          <a:bodyPr/>
          <a:lstStyle/>
          <a:p>
            <a:fld id="{89006F1E-66CD-4A4B-9370-B4A3080F0E6C}" type="slidenum">
              <a:rPr lang="en-US" smtClean="0"/>
              <a:pPr/>
              <a:t>‹#›</a:t>
            </a:fld>
            <a:endParaRPr lang="en-US"/>
          </a:p>
        </p:txBody>
      </p:sp>
      <p:sp>
        <p:nvSpPr>
          <p:cNvPr id="37" name="Text Placeholder 15">
            <a:extLst>
              <a:ext uri="{FF2B5EF4-FFF2-40B4-BE49-F238E27FC236}">
                <a16:creationId xmlns:a16="http://schemas.microsoft.com/office/drawing/2014/main" id="{108EBC16-514C-7740-843A-F5174EAA96DC}"/>
              </a:ext>
            </a:extLst>
          </p:cNvPr>
          <p:cNvSpPr>
            <a:spLocks noGrp="1"/>
          </p:cNvSpPr>
          <p:nvPr>
            <p:ph type="body" sz="quarter" idx="10" hasCustomPrompt="1"/>
          </p:nvPr>
        </p:nvSpPr>
        <p:spPr>
          <a:xfrm>
            <a:off x="304802" y="3903896"/>
            <a:ext cx="7619999" cy="308120"/>
          </a:xfrm>
          <a:prstGeom prst="rect">
            <a:avLst/>
          </a:prstGeom>
        </p:spPr>
        <p:txBody>
          <a:bodyPr lIns="0" tIns="0" rIns="0" bIns="0" anchor="b"/>
          <a:lstStyle>
            <a:lvl1pPr>
              <a:spcBef>
                <a:spcPts val="0"/>
              </a:spcBef>
              <a:spcAft>
                <a:spcPts val="0"/>
              </a:spcAft>
              <a:buFontTx/>
              <a:buNone/>
              <a:defRPr sz="1200" b="0" baseline="0">
                <a:solidFill>
                  <a:schemeClr val="tx2"/>
                </a:solidFill>
              </a:defRPr>
            </a:lvl1pPr>
            <a:lvl2pPr marL="85722" indent="3572">
              <a:spcAft>
                <a:spcPts val="0"/>
              </a:spcAft>
              <a:buFontTx/>
              <a:buNone/>
              <a:defRPr sz="1050" i="1" baseline="0">
                <a:solidFill>
                  <a:schemeClr val="tx1"/>
                </a:solidFill>
              </a:defRPr>
            </a:lvl2pPr>
          </a:lstStyle>
          <a:p>
            <a:pPr lvl="0"/>
            <a:r>
              <a:rPr lang="en-US"/>
              <a:t>Presenter name [16pt Arial] </a:t>
            </a:r>
          </a:p>
        </p:txBody>
      </p:sp>
      <p:sp>
        <p:nvSpPr>
          <p:cNvPr id="38" name="Title 16">
            <a:extLst>
              <a:ext uri="{FF2B5EF4-FFF2-40B4-BE49-F238E27FC236}">
                <a16:creationId xmlns:a16="http://schemas.microsoft.com/office/drawing/2014/main" id="{124A4A7F-4904-4645-AEF7-28AEBD45D1C3}"/>
              </a:ext>
            </a:extLst>
          </p:cNvPr>
          <p:cNvSpPr>
            <a:spLocks noGrp="1"/>
          </p:cNvSpPr>
          <p:nvPr>
            <p:ph type="title" hasCustomPrompt="1"/>
          </p:nvPr>
        </p:nvSpPr>
        <p:spPr>
          <a:xfrm>
            <a:off x="304802" y="1726100"/>
            <a:ext cx="7619999" cy="2071868"/>
          </a:xfrm>
          <a:prstGeom prst="rect">
            <a:avLst/>
          </a:prstGeom>
          <a:noFill/>
        </p:spPr>
        <p:txBody>
          <a:bodyPr wrap="square" lIns="0" tIns="0" rIns="0" bIns="0" anchor="b">
            <a:noAutofit/>
          </a:bodyPr>
          <a:lstStyle>
            <a:lvl1pPr>
              <a:lnSpc>
                <a:spcPct val="110000"/>
              </a:lnSpc>
              <a:defRPr sz="2100" b="1">
                <a:solidFill>
                  <a:schemeClr val="tx1"/>
                </a:solidFill>
              </a:defRPr>
            </a:lvl1pPr>
          </a:lstStyle>
          <a:p>
            <a:r>
              <a:rPr lang="en-US"/>
              <a:t>Title [28pt Arial Bold] </a:t>
            </a:r>
          </a:p>
        </p:txBody>
      </p:sp>
      <p:sp>
        <p:nvSpPr>
          <p:cNvPr id="39" name="Text Placeholder 15">
            <a:extLst>
              <a:ext uri="{FF2B5EF4-FFF2-40B4-BE49-F238E27FC236}">
                <a16:creationId xmlns:a16="http://schemas.microsoft.com/office/drawing/2014/main" id="{0DF0839E-0C0A-8E4B-9B47-CC686D239594}"/>
              </a:ext>
            </a:extLst>
          </p:cNvPr>
          <p:cNvSpPr>
            <a:spLocks noGrp="1"/>
          </p:cNvSpPr>
          <p:nvPr>
            <p:ph type="body" sz="quarter" idx="14" hasCustomPrompt="1"/>
          </p:nvPr>
        </p:nvSpPr>
        <p:spPr>
          <a:xfrm>
            <a:off x="304802" y="4255835"/>
            <a:ext cx="7619999" cy="1097215"/>
          </a:xfrm>
          <a:prstGeom prst="rect">
            <a:avLst/>
          </a:prstGeom>
        </p:spPr>
        <p:txBody>
          <a:bodyPr lIns="0" tIns="0" rIns="0" bIns="0" anchor="t">
            <a:normAutofit/>
          </a:bodyPr>
          <a:lstStyle>
            <a:lvl1pPr marL="134536" marR="0" indent="-134536" algn="l" defTabSz="685778" rtl="0" eaLnBrk="1" fontAlgn="auto" latinLnBrk="0" hangingPunct="1">
              <a:lnSpc>
                <a:spcPct val="120000"/>
              </a:lnSpc>
              <a:spcBef>
                <a:spcPts val="0"/>
              </a:spcBef>
              <a:spcAft>
                <a:spcPts val="0"/>
              </a:spcAft>
              <a:buClr>
                <a:schemeClr val="accent4"/>
              </a:buClr>
              <a:buSzPct val="100000"/>
              <a:buFontTx/>
              <a:buNone/>
              <a:tabLst/>
              <a:defRPr sz="1050" b="0" baseline="0">
                <a:solidFill>
                  <a:schemeClr val="tx1"/>
                </a:solidFill>
              </a:defRPr>
            </a:lvl1pPr>
            <a:lvl2pPr marL="85722" indent="3572">
              <a:spcAft>
                <a:spcPts val="0"/>
              </a:spcAft>
              <a:buFontTx/>
              <a:buNone/>
              <a:defRPr sz="1050" i="1" baseline="0">
                <a:solidFill>
                  <a:schemeClr val="tx1"/>
                </a:solidFill>
              </a:defRPr>
            </a:lvl2pPr>
          </a:lstStyle>
          <a:p>
            <a:pPr marL="308600" marR="0" lvl="0" indent="-308600" algn="l" defTabSz="685778" rtl="0" eaLnBrk="1" fontAlgn="auto" latinLnBrk="0" hangingPunct="1">
              <a:lnSpc>
                <a:spcPct val="120000"/>
              </a:lnSpc>
              <a:spcBef>
                <a:spcPts val="0"/>
              </a:spcBef>
              <a:spcAft>
                <a:spcPts val="0"/>
              </a:spcAft>
              <a:buClr>
                <a:schemeClr val="accent4"/>
              </a:buClr>
              <a:buSzPct val="100000"/>
              <a:buFontTx/>
              <a:buNone/>
              <a:tabLst/>
              <a:defRPr/>
            </a:pPr>
            <a:r>
              <a:rPr lang="en-US"/>
              <a:t>Presenter Title [14pt Arial]</a:t>
            </a:r>
            <a:br>
              <a:rPr lang="en-US"/>
            </a:br>
            <a:r>
              <a:rPr lang="en-US"/>
              <a:t>Date [14pt Arial] </a:t>
            </a:r>
          </a:p>
        </p:txBody>
      </p:sp>
    </p:spTree>
    <p:extLst>
      <p:ext uri="{BB962C8B-B14F-4D97-AF65-F5344CB8AC3E}">
        <p14:creationId xmlns:p14="http://schemas.microsoft.com/office/powerpoint/2010/main" val="3408516573"/>
      </p:ext>
    </p:extLst>
  </p:cSld>
  <p:clrMapOvr>
    <a:masterClrMapping/>
  </p:clrMapOvr>
  <p:extLst>
    <p:ext uri="{DCECCB84-F9BA-43D5-87BE-67443E8EF086}">
      <p15:sldGuideLst xmlns:p15="http://schemas.microsoft.com/office/powerpoint/2012/main">
        <p15:guide id="1" pos="192">
          <p15:clr>
            <a:srgbClr val="CCCCCC"/>
          </p15:clr>
        </p15:guide>
        <p15:guide id="2" pos="7488">
          <p15:clr>
            <a:srgbClr val="CCCCCC"/>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Custom title slide">
    <p:bg>
      <p:bgPr>
        <a:gradFill>
          <a:gsLst>
            <a:gs pos="0">
              <a:schemeClr val="bg1"/>
            </a:gs>
            <a:gs pos="45000">
              <a:schemeClr val="bg1"/>
            </a:gs>
            <a:gs pos="66000">
              <a:schemeClr val="bg2"/>
            </a:gs>
          </a:gsLst>
          <a:lin ang="1080000" scaled="0"/>
        </a:gra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2DF2EB01-DB3A-564C-8485-CADA3C9CF3AF}"/>
              </a:ext>
            </a:extLst>
          </p:cNvPr>
          <p:cNvSpPr>
            <a:spLocks noGrp="1"/>
          </p:cNvSpPr>
          <p:nvPr>
            <p:ph type="pic" sz="quarter" idx="11" hasCustomPrompt="1"/>
          </p:nvPr>
        </p:nvSpPr>
        <p:spPr>
          <a:xfrm>
            <a:off x="5560460" y="3"/>
            <a:ext cx="6631541" cy="6857999"/>
          </a:xfrm>
          <a:custGeom>
            <a:avLst/>
            <a:gdLst>
              <a:gd name="connsiteX0" fmla="*/ 2183862 w 6631541"/>
              <a:gd name="connsiteY0" fmla="*/ 0 h 6857999"/>
              <a:gd name="connsiteX1" fmla="*/ 6631541 w 6631541"/>
              <a:gd name="connsiteY1" fmla="*/ 0 h 6857999"/>
              <a:gd name="connsiteX2" fmla="*/ 6631541 w 6631541"/>
              <a:gd name="connsiteY2" fmla="*/ 6857999 h 6857999"/>
              <a:gd name="connsiteX3" fmla="*/ 0 w 66315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6631541" h="6857999">
                <a:moveTo>
                  <a:pt x="2183862" y="0"/>
                </a:moveTo>
                <a:lnTo>
                  <a:pt x="6631541" y="0"/>
                </a:lnTo>
                <a:lnTo>
                  <a:pt x="6631541" y="6857999"/>
                </a:lnTo>
                <a:lnTo>
                  <a:pt x="0" y="6857999"/>
                </a:lnTo>
                <a:close/>
              </a:path>
            </a:pathLst>
          </a:custGeom>
          <a:pattFill prst="pct5">
            <a:fgClr>
              <a:schemeClr val="bg1"/>
            </a:fgClr>
            <a:bgClr>
              <a:schemeClr val="bg2"/>
            </a:bgClr>
          </a:pattFill>
        </p:spPr>
        <p:txBody>
          <a:bodyPr vert="horz" wrap="square" lIns="0" tIns="0" rIns="0" bIns="0" rtlCol="0" anchor="ctr">
            <a:noAutofit/>
          </a:bodyPr>
          <a:lstStyle>
            <a:lvl1pPr marL="0" indent="0" algn="ctr">
              <a:buFontTx/>
              <a:buNone/>
              <a:defRPr lang="en-US" sz="1050" dirty="0"/>
            </a:lvl1pPr>
          </a:lstStyle>
          <a:p>
            <a:pPr marR="0" lvl="0" algn="ctr" fontAlgn="auto">
              <a:spcAft>
                <a:spcPts val="0"/>
              </a:spcAft>
              <a:buClrTx/>
              <a:buSzTx/>
              <a:buNone/>
              <a:tabLst/>
            </a:pPr>
            <a:r>
              <a:rPr lang="en-US"/>
              <a:t>Add photo</a:t>
            </a:r>
          </a:p>
        </p:txBody>
      </p:sp>
      <p:grpSp>
        <p:nvGrpSpPr>
          <p:cNvPr id="7" name="Group 6">
            <a:extLst>
              <a:ext uri="{FF2B5EF4-FFF2-40B4-BE49-F238E27FC236}">
                <a16:creationId xmlns:a16="http://schemas.microsoft.com/office/drawing/2014/main" id="{B1F511C6-A535-A245-B123-CC04435D2DAF}"/>
              </a:ext>
            </a:extLst>
          </p:cNvPr>
          <p:cNvGrpSpPr/>
          <p:nvPr userDrawn="1"/>
        </p:nvGrpSpPr>
        <p:grpSpPr>
          <a:xfrm>
            <a:off x="304801" y="0"/>
            <a:ext cx="2427682" cy="1044934"/>
            <a:chOff x="0" y="0"/>
            <a:chExt cx="2447693" cy="1053548"/>
          </a:xfrm>
        </p:grpSpPr>
        <p:sp>
          <p:nvSpPr>
            <p:cNvPr id="8" name="Parallelogram 7">
              <a:extLst>
                <a:ext uri="{FF2B5EF4-FFF2-40B4-BE49-F238E27FC236}">
                  <a16:creationId xmlns:a16="http://schemas.microsoft.com/office/drawing/2014/main" id="{6399281C-FD14-2942-9A9B-13B5E50B7517}"/>
                </a:ext>
              </a:extLst>
            </p:cNvPr>
            <p:cNvSpPr/>
            <p:nvPr userDrawn="1"/>
          </p:nvSpPr>
          <p:spPr bwMode="auto">
            <a:xfrm>
              <a:off x="0" y="0"/>
              <a:ext cx="2447693" cy="1053548"/>
            </a:xfrm>
            <a:prstGeom prst="parallelogram">
              <a:avLst>
                <a:gd name="adj" fmla="val 0"/>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685778" rtl="0" eaLnBrk="0" fontAlgn="base" latinLnBrk="0" hangingPunct="0">
                <a:lnSpc>
                  <a:spcPct val="100000"/>
                </a:lnSpc>
                <a:spcBef>
                  <a:spcPct val="0"/>
                </a:spcBef>
                <a:spcAft>
                  <a:spcPct val="0"/>
                </a:spcAft>
                <a:buClrTx/>
                <a:buSzTx/>
                <a:buFontTx/>
                <a:buNone/>
                <a:tabLst/>
              </a:pPr>
              <a:r>
                <a:rPr lang="en-US" sz="1350">
                  <a:latin typeface="Arial" pitchFamily="124" charset="0"/>
                </a:rPr>
                <a:t>               </a:t>
              </a:r>
            </a:p>
          </p:txBody>
        </p:sp>
        <p:pic>
          <p:nvPicPr>
            <p:cNvPr id="9" name="Picture 8">
              <a:extLst>
                <a:ext uri="{FF2B5EF4-FFF2-40B4-BE49-F238E27FC236}">
                  <a16:creationId xmlns:a16="http://schemas.microsoft.com/office/drawing/2014/main" id="{7D60AD95-BD80-6049-9976-D024EC4ECDE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5820" y="154984"/>
              <a:ext cx="2178058" cy="756021"/>
            </a:xfrm>
            <a:prstGeom prst="rect">
              <a:avLst/>
            </a:prstGeom>
          </p:spPr>
        </p:pic>
      </p:grpSp>
      <p:grpSp>
        <p:nvGrpSpPr>
          <p:cNvPr id="11" name="Group 10">
            <a:extLst>
              <a:ext uri="{FF2B5EF4-FFF2-40B4-BE49-F238E27FC236}">
                <a16:creationId xmlns:a16="http://schemas.microsoft.com/office/drawing/2014/main" id="{BD8A84AE-AF33-DF45-94CF-C3F25C5B3C5F}"/>
              </a:ext>
            </a:extLst>
          </p:cNvPr>
          <p:cNvGrpSpPr/>
          <p:nvPr userDrawn="1"/>
        </p:nvGrpSpPr>
        <p:grpSpPr>
          <a:xfrm>
            <a:off x="283193" y="5970592"/>
            <a:ext cx="5053203" cy="441233"/>
            <a:chOff x="5155556" y="6168462"/>
            <a:chExt cx="5053203" cy="441233"/>
          </a:xfrm>
        </p:grpSpPr>
        <p:sp>
          <p:nvSpPr>
            <p:cNvPr id="12" name="TextBox 11">
              <a:extLst>
                <a:ext uri="{FF2B5EF4-FFF2-40B4-BE49-F238E27FC236}">
                  <a16:creationId xmlns:a16="http://schemas.microsoft.com/office/drawing/2014/main" id="{5DF5D896-302C-C647-8B84-3EA145C1337B}"/>
                </a:ext>
              </a:extLst>
            </p:cNvPr>
            <p:cNvSpPr txBox="1"/>
            <p:nvPr userDrawn="1"/>
          </p:nvSpPr>
          <p:spPr>
            <a:xfrm>
              <a:off x="5656050" y="6168462"/>
              <a:ext cx="4552709" cy="441233"/>
            </a:xfrm>
            <a:prstGeom prst="rect">
              <a:avLst/>
            </a:prstGeom>
            <a:noFill/>
          </p:spPr>
          <p:txBody>
            <a:bodyPr vert="horz" wrap="square" lIns="0" tIns="0" rIns="0" bIns="0" rtlCol="0" anchor="ctr" anchorCtr="0">
              <a:noAutofit/>
            </a:bodyPr>
            <a:lstStyle/>
            <a:p>
              <a:pPr algn="l"/>
              <a:r>
                <a:rPr lang="en-US" sz="1500">
                  <a:solidFill>
                    <a:schemeClr val="tx1"/>
                  </a:solidFill>
                  <a:latin typeface="Arial"/>
                </a:rPr>
                <a:t>The world leader in serving science</a:t>
              </a:r>
            </a:p>
          </p:txBody>
        </p:sp>
        <p:sp>
          <p:nvSpPr>
            <p:cNvPr id="13" name="Parallelogram 12">
              <a:extLst>
                <a:ext uri="{FF2B5EF4-FFF2-40B4-BE49-F238E27FC236}">
                  <a16:creationId xmlns:a16="http://schemas.microsoft.com/office/drawing/2014/main" id="{9BC00B89-C038-314A-AC65-15CF9FEFA67A}"/>
                </a:ext>
              </a:extLst>
            </p:cNvPr>
            <p:cNvSpPr/>
            <p:nvPr userDrawn="1"/>
          </p:nvSpPr>
          <p:spPr bwMode="auto">
            <a:xfrm>
              <a:off x="5155556" y="6302295"/>
              <a:ext cx="310510" cy="188737"/>
            </a:xfrm>
            <a:prstGeom prst="parallelogram">
              <a:avLst>
                <a:gd name="adj" fmla="val 31844"/>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685778" rtl="0" eaLnBrk="0" fontAlgn="base" latinLnBrk="0" hangingPunct="0">
                <a:lnSpc>
                  <a:spcPct val="100000"/>
                </a:lnSpc>
                <a:spcBef>
                  <a:spcPct val="0"/>
                </a:spcBef>
                <a:spcAft>
                  <a:spcPct val="0"/>
                </a:spcAft>
                <a:buClrTx/>
                <a:buSzTx/>
                <a:buFontTx/>
                <a:buNone/>
                <a:tabLst/>
              </a:pPr>
              <a:r>
                <a:rPr lang="en-US" sz="1350">
                  <a:latin typeface="Arial" pitchFamily="124" charset="0"/>
                </a:rPr>
                <a:t>               </a:t>
              </a:r>
            </a:p>
          </p:txBody>
        </p:sp>
      </p:grpSp>
      <p:sp>
        <p:nvSpPr>
          <p:cNvPr id="17" name="Text Placeholder 15">
            <a:extLst>
              <a:ext uri="{FF2B5EF4-FFF2-40B4-BE49-F238E27FC236}">
                <a16:creationId xmlns:a16="http://schemas.microsoft.com/office/drawing/2014/main" id="{066B560F-B405-E64F-9BDF-0CBAACB3D079}"/>
              </a:ext>
            </a:extLst>
          </p:cNvPr>
          <p:cNvSpPr>
            <a:spLocks noGrp="1"/>
          </p:cNvSpPr>
          <p:nvPr>
            <p:ph type="body" sz="quarter" idx="10" hasCustomPrompt="1"/>
          </p:nvPr>
        </p:nvSpPr>
        <p:spPr>
          <a:xfrm>
            <a:off x="304802" y="3903896"/>
            <a:ext cx="5791199" cy="308120"/>
          </a:xfrm>
          <a:prstGeom prst="rect">
            <a:avLst/>
          </a:prstGeom>
        </p:spPr>
        <p:txBody>
          <a:bodyPr lIns="0" tIns="0" rIns="0" bIns="0" anchor="b"/>
          <a:lstStyle>
            <a:lvl1pPr>
              <a:spcBef>
                <a:spcPts val="0"/>
              </a:spcBef>
              <a:spcAft>
                <a:spcPts val="0"/>
              </a:spcAft>
              <a:buFontTx/>
              <a:buNone/>
              <a:defRPr sz="1200" b="0" baseline="0">
                <a:solidFill>
                  <a:schemeClr val="tx2"/>
                </a:solidFill>
              </a:defRPr>
            </a:lvl1pPr>
            <a:lvl2pPr marL="85722" indent="3572">
              <a:spcAft>
                <a:spcPts val="0"/>
              </a:spcAft>
              <a:buFontTx/>
              <a:buNone/>
              <a:defRPr sz="1050" i="1" baseline="0">
                <a:solidFill>
                  <a:schemeClr val="tx1"/>
                </a:solidFill>
              </a:defRPr>
            </a:lvl2pPr>
          </a:lstStyle>
          <a:p>
            <a:pPr lvl="0"/>
            <a:r>
              <a:rPr lang="en-US"/>
              <a:t>Presenter name [16pt Arial] </a:t>
            </a:r>
          </a:p>
        </p:txBody>
      </p:sp>
      <p:sp>
        <p:nvSpPr>
          <p:cNvPr id="18" name="Title 16">
            <a:extLst>
              <a:ext uri="{FF2B5EF4-FFF2-40B4-BE49-F238E27FC236}">
                <a16:creationId xmlns:a16="http://schemas.microsoft.com/office/drawing/2014/main" id="{98A0AF47-0118-3245-A388-D5866C77A994}"/>
              </a:ext>
            </a:extLst>
          </p:cNvPr>
          <p:cNvSpPr>
            <a:spLocks noGrp="1"/>
          </p:cNvSpPr>
          <p:nvPr>
            <p:ph type="title" hasCustomPrompt="1"/>
          </p:nvPr>
        </p:nvSpPr>
        <p:spPr>
          <a:xfrm>
            <a:off x="304802" y="1726100"/>
            <a:ext cx="5791199" cy="2071868"/>
          </a:xfrm>
          <a:prstGeom prst="rect">
            <a:avLst/>
          </a:prstGeom>
          <a:noFill/>
        </p:spPr>
        <p:txBody>
          <a:bodyPr wrap="square" lIns="0" tIns="0" rIns="0" bIns="0" anchor="b">
            <a:noAutofit/>
          </a:bodyPr>
          <a:lstStyle>
            <a:lvl1pPr>
              <a:lnSpc>
                <a:spcPct val="90000"/>
              </a:lnSpc>
              <a:defRPr sz="2100" b="1">
                <a:solidFill>
                  <a:schemeClr val="tx1"/>
                </a:solidFill>
              </a:defRPr>
            </a:lvl1pPr>
          </a:lstStyle>
          <a:p>
            <a:r>
              <a:rPr lang="en-US"/>
              <a:t>Title [28pt Arial Bold] </a:t>
            </a:r>
          </a:p>
        </p:txBody>
      </p:sp>
      <p:sp>
        <p:nvSpPr>
          <p:cNvPr id="21" name="Footer Placeholder 1">
            <a:extLst>
              <a:ext uri="{FF2B5EF4-FFF2-40B4-BE49-F238E27FC236}">
                <a16:creationId xmlns:a16="http://schemas.microsoft.com/office/drawing/2014/main" id="{0417725A-1D63-8B41-B75E-4A7C276235C4}"/>
              </a:ext>
            </a:extLst>
          </p:cNvPr>
          <p:cNvSpPr>
            <a:spLocks noGrp="1"/>
          </p:cNvSpPr>
          <p:nvPr>
            <p:ph type="ftr" sz="quarter" idx="15"/>
          </p:nvPr>
        </p:nvSpPr>
        <p:spPr>
          <a:xfrm>
            <a:off x="304800" y="6553202"/>
            <a:ext cx="3657600" cy="304799"/>
          </a:xfrm>
        </p:spPr>
        <p:txBody>
          <a:bodyPr/>
          <a:lstStyle/>
          <a:p>
            <a:r>
              <a:rPr lang="en-US"/>
              <a:t>Proprietary &amp; Confidential |  authoremail@thermofisher.com | 5-August-2020</a:t>
            </a:r>
          </a:p>
        </p:txBody>
      </p:sp>
      <p:sp>
        <p:nvSpPr>
          <p:cNvPr id="22" name="Slide Number Placeholder 2">
            <a:extLst>
              <a:ext uri="{FF2B5EF4-FFF2-40B4-BE49-F238E27FC236}">
                <a16:creationId xmlns:a16="http://schemas.microsoft.com/office/drawing/2014/main" id="{2EFD93CC-9AAB-B446-8966-4FFCA1CA2633}"/>
              </a:ext>
            </a:extLst>
          </p:cNvPr>
          <p:cNvSpPr>
            <a:spLocks noGrp="1"/>
          </p:cNvSpPr>
          <p:nvPr>
            <p:ph type="sldNum" sz="quarter" idx="12"/>
          </p:nvPr>
        </p:nvSpPr>
        <p:spPr>
          <a:xfrm>
            <a:off x="2" y="6553202"/>
            <a:ext cx="304799" cy="304799"/>
          </a:xfrm>
        </p:spPr>
        <p:txBody>
          <a:bodyPr/>
          <a:lstStyle/>
          <a:p>
            <a:fld id="{89006F1E-66CD-4A4B-9370-B4A3080F0E6C}" type="slidenum">
              <a:rPr lang="en-US" smtClean="0"/>
              <a:pPr/>
              <a:t>‹#›</a:t>
            </a:fld>
            <a:endParaRPr lang="en-US"/>
          </a:p>
        </p:txBody>
      </p:sp>
      <p:sp>
        <p:nvSpPr>
          <p:cNvPr id="15" name="Text Placeholder 15">
            <a:extLst>
              <a:ext uri="{FF2B5EF4-FFF2-40B4-BE49-F238E27FC236}">
                <a16:creationId xmlns:a16="http://schemas.microsoft.com/office/drawing/2014/main" id="{DA6AB682-877D-F244-8431-46BA64252685}"/>
              </a:ext>
            </a:extLst>
          </p:cNvPr>
          <p:cNvSpPr>
            <a:spLocks noGrp="1"/>
          </p:cNvSpPr>
          <p:nvPr>
            <p:ph type="body" sz="quarter" idx="14" hasCustomPrompt="1"/>
          </p:nvPr>
        </p:nvSpPr>
        <p:spPr>
          <a:xfrm>
            <a:off x="304802" y="4255835"/>
            <a:ext cx="5791200" cy="1097215"/>
          </a:xfrm>
          <a:prstGeom prst="rect">
            <a:avLst/>
          </a:prstGeom>
        </p:spPr>
        <p:txBody>
          <a:bodyPr lIns="0" tIns="0" rIns="0" bIns="0" anchor="t">
            <a:normAutofit/>
          </a:bodyPr>
          <a:lstStyle>
            <a:lvl1pPr marL="134536" marR="0" indent="-134536" algn="l" defTabSz="685778" rtl="0" eaLnBrk="1" fontAlgn="auto" latinLnBrk="0" hangingPunct="1">
              <a:lnSpc>
                <a:spcPct val="120000"/>
              </a:lnSpc>
              <a:spcBef>
                <a:spcPts val="0"/>
              </a:spcBef>
              <a:spcAft>
                <a:spcPts val="0"/>
              </a:spcAft>
              <a:buClr>
                <a:schemeClr val="accent4"/>
              </a:buClr>
              <a:buSzPct val="100000"/>
              <a:buFontTx/>
              <a:buNone/>
              <a:tabLst/>
              <a:defRPr sz="1050" b="0" baseline="0">
                <a:solidFill>
                  <a:schemeClr val="tx1"/>
                </a:solidFill>
              </a:defRPr>
            </a:lvl1pPr>
            <a:lvl2pPr marL="85722" indent="3572">
              <a:spcAft>
                <a:spcPts val="0"/>
              </a:spcAft>
              <a:buFontTx/>
              <a:buNone/>
              <a:defRPr sz="1050" i="1" baseline="0">
                <a:solidFill>
                  <a:schemeClr val="tx1"/>
                </a:solidFill>
              </a:defRPr>
            </a:lvl2pPr>
          </a:lstStyle>
          <a:p>
            <a:pPr marL="308600" marR="0" lvl="0" indent="-308600" algn="l" defTabSz="685778" rtl="0" eaLnBrk="1" fontAlgn="auto" latinLnBrk="0" hangingPunct="1">
              <a:lnSpc>
                <a:spcPct val="120000"/>
              </a:lnSpc>
              <a:spcBef>
                <a:spcPts val="0"/>
              </a:spcBef>
              <a:spcAft>
                <a:spcPts val="0"/>
              </a:spcAft>
              <a:buClr>
                <a:schemeClr val="accent4"/>
              </a:buClr>
              <a:buSzPct val="100000"/>
              <a:buFontTx/>
              <a:buNone/>
              <a:tabLst/>
              <a:defRPr/>
            </a:pPr>
            <a:r>
              <a:rPr lang="en-US"/>
              <a:t>Presenter Title [14pt Arial]</a:t>
            </a:r>
            <a:br>
              <a:rPr lang="en-US"/>
            </a:br>
            <a:r>
              <a:rPr lang="en-US"/>
              <a:t>Date [14pt Arial] </a:t>
            </a:r>
          </a:p>
        </p:txBody>
      </p:sp>
    </p:spTree>
    <p:extLst>
      <p:ext uri="{BB962C8B-B14F-4D97-AF65-F5344CB8AC3E}">
        <p14:creationId xmlns:p14="http://schemas.microsoft.com/office/powerpoint/2010/main" val="151330193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with image">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6AE08B2E-D136-8942-AB0C-32CBAFB45A4D}"/>
              </a:ext>
            </a:extLst>
          </p:cNvPr>
          <p:cNvSpPr>
            <a:spLocks noGrp="1"/>
          </p:cNvSpPr>
          <p:nvPr>
            <p:ph type="pic" sz="quarter" idx="11" hasCustomPrompt="1"/>
          </p:nvPr>
        </p:nvSpPr>
        <p:spPr>
          <a:xfrm>
            <a:off x="5560460" y="0"/>
            <a:ext cx="6631541" cy="6858000"/>
          </a:xfrm>
          <a:custGeom>
            <a:avLst/>
            <a:gdLst>
              <a:gd name="connsiteX0" fmla="*/ 4761301 w 6631541"/>
              <a:gd name="connsiteY0" fmla="*/ 1 h 6858000"/>
              <a:gd name="connsiteX1" fmla="*/ 4761301 w 6631541"/>
              <a:gd name="connsiteY1" fmla="*/ 673805 h 6858000"/>
              <a:gd name="connsiteX2" fmla="*/ 6326740 w 6631541"/>
              <a:gd name="connsiteY2" fmla="*/ 673805 h 6858000"/>
              <a:gd name="connsiteX3" fmla="*/ 6326740 w 6631541"/>
              <a:gd name="connsiteY3" fmla="*/ 1 h 6858000"/>
              <a:gd name="connsiteX4" fmla="*/ 2183862 w 6631541"/>
              <a:gd name="connsiteY4" fmla="*/ 0 h 6858000"/>
              <a:gd name="connsiteX5" fmla="*/ 6631541 w 6631541"/>
              <a:gd name="connsiteY5" fmla="*/ 0 h 6858000"/>
              <a:gd name="connsiteX6" fmla="*/ 6631541 w 6631541"/>
              <a:gd name="connsiteY6" fmla="*/ 6858000 h 6858000"/>
              <a:gd name="connsiteX7" fmla="*/ 0 w 6631541"/>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31541" h="6858000">
                <a:moveTo>
                  <a:pt x="4761301" y="1"/>
                </a:moveTo>
                <a:lnTo>
                  <a:pt x="4761301" y="673805"/>
                </a:lnTo>
                <a:lnTo>
                  <a:pt x="6326740" y="673805"/>
                </a:lnTo>
                <a:lnTo>
                  <a:pt x="6326740" y="1"/>
                </a:lnTo>
                <a:close/>
                <a:moveTo>
                  <a:pt x="2183862" y="0"/>
                </a:moveTo>
                <a:lnTo>
                  <a:pt x="6631541" y="0"/>
                </a:lnTo>
                <a:lnTo>
                  <a:pt x="6631541" y="6858000"/>
                </a:lnTo>
                <a:lnTo>
                  <a:pt x="0" y="6858000"/>
                </a:lnTo>
                <a:close/>
              </a:path>
            </a:pathLst>
          </a:custGeom>
          <a:pattFill prst="pct5">
            <a:fgClr>
              <a:schemeClr val="bg1"/>
            </a:fgClr>
            <a:bgClr>
              <a:schemeClr val="bg2"/>
            </a:bgClr>
          </a:pattFill>
        </p:spPr>
        <p:txBody>
          <a:bodyPr vert="horz" wrap="square" lIns="0" tIns="0" rIns="0" bIns="0" rtlCol="0" anchor="ctr">
            <a:noAutofit/>
          </a:bodyPr>
          <a:lstStyle>
            <a:lvl1pPr marL="0" indent="0" algn="ctr">
              <a:buFontTx/>
              <a:buNone/>
              <a:defRPr lang="en-US" sz="1050" dirty="0"/>
            </a:lvl1pPr>
          </a:lstStyle>
          <a:p>
            <a:pPr marR="0" lvl="0" algn="ctr" fontAlgn="auto">
              <a:spcAft>
                <a:spcPts val="0"/>
              </a:spcAft>
              <a:buClrTx/>
              <a:buSzTx/>
              <a:buNone/>
              <a:tabLst/>
            </a:pPr>
            <a:r>
              <a:rPr lang="en-US"/>
              <a:t>Add photo</a:t>
            </a:r>
          </a:p>
        </p:txBody>
      </p:sp>
      <p:sp>
        <p:nvSpPr>
          <p:cNvPr id="12" name="Slide Number Placeholder 11">
            <a:extLst>
              <a:ext uri="{FF2B5EF4-FFF2-40B4-BE49-F238E27FC236}">
                <a16:creationId xmlns:a16="http://schemas.microsoft.com/office/drawing/2014/main" id="{47161BDA-83E9-E143-BE27-DC11E94DC4B5}"/>
              </a:ext>
            </a:extLst>
          </p:cNvPr>
          <p:cNvSpPr>
            <a:spLocks noGrp="1"/>
          </p:cNvSpPr>
          <p:nvPr>
            <p:ph type="sldNum" sz="quarter" idx="10"/>
          </p:nvPr>
        </p:nvSpPr>
        <p:spPr/>
        <p:txBody>
          <a:bodyPr lIns="0" tIns="0" rIns="0" bIns="0"/>
          <a:lstStyle/>
          <a:p>
            <a:fld id="{89006F1E-66CD-4A4B-9370-B4A3080F0E6C}" type="slidenum">
              <a:rPr lang="en-US" smtClean="0"/>
              <a:pPr/>
              <a:t>‹#›</a:t>
            </a:fld>
            <a:endParaRPr lang="en-US"/>
          </a:p>
        </p:txBody>
      </p:sp>
      <p:sp>
        <p:nvSpPr>
          <p:cNvPr id="17" name="Title 16">
            <a:extLst>
              <a:ext uri="{FF2B5EF4-FFF2-40B4-BE49-F238E27FC236}">
                <a16:creationId xmlns:a16="http://schemas.microsoft.com/office/drawing/2014/main" id="{FB477BD4-B3C4-0245-87E7-210A11A609FB}"/>
              </a:ext>
            </a:extLst>
          </p:cNvPr>
          <p:cNvSpPr>
            <a:spLocks noGrp="1"/>
          </p:cNvSpPr>
          <p:nvPr>
            <p:ph type="title"/>
          </p:nvPr>
        </p:nvSpPr>
        <p:spPr/>
        <p:txBody>
          <a:bodyPr/>
          <a:lstStyle/>
          <a:p>
            <a:r>
              <a:rPr lang="en-US"/>
              <a:t>Click to edit Master title style</a:t>
            </a:r>
          </a:p>
        </p:txBody>
      </p:sp>
      <p:sp>
        <p:nvSpPr>
          <p:cNvPr id="2" name="Footer Placeholder 1">
            <a:extLst>
              <a:ext uri="{FF2B5EF4-FFF2-40B4-BE49-F238E27FC236}">
                <a16:creationId xmlns:a16="http://schemas.microsoft.com/office/drawing/2014/main" id="{A45E3DEE-D37C-1D48-B059-905D05A3A480}"/>
              </a:ext>
            </a:extLst>
          </p:cNvPr>
          <p:cNvSpPr>
            <a:spLocks noGrp="1"/>
          </p:cNvSpPr>
          <p:nvPr>
            <p:ph type="ftr" sz="quarter" idx="12"/>
          </p:nvPr>
        </p:nvSpPr>
        <p:spPr>
          <a:xfrm>
            <a:off x="304802" y="6553201"/>
            <a:ext cx="3657601" cy="304800"/>
          </a:xfrm>
          <a:prstGeom prst="rect">
            <a:avLst/>
          </a:prstGeom>
        </p:spPr>
        <p:txBody>
          <a:bodyPr/>
          <a:lstStyle>
            <a:lvl1pPr>
              <a:defRPr>
                <a:solidFill>
                  <a:schemeClr val="accent5"/>
                </a:solidFill>
              </a:defRPr>
            </a:lvl1pPr>
          </a:lstStyle>
          <a:p>
            <a:r>
              <a:rPr lang="en-US">
                <a:ea typeface="MS PGothic" panose="020B0600070205080204" pitchFamily="34" charset="-128"/>
              </a:rPr>
              <a:t>Proprietary &amp; Confidential |  authoremail@thermofisher.com | 5-August-2020</a:t>
            </a:r>
          </a:p>
        </p:txBody>
      </p:sp>
      <p:sp>
        <p:nvSpPr>
          <p:cNvPr id="8" name="Content Placeholder 3">
            <a:extLst>
              <a:ext uri="{FF2B5EF4-FFF2-40B4-BE49-F238E27FC236}">
                <a16:creationId xmlns:a16="http://schemas.microsoft.com/office/drawing/2014/main" id="{E78B1B2E-3D55-0E40-BE78-DE19E0E78115}"/>
              </a:ext>
            </a:extLst>
          </p:cNvPr>
          <p:cNvSpPr>
            <a:spLocks noGrp="1"/>
          </p:cNvSpPr>
          <p:nvPr>
            <p:ph sz="quarter" idx="14"/>
          </p:nvPr>
        </p:nvSpPr>
        <p:spPr>
          <a:xfrm>
            <a:off x="304801" y="1447801"/>
            <a:ext cx="5791200" cy="4607954"/>
          </a:xfrm>
          <a:prstGeom prst="rect">
            <a:avLst/>
          </a:prstGeom>
        </p:spPr>
        <p:txBody>
          <a:bodyPr vert="horz" lIns="0" tIns="0" rIns="0" bIns="0" rtlCol="0" anchor="ctr" anchorCtr="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a:extLst>
              <a:ext uri="{FF2B5EF4-FFF2-40B4-BE49-F238E27FC236}">
                <a16:creationId xmlns:a16="http://schemas.microsoft.com/office/drawing/2014/main" id="{913AD51C-A540-614E-BCCA-04DD383D383F}"/>
              </a:ext>
            </a:extLst>
          </p:cNvPr>
          <p:cNvSpPr>
            <a:spLocks noGrp="1"/>
          </p:cNvSpPr>
          <p:nvPr>
            <p:ph type="body" sz="quarter" idx="15" hasCustomPrompt="1"/>
          </p:nvPr>
        </p:nvSpPr>
        <p:spPr>
          <a:xfrm>
            <a:off x="304797" y="6055756"/>
            <a:ext cx="5255663" cy="489204"/>
          </a:xfrm>
          <a:prstGeom prst="rect">
            <a:avLst/>
          </a:prstGeom>
        </p:spPr>
        <p:txBody>
          <a:bodyPr anchor="b">
            <a:normAutofit/>
          </a:bodyPr>
          <a:lstStyle>
            <a:lvl1pPr marL="0" indent="0">
              <a:spcBef>
                <a:spcPts val="75"/>
              </a:spcBef>
              <a:buNone/>
              <a:defRPr sz="750">
                <a:solidFill>
                  <a:schemeClr val="accent5"/>
                </a:solidFill>
              </a:defRPr>
            </a:lvl1pPr>
          </a:lstStyle>
          <a:p>
            <a:pPr lvl="0"/>
            <a:r>
              <a:rPr lang="en-US"/>
              <a:t>Source notes</a:t>
            </a:r>
          </a:p>
        </p:txBody>
      </p:sp>
      <p:sp>
        <p:nvSpPr>
          <p:cNvPr id="10" name="Text Placeholder 7">
            <a:extLst>
              <a:ext uri="{FF2B5EF4-FFF2-40B4-BE49-F238E27FC236}">
                <a16:creationId xmlns:a16="http://schemas.microsoft.com/office/drawing/2014/main" id="{C408A322-1049-7D40-BE0C-3E8E57A90330}"/>
              </a:ext>
            </a:extLst>
          </p:cNvPr>
          <p:cNvSpPr>
            <a:spLocks noGrp="1"/>
          </p:cNvSpPr>
          <p:nvPr>
            <p:ph type="body" sz="quarter" idx="16" hasCustomPrompt="1"/>
          </p:nvPr>
        </p:nvSpPr>
        <p:spPr>
          <a:xfrm>
            <a:off x="300227" y="893065"/>
            <a:ext cx="11591546" cy="381001"/>
          </a:xfrm>
          <a:prstGeom prst="rect">
            <a:avLst/>
          </a:prstGeom>
        </p:spPr>
        <p:txBody>
          <a:bodyPr lIns="0" tIns="0" rIns="0" bIns="0" anchor="t">
            <a:noAutofit/>
          </a:bodyPr>
          <a:lstStyle>
            <a:lvl1pPr marL="0" indent="0">
              <a:buNone/>
              <a:defRPr sz="1500">
                <a:solidFill>
                  <a:schemeClr val="tx1"/>
                </a:solidFill>
              </a:defRPr>
            </a:lvl1pPr>
          </a:lstStyle>
          <a:p>
            <a:pPr lvl="0"/>
            <a:r>
              <a:rPr lang="en-US"/>
              <a:t>Click to add </a:t>
            </a:r>
            <a:r>
              <a:rPr lang="en-US" err="1"/>
              <a:t>subheader</a:t>
            </a:r>
            <a:endParaRPr lang="en-US"/>
          </a:p>
        </p:txBody>
      </p:sp>
    </p:spTree>
    <p:extLst>
      <p:ext uri="{BB962C8B-B14F-4D97-AF65-F5344CB8AC3E}">
        <p14:creationId xmlns:p14="http://schemas.microsoft.com/office/powerpoint/2010/main" val="2162396744"/>
      </p:ext>
    </p:extLst>
  </p:cSld>
  <p:clrMapOvr>
    <a:masterClrMapping/>
  </p:clrMapOvr>
  <p:extLst>
    <p:ext uri="{DCECCB84-F9BA-43D5-87BE-67443E8EF086}">
      <p15:sldGuideLst xmlns:p15="http://schemas.microsoft.com/office/powerpoint/2012/main">
        <p15:guide id="1" pos="192">
          <p15:clr>
            <a:srgbClr val="CCCCCC"/>
          </p15:clr>
        </p15:guide>
        <p15:guide id="2" pos="7488">
          <p15:clr>
            <a:srgbClr val="CCCCCC"/>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ontent">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A42EC3-BB61-5A42-8BF1-1D2972BB044D}"/>
              </a:ext>
            </a:extLst>
          </p:cNvPr>
          <p:cNvSpPr>
            <a:spLocks noGrp="1"/>
          </p:cNvSpPr>
          <p:nvPr>
            <p:ph type="title"/>
          </p:nvPr>
        </p:nvSpPr>
        <p:spPr/>
        <p:txBody>
          <a:bodyPr/>
          <a:lstStyle/>
          <a:p>
            <a:r>
              <a:rPr lang="en-US"/>
              <a:t>Click to edit Master title style</a:t>
            </a:r>
          </a:p>
        </p:txBody>
      </p:sp>
      <p:sp>
        <p:nvSpPr>
          <p:cNvPr id="5" name="Slide Number Placeholder 11">
            <a:extLst>
              <a:ext uri="{FF2B5EF4-FFF2-40B4-BE49-F238E27FC236}">
                <a16:creationId xmlns:a16="http://schemas.microsoft.com/office/drawing/2014/main" id="{0D25D28A-A5EB-C240-A997-149159566C62}"/>
              </a:ext>
            </a:extLst>
          </p:cNvPr>
          <p:cNvSpPr>
            <a:spLocks noGrp="1"/>
          </p:cNvSpPr>
          <p:nvPr>
            <p:ph type="sldNum" sz="quarter" idx="10"/>
          </p:nvPr>
        </p:nvSpPr>
        <p:spPr>
          <a:xfrm>
            <a:off x="2" y="6553202"/>
            <a:ext cx="304799" cy="304799"/>
          </a:xfrm>
        </p:spPr>
        <p:txBody>
          <a:bodyPr lIns="0" tIns="0" rIns="0" bIns="0"/>
          <a:lstStyle/>
          <a:p>
            <a:fld id="{89006F1E-66CD-4A4B-9370-B4A3080F0E6C}" type="slidenum">
              <a:rPr lang="en-US" smtClean="0"/>
              <a:pPr/>
              <a:t>‹#›</a:t>
            </a:fld>
            <a:endParaRPr lang="en-US"/>
          </a:p>
        </p:txBody>
      </p:sp>
      <p:sp>
        <p:nvSpPr>
          <p:cNvPr id="6" name="Footer Placeholder 1">
            <a:extLst>
              <a:ext uri="{FF2B5EF4-FFF2-40B4-BE49-F238E27FC236}">
                <a16:creationId xmlns:a16="http://schemas.microsoft.com/office/drawing/2014/main" id="{EF39BEC2-E111-4A4B-836F-3D8401524587}"/>
              </a:ext>
            </a:extLst>
          </p:cNvPr>
          <p:cNvSpPr>
            <a:spLocks noGrp="1"/>
          </p:cNvSpPr>
          <p:nvPr>
            <p:ph type="ftr" sz="quarter" idx="12"/>
          </p:nvPr>
        </p:nvSpPr>
        <p:spPr>
          <a:xfrm>
            <a:off x="304802" y="6553201"/>
            <a:ext cx="3657601" cy="304800"/>
          </a:xfrm>
          <a:prstGeom prst="rect">
            <a:avLst/>
          </a:prstGeom>
        </p:spPr>
        <p:txBody>
          <a:bodyPr/>
          <a:lstStyle>
            <a:lvl1pPr>
              <a:defRPr>
                <a:solidFill>
                  <a:schemeClr val="accent5"/>
                </a:solidFill>
              </a:defRPr>
            </a:lvl1pPr>
          </a:lstStyle>
          <a:p>
            <a:r>
              <a:rPr lang="en-US">
                <a:ea typeface="MS PGothic" panose="020B0600070205080204" pitchFamily="34" charset="-128"/>
              </a:rPr>
              <a:t>Proprietary &amp; Confidential |  authoremail@thermofisher.com | 5-August-2020</a:t>
            </a:r>
          </a:p>
        </p:txBody>
      </p:sp>
      <p:sp>
        <p:nvSpPr>
          <p:cNvPr id="8" name="Text Placeholder 7">
            <a:extLst>
              <a:ext uri="{FF2B5EF4-FFF2-40B4-BE49-F238E27FC236}">
                <a16:creationId xmlns:a16="http://schemas.microsoft.com/office/drawing/2014/main" id="{2A4CF7CB-ACF9-2E40-8360-1F09EA0AC0AC}"/>
              </a:ext>
            </a:extLst>
          </p:cNvPr>
          <p:cNvSpPr>
            <a:spLocks noGrp="1"/>
          </p:cNvSpPr>
          <p:nvPr>
            <p:ph type="body" sz="quarter" idx="11" hasCustomPrompt="1"/>
          </p:nvPr>
        </p:nvSpPr>
        <p:spPr>
          <a:xfrm>
            <a:off x="300227" y="893065"/>
            <a:ext cx="11591546" cy="381001"/>
          </a:xfrm>
          <a:prstGeom prst="rect">
            <a:avLst/>
          </a:prstGeom>
        </p:spPr>
        <p:txBody>
          <a:bodyPr lIns="0" tIns="0" rIns="0" bIns="0" anchor="t">
            <a:noAutofit/>
          </a:bodyPr>
          <a:lstStyle>
            <a:lvl1pPr marL="0" indent="0">
              <a:buNone/>
              <a:defRPr sz="1500">
                <a:solidFill>
                  <a:schemeClr val="tx1"/>
                </a:solidFill>
              </a:defRPr>
            </a:lvl1pPr>
          </a:lstStyle>
          <a:p>
            <a:pPr lvl="0"/>
            <a:r>
              <a:rPr lang="en-US"/>
              <a:t>Click to add </a:t>
            </a:r>
            <a:r>
              <a:rPr lang="en-US" err="1"/>
              <a:t>subheader</a:t>
            </a:r>
            <a:endParaRPr lang="en-US"/>
          </a:p>
        </p:txBody>
      </p:sp>
      <p:sp>
        <p:nvSpPr>
          <p:cNvPr id="10" name="Text Placeholder 7">
            <a:extLst>
              <a:ext uri="{FF2B5EF4-FFF2-40B4-BE49-F238E27FC236}">
                <a16:creationId xmlns:a16="http://schemas.microsoft.com/office/drawing/2014/main" id="{EE5F834C-5A08-DA4E-82E7-AC5A7A2CC796}"/>
              </a:ext>
            </a:extLst>
          </p:cNvPr>
          <p:cNvSpPr>
            <a:spLocks noGrp="1"/>
          </p:cNvSpPr>
          <p:nvPr>
            <p:ph type="body" sz="quarter" idx="13" hasCustomPrompt="1"/>
          </p:nvPr>
        </p:nvSpPr>
        <p:spPr>
          <a:xfrm>
            <a:off x="304798" y="6055756"/>
            <a:ext cx="11582401" cy="489204"/>
          </a:xfrm>
          <a:prstGeom prst="rect">
            <a:avLst/>
          </a:prstGeom>
        </p:spPr>
        <p:txBody>
          <a:bodyPr anchor="b">
            <a:normAutofit/>
          </a:bodyPr>
          <a:lstStyle>
            <a:lvl1pPr marL="0" indent="0">
              <a:spcBef>
                <a:spcPts val="75"/>
              </a:spcBef>
              <a:buNone/>
              <a:defRPr sz="750">
                <a:solidFill>
                  <a:schemeClr val="accent5"/>
                </a:solidFill>
              </a:defRPr>
            </a:lvl1pPr>
          </a:lstStyle>
          <a:p>
            <a:pPr lvl="0"/>
            <a:r>
              <a:rPr lang="en-US"/>
              <a:t>Source notes</a:t>
            </a:r>
          </a:p>
        </p:txBody>
      </p:sp>
      <p:sp>
        <p:nvSpPr>
          <p:cNvPr id="7" name="Content Placeholder 6">
            <a:extLst>
              <a:ext uri="{FF2B5EF4-FFF2-40B4-BE49-F238E27FC236}">
                <a16:creationId xmlns:a16="http://schemas.microsoft.com/office/drawing/2014/main" id="{AFD7366D-1388-3D45-9C8A-11D05A5A4315}"/>
              </a:ext>
            </a:extLst>
          </p:cNvPr>
          <p:cNvSpPr>
            <a:spLocks noGrp="1"/>
          </p:cNvSpPr>
          <p:nvPr>
            <p:ph sz="quarter" idx="14"/>
          </p:nvPr>
        </p:nvSpPr>
        <p:spPr>
          <a:xfrm>
            <a:off x="300038" y="1447802"/>
            <a:ext cx="11587162" cy="46085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82205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 Column">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A42EC3-BB61-5A42-8BF1-1D2972BB044D}"/>
              </a:ext>
            </a:extLst>
          </p:cNvPr>
          <p:cNvSpPr>
            <a:spLocks noGrp="1"/>
          </p:cNvSpPr>
          <p:nvPr>
            <p:ph type="title"/>
          </p:nvPr>
        </p:nvSpPr>
        <p:spPr/>
        <p:txBody>
          <a:bodyPr/>
          <a:lstStyle/>
          <a:p>
            <a:r>
              <a:rPr lang="en-US"/>
              <a:t>Click to edit Master title style</a:t>
            </a:r>
          </a:p>
        </p:txBody>
      </p:sp>
      <p:sp>
        <p:nvSpPr>
          <p:cNvPr id="7" name="Slide Number Placeholder 11">
            <a:extLst>
              <a:ext uri="{FF2B5EF4-FFF2-40B4-BE49-F238E27FC236}">
                <a16:creationId xmlns:a16="http://schemas.microsoft.com/office/drawing/2014/main" id="{F81445D8-D3A2-A446-B35B-0A1E9B448962}"/>
              </a:ext>
            </a:extLst>
          </p:cNvPr>
          <p:cNvSpPr>
            <a:spLocks noGrp="1"/>
          </p:cNvSpPr>
          <p:nvPr>
            <p:ph type="sldNum" sz="quarter" idx="10"/>
          </p:nvPr>
        </p:nvSpPr>
        <p:spPr>
          <a:xfrm>
            <a:off x="2" y="6553202"/>
            <a:ext cx="304799" cy="304799"/>
          </a:xfrm>
        </p:spPr>
        <p:txBody>
          <a:bodyPr lIns="0" tIns="0" rIns="0" bIns="0"/>
          <a:lstStyle/>
          <a:p>
            <a:fld id="{89006F1E-66CD-4A4B-9370-B4A3080F0E6C}" type="slidenum">
              <a:rPr lang="en-US" smtClean="0"/>
              <a:pPr/>
              <a:t>‹#›</a:t>
            </a:fld>
            <a:endParaRPr lang="en-US"/>
          </a:p>
        </p:txBody>
      </p:sp>
      <p:sp>
        <p:nvSpPr>
          <p:cNvPr id="8" name="Footer Placeholder 1">
            <a:extLst>
              <a:ext uri="{FF2B5EF4-FFF2-40B4-BE49-F238E27FC236}">
                <a16:creationId xmlns:a16="http://schemas.microsoft.com/office/drawing/2014/main" id="{31F7B133-5860-D54B-A498-14C05567C68D}"/>
              </a:ext>
            </a:extLst>
          </p:cNvPr>
          <p:cNvSpPr>
            <a:spLocks noGrp="1"/>
          </p:cNvSpPr>
          <p:nvPr>
            <p:ph type="ftr" sz="quarter" idx="14"/>
          </p:nvPr>
        </p:nvSpPr>
        <p:spPr>
          <a:xfrm>
            <a:off x="304802" y="6553201"/>
            <a:ext cx="3657601" cy="304800"/>
          </a:xfrm>
          <a:prstGeom prst="rect">
            <a:avLst/>
          </a:prstGeom>
        </p:spPr>
        <p:txBody>
          <a:bodyPr/>
          <a:lstStyle>
            <a:lvl1pPr>
              <a:defRPr>
                <a:solidFill>
                  <a:schemeClr val="accent5"/>
                </a:solidFill>
              </a:defRPr>
            </a:lvl1pPr>
          </a:lstStyle>
          <a:p>
            <a:r>
              <a:rPr lang="en-US">
                <a:ea typeface="MS PGothic" panose="020B0600070205080204" pitchFamily="34" charset="-128"/>
              </a:rPr>
              <a:t>Proprietary &amp; Confidential |  authoremail@thermofisher.com | 5-August-2020</a:t>
            </a:r>
          </a:p>
        </p:txBody>
      </p:sp>
      <p:sp>
        <p:nvSpPr>
          <p:cNvPr id="9" name="Text Placeholder 7">
            <a:extLst>
              <a:ext uri="{FF2B5EF4-FFF2-40B4-BE49-F238E27FC236}">
                <a16:creationId xmlns:a16="http://schemas.microsoft.com/office/drawing/2014/main" id="{7F606DC1-8556-AC4B-B621-1C8A6F92D688}"/>
              </a:ext>
            </a:extLst>
          </p:cNvPr>
          <p:cNvSpPr>
            <a:spLocks noGrp="1"/>
          </p:cNvSpPr>
          <p:nvPr>
            <p:ph type="body" sz="quarter" idx="15" hasCustomPrompt="1"/>
          </p:nvPr>
        </p:nvSpPr>
        <p:spPr>
          <a:xfrm>
            <a:off x="304798" y="6055756"/>
            <a:ext cx="11582400" cy="489204"/>
          </a:xfrm>
          <a:prstGeom prst="rect">
            <a:avLst/>
          </a:prstGeom>
        </p:spPr>
        <p:txBody>
          <a:bodyPr anchor="b">
            <a:normAutofit/>
          </a:bodyPr>
          <a:lstStyle>
            <a:lvl1pPr marL="0" indent="0">
              <a:spcBef>
                <a:spcPts val="75"/>
              </a:spcBef>
              <a:buNone/>
              <a:defRPr sz="750">
                <a:solidFill>
                  <a:schemeClr val="accent5"/>
                </a:solidFill>
              </a:defRPr>
            </a:lvl1pPr>
          </a:lstStyle>
          <a:p>
            <a:pPr lvl="0"/>
            <a:r>
              <a:rPr lang="en-US"/>
              <a:t>Source notes</a:t>
            </a:r>
          </a:p>
        </p:txBody>
      </p:sp>
      <p:sp>
        <p:nvSpPr>
          <p:cNvPr id="17" name="Text Placeholder 7">
            <a:extLst>
              <a:ext uri="{FF2B5EF4-FFF2-40B4-BE49-F238E27FC236}">
                <a16:creationId xmlns:a16="http://schemas.microsoft.com/office/drawing/2014/main" id="{C194A5C4-4D4E-424D-8DC1-C1FCDF1A8FC5}"/>
              </a:ext>
            </a:extLst>
          </p:cNvPr>
          <p:cNvSpPr>
            <a:spLocks noGrp="1"/>
          </p:cNvSpPr>
          <p:nvPr>
            <p:ph type="body" sz="quarter" idx="11" hasCustomPrompt="1"/>
          </p:nvPr>
        </p:nvSpPr>
        <p:spPr>
          <a:xfrm>
            <a:off x="300227" y="893065"/>
            <a:ext cx="11591546" cy="381001"/>
          </a:xfrm>
          <a:prstGeom prst="rect">
            <a:avLst/>
          </a:prstGeom>
        </p:spPr>
        <p:txBody>
          <a:bodyPr lIns="0" tIns="0" rIns="0" bIns="0" anchor="t">
            <a:noAutofit/>
          </a:bodyPr>
          <a:lstStyle>
            <a:lvl1pPr marL="0" indent="0">
              <a:buNone/>
              <a:defRPr sz="1500">
                <a:solidFill>
                  <a:schemeClr val="tx1"/>
                </a:solidFill>
              </a:defRPr>
            </a:lvl1pPr>
          </a:lstStyle>
          <a:p>
            <a:pPr lvl="0"/>
            <a:r>
              <a:rPr lang="en-US"/>
              <a:t>Click to add </a:t>
            </a:r>
            <a:r>
              <a:rPr lang="en-US" err="1"/>
              <a:t>subheader</a:t>
            </a:r>
            <a:endParaRPr lang="en-US"/>
          </a:p>
        </p:txBody>
      </p:sp>
      <p:sp>
        <p:nvSpPr>
          <p:cNvPr id="18" name="Content Placeholder 3">
            <a:extLst>
              <a:ext uri="{FF2B5EF4-FFF2-40B4-BE49-F238E27FC236}">
                <a16:creationId xmlns:a16="http://schemas.microsoft.com/office/drawing/2014/main" id="{22065214-DE69-2246-B1F9-8B166D25671B}"/>
              </a:ext>
            </a:extLst>
          </p:cNvPr>
          <p:cNvSpPr>
            <a:spLocks noGrp="1"/>
          </p:cNvSpPr>
          <p:nvPr>
            <p:ph sz="quarter" idx="18"/>
          </p:nvPr>
        </p:nvSpPr>
        <p:spPr>
          <a:xfrm>
            <a:off x="304800" y="1447801"/>
            <a:ext cx="3657600" cy="4607954"/>
          </a:xfrm>
          <a:prstGeom prst="rect">
            <a:avLst/>
          </a:prstGeo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a:extLst>
              <a:ext uri="{FF2B5EF4-FFF2-40B4-BE49-F238E27FC236}">
                <a16:creationId xmlns:a16="http://schemas.microsoft.com/office/drawing/2014/main" id="{DE333DB3-CD71-1F4D-8ECF-51D4B490DCCC}"/>
              </a:ext>
            </a:extLst>
          </p:cNvPr>
          <p:cNvSpPr>
            <a:spLocks noGrp="1"/>
          </p:cNvSpPr>
          <p:nvPr>
            <p:ph sz="quarter" idx="19"/>
          </p:nvPr>
        </p:nvSpPr>
        <p:spPr>
          <a:xfrm>
            <a:off x="4267201" y="1447801"/>
            <a:ext cx="3657600" cy="4607954"/>
          </a:xfrm>
          <a:prstGeom prst="rect">
            <a:avLst/>
          </a:prstGeo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3">
            <a:extLst>
              <a:ext uri="{FF2B5EF4-FFF2-40B4-BE49-F238E27FC236}">
                <a16:creationId xmlns:a16="http://schemas.microsoft.com/office/drawing/2014/main" id="{8514F710-85FB-F040-B3B5-8573DB7FE6FE}"/>
              </a:ext>
            </a:extLst>
          </p:cNvPr>
          <p:cNvSpPr>
            <a:spLocks noGrp="1"/>
          </p:cNvSpPr>
          <p:nvPr>
            <p:ph sz="quarter" idx="21"/>
          </p:nvPr>
        </p:nvSpPr>
        <p:spPr>
          <a:xfrm>
            <a:off x="8229594" y="1447801"/>
            <a:ext cx="3657602" cy="4607954"/>
          </a:xfrm>
          <a:prstGeom prst="rect">
            <a:avLst/>
          </a:prstGeo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3151124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 column">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A42EC3-BB61-5A42-8BF1-1D2972BB044D}"/>
              </a:ext>
            </a:extLst>
          </p:cNvPr>
          <p:cNvSpPr>
            <a:spLocks noGrp="1"/>
          </p:cNvSpPr>
          <p:nvPr>
            <p:ph type="title"/>
          </p:nvPr>
        </p:nvSpPr>
        <p:spPr/>
        <p:txBody>
          <a:bodyPr/>
          <a:lstStyle/>
          <a:p>
            <a:r>
              <a:rPr lang="en-US"/>
              <a:t>Click to edit Master title style</a:t>
            </a:r>
          </a:p>
        </p:txBody>
      </p:sp>
      <p:sp>
        <p:nvSpPr>
          <p:cNvPr id="6" name="Slide Number Placeholder 11">
            <a:extLst>
              <a:ext uri="{FF2B5EF4-FFF2-40B4-BE49-F238E27FC236}">
                <a16:creationId xmlns:a16="http://schemas.microsoft.com/office/drawing/2014/main" id="{CA35970F-C7C4-F346-8F9C-43C9A251063B}"/>
              </a:ext>
            </a:extLst>
          </p:cNvPr>
          <p:cNvSpPr>
            <a:spLocks noGrp="1"/>
          </p:cNvSpPr>
          <p:nvPr>
            <p:ph type="sldNum" sz="quarter" idx="10"/>
          </p:nvPr>
        </p:nvSpPr>
        <p:spPr>
          <a:xfrm>
            <a:off x="2" y="6553202"/>
            <a:ext cx="304799" cy="304799"/>
          </a:xfrm>
        </p:spPr>
        <p:txBody>
          <a:bodyPr lIns="0" tIns="0" rIns="0" bIns="0"/>
          <a:lstStyle/>
          <a:p>
            <a:fld id="{89006F1E-66CD-4A4B-9370-B4A3080F0E6C}" type="slidenum">
              <a:rPr lang="en-US" smtClean="0"/>
              <a:pPr/>
              <a:t>‹#›</a:t>
            </a:fld>
            <a:endParaRPr lang="en-US"/>
          </a:p>
        </p:txBody>
      </p:sp>
      <p:sp>
        <p:nvSpPr>
          <p:cNvPr id="7" name="Footer Placeholder 1">
            <a:extLst>
              <a:ext uri="{FF2B5EF4-FFF2-40B4-BE49-F238E27FC236}">
                <a16:creationId xmlns:a16="http://schemas.microsoft.com/office/drawing/2014/main" id="{CE9EC605-3413-1E4D-96BF-ECCB56711FD5}"/>
              </a:ext>
            </a:extLst>
          </p:cNvPr>
          <p:cNvSpPr>
            <a:spLocks noGrp="1"/>
          </p:cNvSpPr>
          <p:nvPr>
            <p:ph type="ftr" sz="quarter" idx="13"/>
          </p:nvPr>
        </p:nvSpPr>
        <p:spPr>
          <a:xfrm>
            <a:off x="304802" y="6553201"/>
            <a:ext cx="3657601" cy="304800"/>
          </a:xfrm>
          <a:prstGeom prst="rect">
            <a:avLst/>
          </a:prstGeom>
        </p:spPr>
        <p:txBody>
          <a:bodyPr/>
          <a:lstStyle>
            <a:lvl1pPr>
              <a:defRPr>
                <a:solidFill>
                  <a:schemeClr val="accent5"/>
                </a:solidFill>
              </a:defRPr>
            </a:lvl1pPr>
          </a:lstStyle>
          <a:p>
            <a:r>
              <a:rPr lang="en-US">
                <a:ea typeface="MS PGothic" panose="020B0600070205080204" pitchFamily="34" charset="-128"/>
              </a:rPr>
              <a:t>Proprietary &amp; Confidential |  authoremail@thermofisher.com | 5-August-2020</a:t>
            </a:r>
          </a:p>
        </p:txBody>
      </p:sp>
      <p:sp>
        <p:nvSpPr>
          <p:cNvPr id="8" name="Text Placeholder 7">
            <a:extLst>
              <a:ext uri="{FF2B5EF4-FFF2-40B4-BE49-F238E27FC236}">
                <a16:creationId xmlns:a16="http://schemas.microsoft.com/office/drawing/2014/main" id="{FE813D60-49DC-CC4E-8912-23F1B67BB019}"/>
              </a:ext>
            </a:extLst>
          </p:cNvPr>
          <p:cNvSpPr>
            <a:spLocks noGrp="1"/>
          </p:cNvSpPr>
          <p:nvPr>
            <p:ph type="body" sz="quarter" idx="14" hasCustomPrompt="1"/>
          </p:nvPr>
        </p:nvSpPr>
        <p:spPr>
          <a:xfrm>
            <a:off x="304798" y="6055756"/>
            <a:ext cx="11582400" cy="489204"/>
          </a:xfrm>
          <a:prstGeom prst="rect">
            <a:avLst/>
          </a:prstGeom>
        </p:spPr>
        <p:txBody>
          <a:bodyPr anchor="b">
            <a:normAutofit/>
          </a:bodyPr>
          <a:lstStyle>
            <a:lvl1pPr marL="0" indent="0">
              <a:spcBef>
                <a:spcPts val="75"/>
              </a:spcBef>
              <a:buNone/>
              <a:defRPr sz="750">
                <a:solidFill>
                  <a:schemeClr val="accent5"/>
                </a:solidFill>
              </a:defRPr>
            </a:lvl1pPr>
          </a:lstStyle>
          <a:p>
            <a:pPr lvl="0"/>
            <a:r>
              <a:rPr lang="en-US"/>
              <a:t>Source notes</a:t>
            </a:r>
          </a:p>
        </p:txBody>
      </p:sp>
      <p:sp>
        <p:nvSpPr>
          <p:cNvPr id="12" name="Content Placeholder 3">
            <a:extLst>
              <a:ext uri="{FF2B5EF4-FFF2-40B4-BE49-F238E27FC236}">
                <a16:creationId xmlns:a16="http://schemas.microsoft.com/office/drawing/2014/main" id="{D38D7C33-9A72-7247-9B25-82BE39794E09}"/>
              </a:ext>
            </a:extLst>
          </p:cNvPr>
          <p:cNvSpPr>
            <a:spLocks noGrp="1"/>
          </p:cNvSpPr>
          <p:nvPr>
            <p:ph sz="quarter" idx="16"/>
          </p:nvPr>
        </p:nvSpPr>
        <p:spPr>
          <a:xfrm>
            <a:off x="304801" y="1447801"/>
            <a:ext cx="5638796" cy="4607954"/>
          </a:xfrm>
          <a:prstGeom prst="rect">
            <a:avLst/>
          </a:prstGeom>
        </p:spPr>
        <p:txBody>
          <a:bodyPr vert="horz" lIns="0" tIns="0" rIns="0" bIns="0" rtlCol="0">
            <a:noAutofit/>
          </a:bodyPr>
          <a:lstStyle>
            <a:lvl1pPr marL="257166" indent="-257166">
              <a:buFont typeface="Arial" panose="020B0604020202020204" pitchFamily="34" charset="0"/>
              <a:buChar cha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a:extLst>
              <a:ext uri="{FF2B5EF4-FFF2-40B4-BE49-F238E27FC236}">
                <a16:creationId xmlns:a16="http://schemas.microsoft.com/office/drawing/2014/main" id="{4109D056-DC1B-0D4A-8CCD-D716570C884F}"/>
              </a:ext>
            </a:extLst>
          </p:cNvPr>
          <p:cNvSpPr>
            <a:spLocks noGrp="1"/>
          </p:cNvSpPr>
          <p:nvPr>
            <p:ph sz="quarter" idx="17"/>
          </p:nvPr>
        </p:nvSpPr>
        <p:spPr>
          <a:xfrm>
            <a:off x="6248400" y="1447801"/>
            <a:ext cx="5638798" cy="4607954"/>
          </a:xfrm>
          <a:prstGeom prst="rect">
            <a:avLst/>
          </a:prstGeo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7">
            <a:extLst>
              <a:ext uri="{FF2B5EF4-FFF2-40B4-BE49-F238E27FC236}">
                <a16:creationId xmlns:a16="http://schemas.microsoft.com/office/drawing/2014/main" id="{95884C43-267B-8949-85E3-D9171D3F9D13}"/>
              </a:ext>
            </a:extLst>
          </p:cNvPr>
          <p:cNvSpPr>
            <a:spLocks noGrp="1"/>
          </p:cNvSpPr>
          <p:nvPr>
            <p:ph type="body" sz="quarter" idx="11" hasCustomPrompt="1"/>
          </p:nvPr>
        </p:nvSpPr>
        <p:spPr>
          <a:xfrm>
            <a:off x="300227" y="893065"/>
            <a:ext cx="11591546" cy="381001"/>
          </a:xfrm>
          <a:prstGeom prst="rect">
            <a:avLst/>
          </a:prstGeom>
        </p:spPr>
        <p:txBody>
          <a:bodyPr lIns="0" tIns="0" rIns="0" bIns="0" anchor="t">
            <a:noAutofit/>
          </a:bodyPr>
          <a:lstStyle>
            <a:lvl1pPr marL="0" indent="0">
              <a:buNone/>
              <a:defRPr sz="1500">
                <a:solidFill>
                  <a:schemeClr val="tx1"/>
                </a:solidFill>
              </a:defRPr>
            </a:lvl1pPr>
          </a:lstStyle>
          <a:p>
            <a:pPr lvl="0"/>
            <a:r>
              <a:rPr lang="en-US"/>
              <a:t>Click to add </a:t>
            </a:r>
            <a:r>
              <a:rPr lang="en-US" err="1"/>
              <a:t>subheader</a:t>
            </a:r>
            <a:endParaRPr lang="en-US"/>
          </a:p>
        </p:txBody>
      </p:sp>
    </p:spTree>
    <p:extLst>
      <p:ext uri="{BB962C8B-B14F-4D97-AF65-F5344CB8AC3E}">
        <p14:creationId xmlns:p14="http://schemas.microsoft.com/office/powerpoint/2010/main" val="203587146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 Column">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A42EC3-BB61-5A42-8BF1-1D2972BB044D}"/>
              </a:ext>
            </a:extLst>
          </p:cNvPr>
          <p:cNvSpPr>
            <a:spLocks noGrp="1"/>
          </p:cNvSpPr>
          <p:nvPr>
            <p:ph type="title"/>
          </p:nvPr>
        </p:nvSpPr>
        <p:spPr/>
        <p:txBody>
          <a:bodyPr/>
          <a:lstStyle/>
          <a:p>
            <a:r>
              <a:rPr lang="en-US"/>
              <a:t>Click to edit Master title style</a:t>
            </a:r>
          </a:p>
        </p:txBody>
      </p:sp>
      <p:sp>
        <p:nvSpPr>
          <p:cNvPr id="7" name="Slide Number Placeholder 11">
            <a:extLst>
              <a:ext uri="{FF2B5EF4-FFF2-40B4-BE49-F238E27FC236}">
                <a16:creationId xmlns:a16="http://schemas.microsoft.com/office/drawing/2014/main" id="{F81445D8-D3A2-A446-B35B-0A1E9B448962}"/>
              </a:ext>
            </a:extLst>
          </p:cNvPr>
          <p:cNvSpPr>
            <a:spLocks noGrp="1"/>
          </p:cNvSpPr>
          <p:nvPr>
            <p:ph type="sldNum" sz="quarter" idx="10"/>
          </p:nvPr>
        </p:nvSpPr>
        <p:spPr>
          <a:xfrm>
            <a:off x="2" y="6553202"/>
            <a:ext cx="304799" cy="304799"/>
          </a:xfrm>
        </p:spPr>
        <p:txBody>
          <a:bodyPr lIns="0" tIns="0" rIns="0" bIns="0"/>
          <a:lstStyle/>
          <a:p>
            <a:fld id="{89006F1E-66CD-4A4B-9370-B4A3080F0E6C}" type="slidenum">
              <a:rPr lang="en-US" smtClean="0"/>
              <a:pPr/>
              <a:t>‹#›</a:t>
            </a:fld>
            <a:endParaRPr lang="en-US"/>
          </a:p>
        </p:txBody>
      </p:sp>
      <p:sp>
        <p:nvSpPr>
          <p:cNvPr id="8" name="Footer Placeholder 1">
            <a:extLst>
              <a:ext uri="{FF2B5EF4-FFF2-40B4-BE49-F238E27FC236}">
                <a16:creationId xmlns:a16="http://schemas.microsoft.com/office/drawing/2014/main" id="{31F7B133-5860-D54B-A498-14C05567C68D}"/>
              </a:ext>
            </a:extLst>
          </p:cNvPr>
          <p:cNvSpPr>
            <a:spLocks noGrp="1"/>
          </p:cNvSpPr>
          <p:nvPr>
            <p:ph type="ftr" sz="quarter" idx="14"/>
          </p:nvPr>
        </p:nvSpPr>
        <p:spPr>
          <a:xfrm>
            <a:off x="304802" y="6553201"/>
            <a:ext cx="3657601" cy="304800"/>
          </a:xfrm>
          <a:prstGeom prst="rect">
            <a:avLst/>
          </a:prstGeom>
        </p:spPr>
        <p:txBody>
          <a:bodyPr/>
          <a:lstStyle>
            <a:lvl1pPr>
              <a:defRPr>
                <a:solidFill>
                  <a:schemeClr val="accent5"/>
                </a:solidFill>
              </a:defRPr>
            </a:lvl1pPr>
          </a:lstStyle>
          <a:p>
            <a:r>
              <a:rPr lang="en-US">
                <a:ea typeface="MS PGothic" panose="020B0600070205080204" pitchFamily="34" charset="-128"/>
              </a:rPr>
              <a:t>Proprietary &amp; Confidential |  authoremail@thermofisher.com | 5-August-2020</a:t>
            </a:r>
          </a:p>
        </p:txBody>
      </p:sp>
      <p:sp>
        <p:nvSpPr>
          <p:cNvPr id="9" name="Text Placeholder 7">
            <a:extLst>
              <a:ext uri="{FF2B5EF4-FFF2-40B4-BE49-F238E27FC236}">
                <a16:creationId xmlns:a16="http://schemas.microsoft.com/office/drawing/2014/main" id="{7F606DC1-8556-AC4B-B621-1C8A6F92D688}"/>
              </a:ext>
            </a:extLst>
          </p:cNvPr>
          <p:cNvSpPr>
            <a:spLocks noGrp="1"/>
          </p:cNvSpPr>
          <p:nvPr>
            <p:ph type="body" sz="quarter" idx="15" hasCustomPrompt="1"/>
          </p:nvPr>
        </p:nvSpPr>
        <p:spPr>
          <a:xfrm>
            <a:off x="304798" y="6055756"/>
            <a:ext cx="11582400" cy="489204"/>
          </a:xfrm>
          <a:prstGeom prst="rect">
            <a:avLst/>
          </a:prstGeom>
        </p:spPr>
        <p:txBody>
          <a:bodyPr anchor="b">
            <a:normAutofit/>
          </a:bodyPr>
          <a:lstStyle>
            <a:lvl1pPr marL="0" indent="0">
              <a:spcBef>
                <a:spcPts val="75"/>
              </a:spcBef>
              <a:buNone/>
              <a:defRPr sz="750">
                <a:solidFill>
                  <a:schemeClr val="accent5"/>
                </a:solidFill>
              </a:defRPr>
            </a:lvl1pPr>
          </a:lstStyle>
          <a:p>
            <a:pPr lvl="0"/>
            <a:r>
              <a:rPr lang="en-US"/>
              <a:t>Source notes</a:t>
            </a:r>
          </a:p>
        </p:txBody>
      </p:sp>
      <p:sp>
        <p:nvSpPr>
          <p:cNvPr id="17" name="Text Placeholder 7">
            <a:extLst>
              <a:ext uri="{FF2B5EF4-FFF2-40B4-BE49-F238E27FC236}">
                <a16:creationId xmlns:a16="http://schemas.microsoft.com/office/drawing/2014/main" id="{C194A5C4-4D4E-424D-8DC1-C1FCDF1A8FC5}"/>
              </a:ext>
            </a:extLst>
          </p:cNvPr>
          <p:cNvSpPr>
            <a:spLocks noGrp="1"/>
          </p:cNvSpPr>
          <p:nvPr>
            <p:ph type="body" sz="quarter" idx="11" hasCustomPrompt="1"/>
          </p:nvPr>
        </p:nvSpPr>
        <p:spPr>
          <a:xfrm>
            <a:off x="300227" y="893065"/>
            <a:ext cx="11591546" cy="381001"/>
          </a:xfrm>
          <a:prstGeom prst="rect">
            <a:avLst/>
          </a:prstGeom>
        </p:spPr>
        <p:txBody>
          <a:bodyPr lIns="0" tIns="0" rIns="0" bIns="0" anchor="t">
            <a:noAutofit/>
          </a:bodyPr>
          <a:lstStyle>
            <a:lvl1pPr marL="0" indent="0">
              <a:buNone/>
              <a:defRPr sz="1500">
                <a:solidFill>
                  <a:schemeClr val="tx1"/>
                </a:solidFill>
              </a:defRPr>
            </a:lvl1pPr>
          </a:lstStyle>
          <a:p>
            <a:pPr lvl="0"/>
            <a:r>
              <a:rPr lang="en-US"/>
              <a:t>Click to add </a:t>
            </a:r>
            <a:r>
              <a:rPr lang="en-US" err="1"/>
              <a:t>subheader</a:t>
            </a:r>
            <a:endParaRPr lang="en-US"/>
          </a:p>
        </p:txBody>
      </p:sp>
      <p:sp>
        <p:nvSpPr>
          <p:cNvPr id="18" name="Content Placeholder 3">
            <a:extLst>
              <a:ext uri="{FF2B5EF4-FFF2-40B4-BE49-F238E27FC236}">
                <a16:creationId xmlns:a16="http://schemas.microsoft.com/office/drawing/2014/main" id="{22065214-DE69-2246-B1F9-8B166D25671B}"/>
              </a:ext>
            </a:extLst>
          </p:cNvPr>
          <p:cNvSpPr>
            <a:spLocks noGrp="1"/>
          </p:cNvSpPr>
          <p:nvPr>
            <p:ph sz="quarter" idx="18"/>
          </p:nvPr>
        </p:nvSpPr>
        <p:spPr>
          <a:xfrm>
            <a:off x="304800" y="1447801"/>
            <a:ext cx="3657600" cy="4607954"/>
          </a:xfrm>
          <a:prstGeom prst="rect">
            <a:avLst/>
          </a:prstGeo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a:extLst>
              <a:ext uri="{FF2B5EF4-FFF2-40B4-BE49-F238E27FC236}">
                <a16:creationId xmlns:a16="http://schemas.microsoft.com/office/drawing/2014/main" id="{DE333DB3-CD71-1F4D-8ECF-51D4B490DCCC}"/>
              </a:ext>
            </a:extLst>
          </p:cNvPr>
          <p:cNvSpPr>
            <a:spLocks noGrp="1"/>
          </p:cNvSpPr>
          <p:nvPr>
            <p:ph sz="quarter" idx="19"/>
          </p:nvPr>
        </p:nvSpPr>
        <p:spPr>
          <a:xfrm>
            <a:off x="4267201" y="1447801"/>
            <a:ext cx="3657600" cy="4607954"/>
          </a:xfrm>
          <a:prstGeom prst="rect">
            <a:avLst/>
          </a:prstGeo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3">
            <a:extLst>
              <a:ext uri="{FF2B5EF4-FFF2-40B4-BE49-F238E27FC236}">
                <a16:creationId xmlns:a16="http://schemas.microsoft.com/office/drawing/2014/main" id="{8514F710-85FB-F040-B3B5-8573DB7FE6FE}"/>
              </a:ext>
            </a:extLst>
          </p:cNvPr>
          <p:cNvSpPr>
            <a:spLocks noGrp="1"/>
          </p:cNvSpPr>
          <p:nvPr>
            <p:ph sz="quarter" idx="21"/>
          </p:nvPr>
        </p:nvSpPr>
        <p:spPr>
          <a:xfrm>
            <a:off x="8229594" y="1447801"/>
            <a:ext cx="3657602" cy="4607954"/>
          </a:xfrm>
          <a:prstGeom prst="rect">
            <a:avLst/>
          </a:prstGeo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535143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 column with images">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A42EC3-BB61-5A42-8BF1-1D2972BB044D}"/>
              </a:ext>
            </a:extLst>
          </p:cNvPr>
          <p:cNvSpPr>
            <a:spLocks noGrp="1"/>
          </p:cNvSpPr>
          <p:nvPr>
            <p:ph type="title"/>
          </p:nvPr>
        </p:nvSpPr>
        <p:spPr/>
        <p:txBody>
          <a:bodyPr/>
          <a:lstStyle/>
          <a:p>
            <a:r>
              <a:rPr lang="en-US"/>
              <a:t>Click to edit Master title style</a:t>
            </a:r>
          </a:p>
        </p:txBody>
      </p:sp>
      <p:sp>
        <p:nvSpPr>
          <p:cNvPr id="7" name="Slide Number Placeholder 11">
            <a:extLst>
              <a:ext uri="{FF2B5EF4-FFF2-40B4-BE49-F238E27FC236}">
                <a16:creationId xmlns:a16="http://schemas.microsoft.com/office/drawing/2014/main" id="{F81445D8-D3A2-A446-B35B-0A1E9B448962}"/>
              </a:ext>
            </a:extLst>
          </p:cNvPr>
          <p:cNvSpPr>
            <a:spLocks noGrp="1"/>
          </p:cNvSpPr>
          <p:nvPr>
            <p:ph type="sldNum" sz="quarter" idx="10"/>
          </p:nvPr>
        </p:nvSpPr>
        <p:spPr>
          <a:xfrm>
            <a:off x="2" y="6553202"/>
            <a:ext cx="304799" cy="304799"/>
          </a:xfrm>
        </p:spPr>
        <p:txBody>
          <a:bodyPr lIns="0" tIns="0" rIns="0" bIns="0"/>
          <a:lstStyle/>
          <a:p>
            <a:fld id="{89006F1E-66CD-4A4B-9370-B4A3080F0E6C}" type="slidenum">
              <a:rPr lang="en-US" smtClean="0"/>
              <a:pPr/>
              <a:t>‹#›</a:t>
            </a:fld>
            <a:endParaRPr lang="en-US"/>
          </a:p>
        </p:txBody>
      </p:sp>
      <p:sp>
        <p:nvSpPr>
          <p:cNvPr id="8" name="Footer Placeholder 1">
            <a:extLst>
              <a:ext uri="{FF2B5EF4-FFF2-40B4-BE49-F238E27FC236}">
                <a16:creationId xmlns:a16="http://schemas.microsoft.com/office/drawing/2014/main" id="{31F7B133-5860-D54B-A498-14C05567C68D}"/>
              </a:ext>
            </a:extLst>
          </p:cNvPr>
          <p:cNvSpPr>
            <a:spLocks noGrp="1"/>
          </p:cNvSpPr>
          <p:nvPr>
            <p:ph type="ftr" sz="quarter" idx="14"/>
          </p:nvPr>
        </p:nvSpPr>
        <p:spPr>
          <a:xfrm>
            <a:off x="304802" y="6553201"/>
            <a:ext cx="3657601" cy="304800"/>
          </a:xfrm>
          <a:prstGeom prst="rect">
            <a:avLst/>
          </a:prstGeom>
        </p:spPr>
        <p:txBody>
          <a:bodyPr/>
          <a:lstStyle>
            <a:lvl1pPr>
              <a:defRPr>
                <a:solidFill>
                  <a:schemeClr val="accent5"/>
                </a:solidFill>
              </a:defRPr>
            </a:lvl1pPr>
          </a:lstStyle>
          <a:p>
            <a:r>
              <a:rPr lang="en-US">
                <a:ea typeface="MS PGothic" panose="020B0600070205080204" pitchFamily="34" charset="-128"/>
              </a:rPr>
              <a:t>Proprietary &amp; Confidential |  authoremail@thermofisher.com | 5-August-2020</a:t>
            </a:r>
          </a:p>
        </p:txBody>
      </p:sp>
      <p:sp>
        <p:nvSpPr>
          <p:cNvPr id="9" name="Text Placeholder 7">
            <a:extLst>
              <a:ext uri="{FF2B5EF4-FFF2-40B4-BE49-F238E27FC236}">
                <a16:creationId xmlns:a16="http://schemas.microsoft.com/office/drawing/2014/main" id="{7F606DC1-8556-AC4B-B621-1C8A6F92D688}"/>
              </a:ext>
            </a:extLst>
          </p:cNvPr>
          <p:cNvSpPr>
            <a:spLocks noGrp="1"/>
          </p:cNvSpPr>
          <p:nvPr>
            <p:ph type="body" sz="quarter" idx="15" hasCustomPrompt="1"/>
          </p:nvPr>
        </p:nvSpPr>
        <p:spPr>
          <a:xfrm>
            <a:off x="304798" y="6055756"/>
            <a:ext cx="11591543" cy="489204"/>
          </a:xfrm>
          <a:prstGeom prst="rect">
            <a:avLst/>
          </a:prstGeom>
        </p:spPr>
        <p:txBody>
          <a:bodyPr anchor="b">
            <a:normAutofit/>
          </a:bodyPr>
          <a:lstStyle>
            <a:lvl1pPr marL="0" indent="0">
              <a:spcBef>
                <a:spcPts val="75"/>
              </a:spcBef>
              <a:buNone/>
              <a:defRPr sz="750">
                <a:solidFill>
                  <a:schemeClr val="accent5"/>
                </a:solidFill>
              </a:defRPr>
            </a:lvl1pPr>
          </a:lstStyle>
          <a:p>
            <a:pPr lvl="0"/>
            <a:r>
              <a:rPr lang="en-US"/>
              <a:t>Source notes</a:t>
            </a:r>
          </a:p>
        </p:txBody>
      </p:sp>
      <p:sp>
        <p:nvSpPr>
          <p:cNvPr id="17" name="Text Placeholder 7">
            <a:extLst>
              <a:ext uri="{FF2B5EF4-FFF2-40B4-BE49-F238E27FC236}">
                <a16:creationId xmlns:a16="http://schemas.microsoft.com/office/drawing/2014/main" id="{C194A5C4-4D4E-424D-8DC1-C1FCDF1A8FC5}"/>
              </a:ext>
            </a:extLst>
          </p:cNvPr>
          <p:cNvSpPr>
            <a:spLocks noGrp="1"/>
          </p:cNvSpPr>
          <p:nvPr>
            <p:ph type="body" sz="quarter" idx="11" hasCustomPrompt="1"/>
          </p:nvPr>
        </p:nvSpPr>
        <p:spPr>
          <a:xfrm>
            <a:off x="300227" y="893065"/>
            <a:ext cx="11591546" cy="381001"/>
          </a:xfrm>
          <a:prstGeom prst="rect">
            <a:avLst/>
          </a:prstGeom>
        </p:spPr>
        <p:txBody>
          <a:bodyPr lIns="0" tIns="0" rIns="0" bIns="0" anchor="t">
            <a:noAutofit/>
          </a:bodyPr>
          <a:lstStyle>
            <a:lvl1pPr marL="0" indent="0">
              <a:buNone/>
              <a:defRPr sz="1500">
                <a:solidFill>
                  <a:schemeClr val="tx1"/>
                </a:solidFill>
              </a:defRPr>
            </a:lvl1pPr>
          </a:lstStyle>
          <a:p>
            <a:pPr lvl="0"/>
            <a:r>
              <a:rPr lang="en-US"/>
              <a:t>Click to add </a:t>
            </a:r>
            <a:r>
              <a:rPr lang="en-US" err="1"/>
              <a:t>subheader</a:t>
            </a:r>
            <a:endParaRPr lang="en-US"/>
          </a:p>
        </p:txBody>
      </p:sp>
      <p:sp>
        <p:nvSpPr>
          <p:cNvPr id="18" name="Content Placeholder 3">
            <a:extLst>
              <a:ext uri="{FF2B5EF4-FFF2-40B4-BE49-F238E27FC236}">
                <a16:creationId xmlns:a16="http://schemas.microsoft.com/office/drawing/2014/main" id="{22065214-DE69-2246-B1F9-8B166D25671B}"/>
              </a:ext>
            </a:extLst>
          </p:cNvPr>
          <p:cNvSpPr>
            <a:spLocks noGrp="1"/>
          </p:cNvSpPr>
          <p:nvPr>
            <p:ph sz="quarter" idx="18"/>
          </p:nvPr>
        </p:nvSpPr>
        <p:spPr>
          <a:xfrm>
            <a:off x="304800" y="3512049"/>
            <a:ext cx="3657600" cy="2528783"/>
          </a:xfrm>
          <a:prstGeom prst="rect">
            <a:avLst/>
          </a:prstGeo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a:extLst>
              <a:ext uri="{FF2B5EF4-FFF2-40B4-BE49-F238E27FC236}">
                <a16:creationId xmlns:a16="http://schemas.microsoft.com/office/drawing/2014/main" id="{DE333DB3-CD71-1F4D-8ECF-51D4B490DCCC}"/>
              </a:ext>
            </a:extLst>
          </p:cNvPr>
          <p:cNvSpPr>
            <a:spLocks noGrp="1"/>
          </p:cNvSpPr>
          <p:nvPr>
            <p:ph sz="quarter" idx="19"/>
          </p:nvPr>
        </p:nvSpPr>
        <p:spPr>
          <a:xfrm>
            <a:off x="4267201" y="3512049"/>
            <a:ext cx="3657600" cy="2528783"/>
          </a:xfrm>
          <a:prstGeom prst="rect">
            <a:avLst/>
          </a:prstGeo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3">
            <a:extLst>
              <a:ext uri="{FF2B5EF4-FFF2-40B4-BE49-F238E27FC236}">
                <a16:creationId xmlns:a16="http://schemas.microsoft.com/office/drawing/2014/main" id="{8514F710-85FB-F040-B3B5-8573DB7FE6FE}"/>
              </a:ext>
            </a:extLst>
          </p:cNvPr>
          <p:cNvSpPr>
            <a:spLocks noGrp="1"/>
          </p:cNvSpPr>
          <p:nvPr>
            <p:ph sz="quarter" idx="21"/>
          </p:nvPr>
        </p:nvSpPr>
        <p:spPr>
          <a:xfrm>
            <a:off x="8229594" y="3512049"/>
            <a:ext cx="3657602" cy="2528783"/>
          </a:xfrm>
          <a:prstGeom prst="rect">
            <a:avLst/>
          </a:prstGeo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3">
            <a:extLst>
              <a:ext uri="{FF2B5EF4-FFF2-40B4-BE49-F238E27FC236}">
                <a16:creationId xmlns:a16="http://schemas.microsoft.com/office/drawing/2014/main" id="{21A45530-6C50-AD46-A233-590ADD356A0F}"/>
              </a:ext>
            </a:extLst>
          </p:cNvPr>
          <p:cNvSpPr>
            <a:spLocks noGrp="1"/>
          </p:cNvSpPr>
          <p:nvPr>
            <p:ph type="pic" sz="quarter" idx="22" hasCustomPrompt="1"/>
          </p:nvPr>
        </p:nvSpPr>
        <p:spPr>
          <a:xfrm>
            <a:off x="300226" y="1466405"/>
            <a:ext cx="3662174" cy="1947672"/>
          </a:xfrm>
          <a:prstGeom prst="rect">
            <a:avLst/>
          </a:prstGeom>
          <a:pattFill prst="pct5">
            <a:fgClr>
              <a:schemeClr val="bg1"/>
            </a:fgClr>
            <a:bgClr>
              <a:schemeClr val="bg2"/>
            </a:bgClr>
          </a:pattFill>
        </p:spPr>
        <p:txBody>
          <a:bodyPr anchor="ctr"/>
          <a:lstStyle>
            <a:lvl1pPr marL="0" indent="0" algn="ctr">
              <a:buNone/>
              <a:defRPr/>
            </a:lvl1pPr>
          </a:lstStyle>
          <a:p>
            <a:r>
              <a:rPr lang="en-US"/>
              <a:t>Add photo</a:t>
            </a:r>
          </a:p>
        </p:txBody>
      </p:sp>
      <p:sp>
        <p:nvSpPr>
          <p:cNvPr id="14" name="Picture Placeholder 3">
            <a:extLst>
              <a:ext uri="{FF2B5EF4-FFF2-40B4-BE49-F238E27FC236}">
                <a16:creationId xmlns:a16="http://schemas.microsoft.com/office/drawing/2014/main" id="{93FDE34D-91F9-6E47-BC02-8A5F8FCC0810}"/>
              </a:ext>
            </a:extLst>
          </p:cNvPr>
          <p:cNvSpPr>
            <a:spLocks noGrp="1"/>
          </p:cNvSpPr>
          <p:nvPr>
            <p:ph type="pic" sz="quarter" idx="23" hasCustomPrompt="1"/>
          </p:nvPr>
        </p:nvSpPr>
        <p:spPr>
          <a:xfrm>
            <a:off x="4262626" y="1459723"/>
            <a:ext cx="3662174" cy="1947672"/>
          </a:xfrm>
          <a:prstGeom prst="rect">
            <a:avLst/>
          </a:prstGeom>
          <a:pattFill prst="pct5">
            <a:fgClr>
              <a:schemeClr val="bg1"/>
            </a:fgClr>
            <a:bgClr>
              <a:schemeClr val="bg2"/>
            </a:bgClr>
          </a:pattFill>
        </p:spPr>
        <p:txBody>
          <a:bodyPr anchor="ctr"/>
          <a:lstStyle>
            <a:lvl1pPr marL="0" indent="0" algn="ctr">
              <a:buNone/>
              <a:defRPr/>
            </a:lvl1pPr>
          </a:lstStyle>
          <a:p>
            <a:r>
              <a:rPr lang="en-US"/>
              <a:t>Add photo</a:t>
            </a:r>
          </a:p>
        </p:txBody>
      </p:sp>
      <p:sp>
        <p:nvSpPr>
          <p:cNvPr id="15" name="Picture Placeholder 3">
            <a:extLst>
              <a:ext uri="{FF2B5EF4-FFF2-40B4-BE49-F238E27FC236}">
                <a16:creationId xmlns:a16="http://schemas.microsoft.com/office/drawing/2014/main" id="{918389EF-8958-AA48-B23D-A8082E0D8EAF}"/>
              </a:ext>
            </a:extLst>
          </p:cNvPr>
          <p:cNvSpPr>
            <a:spLocks noGrp="1"/>
          </p:cNvSpPr>
          <p:nvPr>
            <p:ph type="pic" sz="quarter" idx="24" hasCustomPrompt="1"/>
          </p:nvPr>
        </p:nvSpPr>
        <p:spPr>
          <a:xfrm>
            <a:off x="8227308" y="1466404"/>
            <a:ext cx="3662174" cy="1947672"/>
          </a:xfrm>
          <a:prstGeom prst="rect">
            <a:avLst/>
          </a:prstGeom>
          <a:pattFill prst="pct5">
            <a:fgClr>
              <a:schemeClr val="bg1"/>
            </a:fgClr>
            <a:bgClr>
              <a:schemeClr val="bg2"/>
            </a:bgClr>
          </a:pattFill>
        </p:spPr>
        <p:txBody>
          <a:bodyPr anchor="ctr"/>
          <a:lstStyle>
            <a:lvl1pPr marL="0" indent="0" algn="ctr">
              <a:buNone/>
              <a:defRPr/>
            </a:lvl1pPr>
          </a:lstStyle>
          <a:p>
            <a:r>
              <a:rPr lang="en-US"/>
              <a:t>Add photo</a:t>
            </a:r>
          </a:p>
        </p:txBody>
      </p:sp>
      <p:grpSp>
        <p:nvGrpSpPr>
          <p:cNvPr id="16" name="Group 15">
            <a:extLst>
              <a:ext uri="{FF2B5EF4-FFF2-40B4-BE49-F238E27FC236}">
                <a16:creationId xmlns:a16="http://schemas.microsoft.com/office/drawing/2014/main" id="{954AA7D1-4A71-E04D-B394-33DE0DAB98E5}"/>
              </a:ext>
            </a:extLst>
          </p:cNvPr>
          <p:cNvGrpSpPr/>
          <p:nvPr userDrawn="1"/>
        </p:nvGrpSpPr>
        <p:grpSpPr>
          <a:xfrm>
            <a:off x="4114800" y="1474648"/>
            <a:ext cx="3968496" cy="4581107"/>
            <a:chOff x="4105421" y="1377388"/>
            <a:chExt cx="3964795" cy="2233914"/>
          </a:xfrm>
        </p:grpSpPr>
        <p:cxnSp>
          <p:nvCxnSpPr>
            <p:cNvPr id="20" name="Straight Connector 19">
              <a:extLst>
                <a:ext uri="{FF2B5EF4-FFF2-40B4-BE49-F238E27FC236}">
                  <a16:creationId xmlns:a16="http://schemas.microsoft.com/office/drawing/2014/main" id="{D653AB18-4CCB-094A-BBCE-63E28B9E9480}"/>
                </a:ext>
              </a:extLst>
            </p:cNvPr>
            <p:cNvCxnSpPr>
              <a:cxnSpLocks/>
            </p:cNvCxnSpPr>
            <p:nvPr/>
          </p:nvCxnSpPr>
          <p:spPr>
            <a:xfrm>
              <a:off x="4105421" y="1377388"/>
              <a:ext cx="0" cy="2233914"/>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629B770-7DAA-DE43-8441-3B367C83F5D4}"/>
                </a:ext>
              </a:extLst>
            </p:cNvPr>
            <p:cNvCxnSpPr>
              <a:cxnSpLocks/>
            </p:cNvCxnSpPr>
            <p:nvPr/>
          </p:nvCxnSpPr>
          <p:spPr>
            <a:xfrm>
              <a:off x="8070216" y="1377388"/>
              <a:ext cx="0" cy="2233914"/>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1427847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 column with full width image">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558D3FC8-B671-4D4F-A345-B5E3B9CB827C}"/>
              </a:ext>
            </a:extLst>
          </p:cNvPr>
          <p:cNvSpPr>
            <a:spLocks noGrp="1"/>
          </p:cNvSpPr>
          <p:nvPr>
            <p:ph type="pic" sz="quarter" idx="13" hasCustomPrompt="1"/>
          </p:nvPr>
        </p:nvSpPr>
        <p:spPr>
          <a:xfrm>
            <a:off x="2" y="4083050"/>
            <a:ext cx="12191999" cy="2774950"/>
          </a:xfrm>
          <a:prstGeom prst="rect">
            <a:avLst/>
          </a:prstGeom>
          <a:pattFill prst="pct5">
            <a:fgClr>
              <a:schemeClr val="bg1"/>
            </a:fgClr>
            <a:bgClr>
              <a:schemeClr val="bg2"/>
            </a:bgClr>
          </a:pattFill>
        </p:spPr>
        <p:txBody>
          <a:bodyPr vert="horz" wrap="square" lIns="0" tIns="0" rIns="0" bIns="0" rtlCol="0" anchor="ctr">
            <a:noAutofit/>
          </a:bodyPr>
          <a:lstStyle>
            <a:lvl1pPr marL="0" marR="0" indent="0" algn="ctr" defTabSz="685778" rtl="0" eaLnBrk="1" fontAlgn="auto" latinLnBrk="0" hangingPunct="1">
              <a:lnSpc>
                <a:spcPct val="120000"/>
              </a:lnSpc>
              <a:spcBef>
                <a:spcPts val="450"/>
              </a:spcBef>
              <a:spcAft>
                <a:spcPts val="0"/>
              </a:spcAft>
              <a:buClrTx/>
              <a:buSzTx/>
              <a:buFontTx/>
              <a:buNone/>
              <a:tabLst/>
              <a:defRPr lang="en-US" sz="1050">
                <a:solidFill>
                  <a:schemeClr val="tx1"/>
                </a:solidFill>
              </a:defRPr>
            </a:lvl1pPr>
          </a:lstStyle>
          <a:p>
            <a:pPr marL="308600" marR="0" lvl="0" indent="-308600" algn="ctr" defTabSz="685778" rtl="0" eaLnBrk="1" fontAlgn="auto" latinLnBrk="0" hangingPunct="1">
              <a:lnSpc>
                <a:spcPct val="120000"/>
              </a:lnSpc>
              <a:spcBef>
                <a:spcPts val="450"/>
              </a:spcBef>
              <a:spcAft>
                <a:spcPts val="0"/>
              </a:spcAft>
              <a:buClrTx/>
              <a:buSzTx/>
              <a:buFontTx/>
              <a:buNone/>
              <a:tabLst/>
              <a:defRPr/>
            </a:pPr>
            <a:r>
              <a:rPr lang="en-US"/>
              <a:t>Add photo</a:t>
            </a:r>
          </a:p>
        </p:txBody>
      </p:sp>
      <p:sp>
        <p:nvSpPr>
          <p:cNvPr id="11" name="Title 10">
            <a:extLst>
              <a:ext uri="{FF2B5EF4-FFF2-40B4-BE49-F238E27FC236}">
                <a16:creationId xmlns:a16="http://schemas.microsoft.com/office/drawing/2014/main" id="{06EA3E0F-6952-8B44-89C5-3A7230D81F97}"/>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6" name="Slide Number Placeholder 2">
            <a:extLst>
              <a:ext uri="{FF2B5EF4-FFF2-40B4-BE49-F238E27FC236}">
                <a16:creationId xmlns:a16="http://schemas.microsoft.com/office/drawing/2014/main" id="{5DFF6035-90FF-3D47-AC34-F7AD5C37C983}"/>
              </a:ext>
            </a:extLst>
          </p:cNvPr>
          <p:cNvSpPr>
            <a:spLocks noGrp="1"/>
          </p:cNvSpPr>
          <p:nvPr>
            <p:ph type="sldNum" sz="quarter" idx="10"/>
          </p:nvPr>
        </p:nvSpPr>
        <p:spPr>
          <a:xfrm>
            <a:off x="2" y="6553202"/>
            <a:ext cx="304799" cy="304799"/>
          </a:xfrm>
        </p:spPr>
        <p:txBody>
          <a:bodyPr/>
          <a:lstStyle>
            <a:lvl1pPr>
              <a:defRPr>
                <a:solidFill>
                  <a:schemeClr val="bg1"/>
                </a:solidFill>
              </a:defRPr>
            </a:lvl1pPr>
          </a:lstStyle>
          <a:p>
            <a:fld id="{89006F1E-66CD-4A4B-9370-B4A3080F0E6C}" type="slidenum">
              <a:rPr lang="en-US" smtClean="0"/>
              <a:pPr/>
              <a:t>‹#›</a:t>
            </a:fld>
            <a:endParaRPr lang="en-US"/>
          </a:p>
        </p:txBody>
      </p:sp>
      <p:sp>
        <p:nvSpPr>
          <p:cNvPr id="7" name="Footer Placeholder 1">
            <a:extLst>
              <a:ext uri="{FF2B5EF4-FFF2-40B4-BE49-F238E27FC236}">
                <a16:creationId xmlns:a16="http://schemas.microsoft.com/office/drawing/2014/main" id="{9089E539-E9D2-AE4B-B72F-91FBD9A90964}"/>
              </a:ext>
            </a:extLst>
          </p:cNvPr>
          <p:cNvSpPr>
            <a:spLocks noGrp="1"/>
          </p:cNvSpPr>
          <p:nvPr>
            <p:ph type="ftr" sz="quarter" idx="14"/>
          </p:nvPr>
        </p:nvSpPr>
        <p:spPr>
          <a:xfrm>
            <a:off x="304802" y="6553201"/>
            <a:ext cx="3657601" cy="304800"/>
          </a:xfrm>
          <a:prstGeom prst="rect">
            <a:avLst/>
          </a:prstGeom>
        </p:spPr>
        <p:txBody>
          <a:bodyPr/>
          <a:lstStyle>
            <a:lvl1pPr>
              <a:defRPr>
                <a:solidFill>
                  <a:schemeClr val="bg1"/>
                </a:solidFill>
              </a:defRPr>
            </a:lvl1pPr>
          </a:lstStyle>
          <a:p>
            <a:r>
              <a:rPr lang="en-US">
                <a:ea typeface="MS PGothic" panose="020B0600070205080204" pitchFamily="34" charset="-128"/>
              </a:rPr>
              <a:t>Proprietary &amp; Confidential |  authoremail@thermofisher.com | 5-August-2020</a:t>
            </a:r>
          </a:p>
        </p:txBody>
      </p:sp>
      <p:sp>
        <p:nvSpPr>
          <p:cNvPr id="8" name="Text Placeholder 7">
            <a:extLst>
              <a:ext uri="{FF2B5EF4-FFF2-40B4-BE49-F238E27FC236}">
                <a16:creationId xmlns:a16="http://schemas.microsoft.com/office/drawing/2014/main" id="{E5AA936C-79E4-0048-8C63-B027C15A3EF6}"/>
              </a:ext>
            </a:extLst>
          </p:cNvPr>
          <p:cNvSpPr>
            <a:spLocks noGrp="1"/>
          </p:cNvSpPr>
          <p:nvPr>
            <p:ph type="body" sz="quarter" idx="11" hasCustomPrompt="1"/>
          </p:nvPr>
        </p:nvSpPr>
        <p:spPr>
          <a:xfrm>
            <a:off x="300227" y="893065"/>
            <a:ext cx="11591546" cy="381001"/>
          </a:xfrm>
          <a:prstGeom prst="rect">
            <a:avLst/>
          </a:prstGeom>
        </p:spPr>
        <p:txBody>
          <a:bodyPr lIns="0" tIns="0" rIns="0" bIns="0" anchor="t">
            <a:noAutofit/>
          </a:bodyPr>
          <a:lstStyle>
            <a:lvl1pPr marL="0" indent="0">
              <a:buNone/>
              <a:defRPr sz="1500">
                <a:solidFill>
                  <a:schemeClr val="tx1"/>
                </a:solidFill>
              </a:defRPr>
            </a:lvl1pPr>
          </a:lstStyle>
          <a:p>
            <a:pPr lvl="0"/>
            <a:r>
              <a:rPr lang="en-US"/>
              <a:t>Click to add </a:t>
            </a:r>
            <a:r>
              <a:rPr lang="en-US" err="1"/>
              <a:t>subheader</a:t>
            </a:r>
            <a:endParaRPr lang="en-US"/>
          </a:p>
        </p:txBody>
      </p:sp>
      <p:sp>
        <p:nvSpPr>
          <p:cNvPr id="9" name="Content Placeholder 3">
            <a:extLst>
              <a:ext uri="{FF2B5EF4-FFF2-40B4-BE49-F238E27FC236}">
                <a16:creationId xmlns:a16="http://schemas.microsoft.com/office/drawing/2014/main" id="{EFA71095-3F77-7F45-9E43-E80587323ACE}"/>
              </a:ext>
            </a:extLst>
          </p:cNvPr>
          <p:cNvSpPr>
            <a:spLocks noGrp="1"/>
          </p:cNvSpPr>
          <p:nvPr>
            <p:ph sz="quarter" idx="18"/>
          </p:nvPr>
        </p:nvSpPr>
        <p:spPr>
          <a:xfrm>
            <a:off x="304800" y="1447800"/>
            <a:ext cx="3657600" cy="2334768"/>
          </a:xfrm>
          <a:prstGeom prst="rect">
            <a:avLst/>
          </a:prstGeo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3">
            <a:extLst>
              <a:ext uri="{FF2B5EF4-FFF2-40B4-BE49-F238E27FC236}">
                <a16:creationId xmlns:a16="http://schemas.microsoft.com/office/drawing/2014/main" id="{B8762543-398C-384C-8B6E-8572E8FDC8D3}"/>
              </a:ext>
            </a:extLst>
          </p:cNvPr>
          <p:cNvSpPr>
            <a:spLocks noGrp="1"/>
          </p:cNvSpPr>
          <p:nvPr>
            <p:ph sz="quarter" idx="19"/>
          </p:nvPr>
        </p:nvSpPr>
        <p:spPr>
          <a:xfrm>
            <a:off x="4267201" y="1447800"/>
            <a:ext cx="3657600" cy="2334768"/>
          </a:xfrm>
          <a:prstGeom prst="rect">
            <a:avLst/>
          </a:prstGeo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a:extLst>
              <a:ext uri="{FF2B5EF4-FFF2-40B4-BE49-F238E27FC236}">
                <a16:creationId xmlns:a16="http://schemas.microsoft.com/office/drawing/2014/main" id="{C8CD3A37-ECA5-0F43-995E-663D6AC132E5}"/>
              </a:ext>
            </a:extLst>
          </p:cNvPr>
          <p:cNvSpPr>
            <a:spLocks noGrp="1"/>
          </p:cNvSpPr>
          <p:nvPr>
            <p:ph sz="quarter" idx="21"/>
          </p:nvPr>
        </p:nvSpPr>
        <p:spPr>
          <a:xfrm>
            <a:off x="8229594" y="1447800"/>
            <a:ext cx="3657602" cy="2334768"/>
          </a:xfrm>
          <a:prstGeom prst="rect">
            <a:avLst/>
          </a:prstGeo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8979966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divider with photo background">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FE7B338-1383-7843-9E8D-F295A0DFF59D}"/>
              </a:ext>
            </a:extLst>
          </p:cNvPr>
          <p:cNvSpPr>
            <a:spLocks noGrp="1"/>
          </p:cNvSpPr>
          <p:nvPr>
            <p:ph type="pic" sz="quarter" idx="13" hasCustomPrompt="1"/>
          </p:nvPr>
        </p:nvSpPr>
        <p:spPr>
          <a:xfrm>
            <a:off x="2" y="0"/>
            <a:ext cx="12191999" cy="6858000"/>
          </a:xfrm>
          <a:custGeom>
            <a:avLst/>
            <a:gdLst>
              <a:gd name="connsiteX0" fmla="*/ 0 w 12191999"/>
              <a:gd name="connsiteY0" fmla="*/ 0 h 6858000"/>
              <a:gd name="connsiteX1" fmla="*/ 10321761 w 12191999"/>
              <a:gd name="connsiteY1" fmla="*/ 0 h 6858000"/>
              <a:gd name="connsiteX2" fmla="*/ 10321761 w 12191999"/>
              <a:gd name="connsiteY2" fmla="*/ 673804 h 6858000"/>
              <a:gd name="connsiteX3" fmla="*/ 11887200 w 12191999"/>
              <a:gd name="connsiteY3" fmla="*/ 673804 h 6858000"/>
              <a:gd name="connsiteX4" fmla="*/ 11887200 w 12191999"/>
              <a:gd name="connsiteY4" fmla="*/ 0 h 6858000"/>
              <a:gd name="connsiteX5" fmla="*/ 12191999 w 12191999"/>
              <a:gd name="connsiteY5" fmla="*/ 0 h 6858000"/>
              <a:gd name="connsiteX6" fmla="*/ 12191999 w 12191999"/>
              <a:gd name="connsiteY6" fmla="*/ 6858000 h 6858000"/>
              <a:gd name="connsiteX7" fmla="*/ 0 w 12191999"/>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1999" h="6858000">
                <a:moveTo>
                  <a:pt x="0" y="0"/>
                </a:moveTo>
                <a:lnTo>
                  <a:pt x="10321761" y="0"/>
                </a:lnTo>
                <a:lnTo>
                  <a:pt x="10321761" y="673804"/>
                </a:lnTo>
                <a:lnTo>
                  <a:pt x="11887200" y="673804"/>
                </a:lnTo>
                <a:lnTo>
                  <a:pt x="11887200" y="0"/>
                </a:lnTo>
                <a:lnTo>
                  <a:pt x="12191999" y="0"/>
                </a:lnTo>
                <a:lnTo>
                  <a:pt x="12191999" y="6858000"/>
                </a:lnTo>
                <a:lnTo>
                  <a:pt x="0" y="6858000"/>
                </a:lnTo>
                <a:close/>
              </a:path>
            </a:pathLst>
          </a:custGeom>
          <a:pattFill prst="pct5">
            <a:fgClr>
              <a:schemeClr val="bg1"/>
            </a:fgClr>
            <a:bgClr>
              <a:schemeClr val="bg2"/>
            </a:bgClr>
          </a:pattFill>
        </p:spPr>
        <p:txBody>
          <a:bodyPr vert="horz" wrap="square" lIns="0" tIns="0" rIns="0" bIns="0" rtlCol="0" anchor="ctr">
            <a:noAutofit/>
          </a:bodyPr>
          <a:lstStyle>
            <a:lvl1pPr marL="0" indent="0" algn="ctr">
              <a:buFontTx/>
              <a:buNone/>
              <a:defRPr lang="en-US" sz="1050">
                <a:solidFill>
                  <a:schemeClr val="tx1"/>
                </a:solidFill>
              </a:defRPr>
            </a:lvl1pPr>
          </a:lstStyle>
          <a:p>
            <a:pPr lvl="0" algn="ctr">
              <a:buNone/>
            </a:pPr>
            <a:r>
              <a:rPr lang="en-US"/>
              <a:t>Add photo</a:t>
            </a:r>
          </a:p>
        </p:txBody>
      </p:sp>
      <p:sp>
        <p:nvSpPr>
          <p:cNvPr id="5" name="Slide Number Placeholder 2">
            <a:extLst>
              <a:ext uri="{FF2B5EF4-FFF2-40B4-BE49-F238E27FC236}">
                <a16:creationId xmlns:a16="http://schemas.microsoft.com/office/drawing/2014/main" id="{A634E9F6-D24E-5141-81EF-69349B9658EA}"/>
              </a:ext>
            </a:extLst>
          </p:cNvPr>
          <p:cNvSpPr>
            <a:spLocks noGrp="1"/>
          </p:cNvSpPr>
          <p:nvPr>
            <p:ph type="sldNum" sz="quarter" idx="10"/>
          </p:nvPr>
        </p:nvSpPr>
        <p:spPr>
          <a:xfrm>
            <a:off x="2" y="6553202"/>
            <a:ext cx="304799" cy="304799"/>
          </a:xfrm>
        </p:spPr>
        <p:txBody>
          <a:bodyPr/>
          <a:lstStyle>
            <a:lvl1pPr>
              <a:defRPr>
                <a:solidFill>
                  <a:schemeClr val="bg1"/>
                </a:solidFill>
              </a:defRPr>
            </a:lvl1pPr>
          </a:lstStyle>
          <a:p>
            <a:fld id="{89006F1E-66CD-4A4B-9370-B4A3080F0E6C}" type="slidenum">
              <a:rPr lang="en-US" smtClean="0"/>
              <a:pPr/>
              <a:t>‹#›</a:t>
            </a:fld>
            <a:endParaRPr lang="en-US"/>
          </a:p>
        </p:txBody>
      </p:sp>
      <p:sp>
        <p:nvSpPr>
          <p:cNvPr id="6" name="Footer Placeholder 1">
            <a:extLst>
              <a:ext uri="{FF2B5EF4-FFF2-40B4-BE49-F238E27FC236}">
                <a16:creationId xmlns:a16="http://schemas.microsoft.com/office/drawing/2014/main" id="{B41A9DDB-F5FB-5046-B179-F07475B09908}"/>
              </a:ext>
            </a:extLst>
          </p:cNvPr>
          <p:cNvSpPr>
            <a:spLocks noGrp="1"/>
          </p:cNvSpPr>
          <p:nvPr>
            <p:ph type="ftr" sz="quarter" idx="14"/>
          </p:nvPr>
        </p:nvSpPr>
        <p:spPr>
          <a:xfrm>
            <a:off x="304802" y="6553201"/>
            <a:ext cx="3657601" cy="304800"/>
          </a:xfrm>
          <a:prstGeom prst="rect">
            <a:avLst/>
          </a:prstGeom>
        </p:spPr>
        <p:txBody>
          <a:bodyPr/>
          <a:lstStyle>
            <a:lvl1pPr>
              <a:defRPr>
                <a:solidFill>
                  <a:schemeClr val="bg1"/>
                </a:solidFill>
              </a:defRPr>
            </a:lvl1pPr>
          </a:lstStyle>
          <a:p>
            <a:r>
              <a:rPr lang="en-US">
                <a:ea typeface="MS PGothic" panose="020B0600070205080204" pitchFamily="34" charset="-128"/>
              </a:rPr>
              <a:t>Proprietary &amp; Confidential |  authoremail@thermofisher.com | 5-August-2020</a:t>
            </a:r>
          </a:p>
        </p:txBody>
      </p:sp>
      <p:sp>
        <p:nvSpPr>
          <p:cNvPr id="8" name="Content Placeholder 2">
            <a:extLst>
              <a:ext uri="{FF2B5EF4-FFF2-40B4-BE49-F238E27FC236}">
                <a16:creationId xmlns:a16="http://schemas.microsoft.com/office/drawing/2014/main" id="{5DC4D9F1-5E1A-DD4A-946F-32414E026F44}"/>
              </a:ext>
            </a:extLst>
          </p:cNvPr>
          <p:cNvSpPr>
            <a:spLocks noGrp="1"/>
          </p:cNvSpPr>
          <p:nvPr>
            <p:ph sz="quarter" idx="15" hasCustomPrompt="1"/>
          </p:nvPr>
        </p:nvSpPr>
        <p:spPr>
          <a:xfrm>
            <a:off x="0" y="4226941"/>
            <a:ext cx="6096000" cy="586314"/>
          </a:xfrm>
          <a:solidFill>
            <a:schemeClr val="bg1"/>
          </a:solidFill>
        </p:spPr>
        <p:txBody>
          <a:bodyPr wrap="square" lIns="292608" tIns="201168" rIns="292608" bIns="91440" anchor="b">
            <a:spAutoFit/>
          </a:bodyPr>
          <a:lstStyle>
            <a:lvl1pPr marL="0" indent="0">
              <a:lnSpc>
                <a:spcPct val="90000"/>
              </a:lnSpc>
              <a:buNone/>
              <a:defRPr sz="2100" b="1">
                <a:solidFill>
                  <a:schemeClr val="tx2"/>
                </a:solidFill>
              </a:defRPr>
            </a:lvl1pPr>
          </a:lstStyle>
          <a:p>
            <a:pPr lvl="0"/>
            <a:r>
              <a:rPr lang="en-US"/>
              <a:t>Section title with full photo background</a:t>
            </a:r>
          </a:p>
        </p:txBody>
      </p:sp>
      <p:sp>
        <p:nvSpPr>
          <p:cNvPr id="10" name="Content Placeholder 2">
            <a:extLst>
              <a:ext uri="{FF2B5EF4-FFF2-40B4-BE49-F238E27FC236}">
                <a16:creationId xmlns:a16="http://schemas.microsoft.com/office/drawing/2014/main" id="{15406226-911A-D441-8417-8C4961D7AEF2}"/>
              </a:ext>
            </a:extLst>
          </p:cNvPr>
          <p:cNvSpPr>
            <a:spLocks noGrp="1"/>
          </p:cNvSpPr>
          <p:nvPr>
            <p:ph sz="quarter" idx="16" hasCustomPrompt="1"/>
          </p:nvPr>
        </p:nvSpPr>
        <p:spPr>
          <a:xfrm>
            <a:off x="0" y="4813256"/>
            <a:ext cx="6096000" cy="547009"/>
          </a:xfrm>
          <a:solidFill>
            <a:schemeClr val="bg1"/>
          </a:solidFill>
        </p:spPr>
        <p:txBody>
          <a:bodyPr wrap="square" lIns="292608" tIns="91440" rIns="292608" bIns="201168" anchor="t">
            <a:spAutoFit/>
          </a:bodyPr>
          <a:lstStyle>
            <a:lvl1pPr marL="0" marR="0" indent="0" algn="l" defTabSz="685778" rtl="0" eaLnBrk="1" fontAlgn="auto" latinLnBrk="0" hangingPunct="1">
              <a:lnSpc>
                <a:spcPct val="100000"/>
              </a:lnSpc>
              <a:spcBef>
                <a:spcPts val="150"/>
              </a:spcBef>
              <a:spcAft>
                <a:spcPts val="0"/>
              </a:spcAft>
              <a:buClr>
                <a:schemeClr val="tx2"/>
              </a:buClr>
              <a:buSzPct val="100000"/>
              <a:buFont typeface="Arial" panose="020B0604020202020204" pitchFamily="34" charset="0"/>
              <a:buNone/>
              <a:tabLst/>
              <a:defRPr lang="en-US" sz="1500" b="0" kern="1200" dirty="0">
                <a:solidFill>
                  <a:schemeClr val="tx1"/>
                </a:solidFill>
                <a:latin typeface="+mn-lt"/>
                <a:ea typeface="+mn-ea"/>
                <a:cs typeface="+mn-cs"/>
              </a:defRPr>
            </a:lvl1pPr>
          </a:lstStyle>
          <a:p>
            <a:pPr marL="0" marR="0" lvl="0" indent="0" algn="l" defTabSz="685778" rtl="0" eaLnBrk="1" fontAlgn="auto" latinLnBrk="0" hangingPunct="1">
              <a:lnSpc>
                <a:spcPct val="120000"/>
              </a:lnSpc>
              <a:spcBef>
                <a:spcPts val="150"/>
              </a:spcBef>
              <a:spcAft>
                <a:spcPts val="0"/>
              </a:spcAft>
              <a:buClr>
                <a:schemeClr val="tx2"/>
              </a:buClr>
              <a:buSzPct val="100000"/>
              <a:buFont typeface="Arial" panose="020B0604020202020204" pitchFamily="34" charset="0"/>
              <a:buNone/>
              <a:tabLst/>
              <a:defRPr/>
            </a:pPr>
            <a:r>
              <a:rPr lang="en-US"/>
              <a:t>Sub title and or description of next section</a:t>
            </a:r>
          </a:p>
        </p:txBody>
      </p:sp>
    </p:spTree>
    <p:extLst>
      <p:ext uri="{BB962C8B-B14F-4D97-AF65-F5344CB8AC3E}">
        <p14:creationId xmlns:p14="http://schemas.microsoft.com/office/powerpoint/2010/main" val="420620866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Red background">
    <p:bg>
      <p:bgPr>
        <a:gradFill flip="none" rotWithShape="1">
          <a:gsLst>
            <a:gs pos="0">
              <a:schemeClr val="tx2"/>
            </a:gs>
            <a:gs pos="45000">
              <a:schemeClr val="tx2"/>
            </a:gs>
            <a:gs pos="100000">
              <a:schemeClr val="tx2">
                <a:lumMod val="50000"/>
              </a:schemeClr>
            </a:gs>
          </a:gsLst>
          <a:lin ang="1080000" scaled="0"/>
          <a:tileRect/>
        </a:gradFill>
        <a:effectLst/>
      </p:bgPr>
    </p:bg>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BD60394-6B49-3F40-ACB2-84420DAC9383}"/>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Slide Number Placeholder 2">
            <a:extLst>
              <a:ext uri="{FF2B5EF4-FFF2-40B4-BE49-F238E27FC236}">
                <a16:creationId xmlns:a16="http://schemas.microsoft.com/office/drawing/2014/main" id="{6D3BC3C2-2A41-544F-A0F8-7CFF39CCFFAC}"/>
              </a:ext>
            </a:extLst>
          </p:cNvPr>
          <p:cNvSpPr>
            <a:spLocks noGrp="1"/>
          </p:cNvSpPr>
          <p:nvPr>
            <p:ph type="sldNum" sz="quarter" idx="10"/>
          </p:nvPr>
        </p:nvSpPr>
        <p:spPr>
          <a:xfrm>
            <a:off x="2" y="6553202"/>
            <a:ext cx="304799" cy="304799"/>
          </a:xfrm>
        </p:spPr>
        <p:txBody>
          <a:bodyPr/>
          <a:lstStyle>
            <a:lvl1pPr>
              <a:defRPr>
                <a:solidFill>
                  <a:schemeClr val="bg1"/>
                </a:solidFill>
              </a:defRPr>
            </a:lvl1pPr>
          </a:lstStyle>
          <a:p>
            <a:fld id="{89006F1E-66CD-4A4B-9370-B4A3080F0E6C}" type="slidenum">
              <a:rPr lang="en-US" smtClean="0"/>
              <a:pPr/>
              <a:t>‹#›</a:t>
            </a:fld>
            <a:endParaRPr lang="en-US"/>
          </a:p>
        </p:txBody>
      </p:sp>
      <p:sp>
        <p:nvSpPr>
          <p:cNvPr id="5" name="Footer Placeholder 1">
            <a:extLst>
              <a:ext uri="{FF2B5EF4-FFF2-40B4-BE49-F238E27FC236}">
                <a16:creationId xmlns:a16="http://schemas.microsoft.com/office/drawing/2014/main" id="{9BCE1F3E-3D84-364B-BB1F-921E4AA1B217}"/>
              </a:ext>
            </a:extLst>
          </p:cNvPr>
          <p:cNvSpPr>
            <a:spLocks noGrp="1"/>
          </p:cNvSpPr>
          <p:nvPr>
            <p:ph type="ftr" sz="quarter" idx="14"/>
          </p:nvPr>
        </p:nvSpPr>
        <p:spPr>
          <a:xfrm>
            <a:off x="304802" y="6553201"/>
            <a:ext cx="3657601" cy="304800"/>
          </a:xfrm>
          <a:prstGeom prst="rect">
            <a:avLst/>
          </a:prstGeom>
        </p:spPr>
        <p:txBody>
          <a:bodyPr/>
          <a:lstStyle>
            <a:lvl1pPr>
              <a:defRPr>
                <a:solidFill>
                  <a:schemeClr val="bg1"/>
                </a:solidFill>
              </a:defRPr>
            </a:lvl1pPr>
          </a:lstStyle>
          <a:p>
            <a:r>
              <a:rPr lang="en-US">
                <a:ea typeface="MS PGothic" panose="020B0600070205080204" pitchFamily="34" charset="-128"/>
              </a:rPr>
              <a:t>Proprietary &amp; Confidential |  authoremail@thermofisher.com | 5-August-2020</a:t>
            </a:r>
          </a:p>
        </p:txBody>
      </p:sp>
      <p:sp>
        <p:nvSpPr>
          <p:cNvPr id="6" name="Text Placeholder 7">
            <a:extLst>
              <a:ext uri="{FF2B5EF4-FFF2-40B4-BE49-F238E27FC236}">
                <a16:creationId xmlns:a16="http://schemas.microsoft.com/office/drawing/2014/main" id="{94199484-7909-9044-9003-EFED90CAC053}"/>
              </a:ext>
            </a:extLst>
          </p:cNvPr>
          <p:cNvSpPr>
            <a:spLocks noGrp="1"/>
          </p:cNvSpPr>
          <p:nvPr>
            <p:ph type="body" sz="quarter" idx="11" hasCustomPrompt="1"/>
          </p:nvPr>
        </p:nvSpPr>
        <p:spPr>
          <a:xfrm>
            <a:off x="300227" y="893065"/>
            <a:ext cx="11591546" cy="381001"/>
          </a:xfrm>
          <a:prstGeom prst="rect">
            <a:avLst/>
          </a:prstGeom>
        </p:spPr>
        <p:txBody>
          <a:bodyPr lIns="0" tIns="0" rIns="0" bIns="0" anchor="t">
            <a:noAutofit/>
          </a:bodyPr>
          <a:lstStyle>
            <a:lvl1pPr marL="0" indent="0">
              <a:buNone/>
              <a:defRPr sz="1500">
                <a:solidFill>
                  <a:schemeClr val="bg1"/>
                </a:solidFill>
              </a:defRPr>
            </a:lvl1pPr>
          </a:lstStyle>
          <a:p>
            <a:pPr lvl="0"/>
            <a:r>
              <a:rPr lang="en-US"/>
              <a:t>Click to add </a:t>
            </a:r>
            <a:r>
              <a:rPr lang="en-US" err="1"/>
              <a:t>subheader</a:t>
            </a:r>
            <a:endParaRPr lang="en-US"/>
          </a:p>
        </p:txBody>
      </p:sp>
    </p:spTree>
    <p:extLst>
      <p:ext uri="{BB962C8B-B14F-4D97-AF65-F5344CB8AC3E}">
        <p14:creationId xmlns:p14="http://schemas.microsoft.com/office/powerpoint/2010/main" val="141844413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Welcome">
    <p:bg>
      <p:bgPr>
        <a:gradFill flip="none" rotWithShape="1">
          <a:gsLst>
            <a:gs pos="0">
              <a:schemeClr val="tx2"/>
            </a:gs>
            <a:gs pos="45000">
              <a:schemeClr val="tx2"/>
            </a:gs>
            <a:gs pos="100000">
              <a:schemeClr val="tx2">
                <a:lumMod val="50000"/>
              </a:schemeClr>
            </a:gs>
          </a:gsLst>
          <a:lin ang="1080000" scaled="0"/>
          <a:tileRect/>
        </a:gra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C7297DA-0943-4F9D-B4DC-D89E3C56E268}"/>
              </a:ext>
            </a:extLst>
          </p:cNvPr>
          <p:cNvSpPr/>
          <p:nvPr userDrawn="1"/>
        </p:nvSpPr>
        <p:spPr>
          <a:xfrm>
            <a:off x="251012" y="3890362"/>
            <a:ext cx="8912867" cy="1200329"/>
          </a:xfrm>
          <a:prstGeom prst="rect">
            <a:avLst/>
          </a:prstGeom>
        </p:spPr>
        <p:txBody>
          <a:bodyPr wrap="square">
            <a:spAutoFit/>
          </a:bodyPr>
          <a:lstStyle/>
          <a:p>
            <a:r>
              <a:rPr lang="en-US" sz="7200" b="1">
                <a:solidFill>
                  <a:schemeClr val="bg1"/>
                </a:solidFill>
              </a:rPr>
              <a:t>Welcome</a:t>
            </a:r>
          </a:p>
        </p:txBody>
      </p:sp>
      <p:grpSp>
        <p:nvGrpSpPr>
          <p:cNvPr id="9" name="Group 8">
            <a:extLst>
              <a:ext uri="{FF2B5EF4-FFF2-40B4-BE49-F238E27FC236}">
                <a16:creationId xmlns:a16="http://schemas.microsoft.com/office/drawing/2014/main" id="{1B3035E9-1E30-4A65-87BF-D87723B7387D}"/>
              </a:ext>
            </a:extLst>
          </p:cNvPr>
          <p:cNvGrpSpPr/>
          <p:nvPr userDrawn="1"/>
        </p:nvGrpSpPr>
        <p:grpSpPr>
          <a:xfrm>
            <a:off x="9662262" y="818784"/>
            <a:ext cx="2529740" cy="6039216"/>
            <a:chOff x="9662260" y="818784"/>
            <a:chExt cx="2529740" cy="6039216"/>
          </a:xfrm>
        </p:grpSpPr>
        <p:pic>
          <p:nvPicPr>
            <p:cNvPr id="10" name="Picture 9">
              <a:extLst>
                <a:ext uri="{FF2B5EF4-FFF2-40B4-BE49-F238E27FC236}">
                  <a16:creationId xmlns:a16="http://schemas.microsoft.com/office/drawing/2014/main" id="{9DFE8F35-3478-4D36-AE61-9902FA9E571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662260" y="1471202"/>
              <a:ext cx="2529740" cy="5386798"/>
            </a:xfrm>
            <a:prstGeom prst="rect">
              <a:avLst/>
            </a:prstGeom>
          </p:spPr>
        </p:pic>
        <p:pic>
          <p:nvPicPr>
            <p:cNvPr id="12" name="Picture 11">
              <a:extLst>
                <a:ext uri="{FF2B5EF4-FFF2-40B4-BE49-F238E27FC236}">
                  <a16:creationId xmlns:a16="http://schemas.microsoft.com/office/drawing/2014/main" id="{A63CB1BA-AEDB-454F-BBF3-A9613807210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0539851" y="4300794"/>
              <a:ext cx="1652148" cy="2095226"/>
            </a:xfrm>
            <a:prstGeom prst="rect">
              <a:avLst/>
            </a:prstGeom>
          </p:spPr>
        </p:pic>
        <p:pic>
          <p:nvPicPr>
            <p:cNvPr id="13" name="Picture 12">
              <a:extLst>
                <a:ext uri="{FF2B5EF4-FFF2-40B4-BE49-F238E27FC236}">
                  <a16:creationId xmlns:a16="http://schemas.microsoft.com/office/drawing/2014/main" id="{28BB9361-2245-45C7-85B1-98F75F74B97B}"/>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rot="20585276">
              <a:off x="10888776" y="3404437"/>
              <a:ext cx="841085" cy="888470"/>
            </a:xfrm>
            <a:prstGeom prst="rect">
              <a:avLst/>
            </a:prstGeom>
          </p:spPr>
        </p:pic>
        <p:pic>
          <p:nvPicPr>
            <p:cNvPr id="14" name="Picture 13">
              <a:extLst>
                <a:ext uri="{FF2B5EF4-FFF2-40B4-BE49-F238E27FC236}">
                  <a16:creationId xmlns:a16="http://schemas.microsoft.com/office/drawing/2014/main" id="{266621D9-C1BE-4A88-B2E8-40BCC4E56DF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839843" y="4683251"/>
              <a:ext cx="608076" cy="626643"/>
            </a:xfrm>
            <a:prstGeom prst="rect">
              <a:avLst/>
            </a:prstGeom>
          </p:spPr>
        </p:pic>
        <p:pic>
          <p:nvPicPr>
            <p:cNvPr id="15" name="Picture 14">
              <a:extLst>
                <a:ext uri="{FF2B5EF4-FFF2-40B4-BE49-F238E27FC236}">
                  <a16:creationId xmlns:a16="http://schemas.microsoft.com/office/drawing/2014/main" id="{98F6AB9F-8570-461E-BBA2-E013A3DA14E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rot="19848158">
              <a:off x="10621861" y="5789703"/>
              <a:ext cx="593846" cy="634660"/>
            </a:xfrm>
            <a:prstGeom prst="rect">
              <a:avLst/>
            </a:prstGeom>
          </p:spPr>
        </p:pic>
        <p:pic>
          <p:nvPicPr>
            <p:cNvPr id="16" name="Picture 15">
              <a:extLst>
                <a:ext uri="{FF2B5EF4-FFF2-40B4-BE49-F238E27FC236}">
                  <a16:creationId xmlns:a16="http://schemas.microsoft.com/office/drawing/2014/main" id="{1EE6F465-A690-4861-87C0-E7A6A65E3377}"/>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11037236" y="818784"/>
              <a:ext cx="1154763" cy="1703758"/>
            </a:xfrm>
            <a:prstGeom prst="rect">
              <a:avLst/>
            </a:prstGeom>
          </p:spPr>
        </p:pic>
      </p:grpSp>
      <p:sp>
        <p:nvSpPr>
          <p:cNvPr id="17" name="Slide Number Placeholder 2">
            <a:extLst>
              <a:ext uri="{FF2B5EF4-FFF2-40B4-BE49-F238E27FC236}">
                <a16:creationId xmlns:a16="http://schemas.microsoft.com/office/drawing/2014/main" id="{8EE24E27-68F9-E941-9584-DF35AA5AA788}"/>
              </a:ext>
            </a:extLst>
          </p:cNvPr>
          <p:cNvSpPr>
            <a:spLocks noGrp="1"/>
          </p:cNvSpPr>
          <p:nvPr>
            <p:ph type="sldNum" sz="quarter" idx="10"/>
          </p:nvPr>
        </p:nvSpPr>
        <p:spPr>
          <a:xfrm>
            <a:off x="2" y="6553202"/>
            <a:ext cx="304799" cy="304799"/>
          </a:xfrm>
        </p:spPr>
        <p:txBody>
          <a:bodyPr/>
          <a:lstStyle>
            <a:lvl1pPr>
              <a:defRPr>
                <a:solidFill>
                  <a:schemeClr val="bg1"/>
                </a:solidFill>
              </a:defRPr>
            </a:lvl1pPr>
          </a:lstStyle>
          <a:p>
            <a:fld id="{89006F1E-66CD-4A4B-9370-B4A3080F0E6C}" type="slidenum">
              <a:rPr lang="en-US" smtClean="0"/>
              <a:pPr/>
              <a:t>‹#›</a:t>
            </a:fld>
            <a:endParaRPr lang="en-US"/>
          </a:p>
        </p:txBody>
      </p:sp>
      <p:sp>
        <p:nvSpPr>
          <p:cNvPr id="18" name="Footer Placeholder 1">
            <a:extLst>
              <a:ext uri="{FF2B5EF4-FFF2-40B4-BE49-F238E27FC236}">
                <a16:creationId xmlns:a16="http://schemas.microsoft.com/office/drawing/2014/main" id="{6380E455-E213-C44A-A7FC-3A9E06997A4C}"/>
              </a:ext>
            </a:extLst>
          </p:cNvPr>
          <p:cNvSpPr>
            <a:spLocks noGrp="1"/>
          </p:cNvSpPr>
          <p:nvPr>
            <p:ph type="ftr" sz="quarter" idx="14"/>
          </p:nvPr>
        </p:nvSpPr>
        <p:spPr>
          <a:xfrm>
            <a:off x="304802" y="6553201"/>
            <a:ext cx="3657601" cy="304800"/>
          </a:xfrm>
          <a:prstGeom prst="rect">
            <a:avLst/>
          </a:prstGeom>
        </p:spPr>
        <p:txBody>
          <a:bodyPr/>
          <a:lstStyle>
            <a:lvl1pPr>
              <a:defRPr>
                <a:solidFill>
                  <a:schemeClr val="bg1"/>
                </a:solidFill>
              </a:defRPr>
            </a:lvl1pPr>
          </a:lstStyle>
          <a:p>
            <a:r>
              <a:rPr lang="en-US">
                <a:ea typeface="MS PGothic" panose="020B0600070205080204" pitchFamily="34" charset="-128"/>
              </a:rPr>
              <a:t>Proprietary &amp; Confidential |  authoremail@thermofisher.com | 5-August-2020</a:t>
            </a:r>
          </a:p>
        </p:txBody>
      </p:sp>
      <p:sp>
        <p:nvSpPr>
          <p:cNvPr id="5" name="Content Placeholder 4">
            <a:extLst>
              <a:ext uri="{FF2B5EF4-FFF2-40B4-BE49-F238E27FC236}">
                <a16:creationId xmlns:a16="http://schemas.microsoft.com/office/drawing/2014/main" id="{B2D62B08-7542-0949-BFA0-4B9D35DAAFBF}"/>
              </a:ext>
            </a:extLst>
          </p:cNvPr>
          <p:cNvSpPr>
            <a:spLocks noGrp="1"/>
          </p:cNvSpPr>
          <p:nvPr>
            <p:ph sz="quarter" idx="16" hasCustomPrompt="1"/>
          </p:nvPr>
        </p:nvSpPr>
        <p:spPr>
          <a:xfrm>
            <a:off x="348472" y="5269000"/>
            <a:ext cx="6612502" cy="489250"/>
          </a:xfrm>
        </p:spPr>
        <p:txBody>
          <a:bodyPr/>
          <a:lstStyle>
            <a:lvl1pPr marL="0" marR="0" indent="0" algn="l" defTabSz="685778" rtl="0" eaLnBrk="1" fontAlgn="auto" latinLnBrk="0" hangingPunct="1">
              <a:lnSpc>
                <a:spcPct val="120000"/>
              </a:lnSpc>
              <a:spcBef>
                <a:spcPts val="150"/>
              </a:spcBef>
              <a:spcAft>
                <a:spcPts val="0"/>
              </a:spcAft>
              <a:buClr>
                <a:schemeClr val="tx2"/>
              </a:buClr>
              <a:buSzPct val="100000"/>
              <a:buFont typeface="Arial" panose="020B0604020202020204" pitchFamily="34" charset="0"/>
              <a:buNone/>
              <a:tabLst/>
              <a:defRPr>
                <a:solidFill>
                  <a:schemeClr val="bg1"/>
                </a:solidFill>
              </a:defRPr>
            </a:lvl1pPr>
          </a:lstStyle>
          <a:p>
            <a:pPr marL="0" marR="0" lvl="0" indent="0" algn="l" defTabSz="685778" rtl="0" eaLnBrk="1" fontAlgn="auto" latinLnBrk="0" hangingPunct="1">
              <a:lnSpc>
                <a:spcPct val="120000"/>
              </a:lnSpc>
              <a:spcBef>
                <a:spcPts val="150"/>
              </a:spcBef>
              <a:spcAft>
                <a:spcPts val="0"/>
              </a:spcAft>
              <a:buClr>
                <a:schemeClr val="tx2"/>
              </a:buClr>
              <a:buSzPct val="100000"/>
              <a:buFont typeface="Arial" panose="020B0604020202020204" pitchFamily="34" charset="0"/>
              <a:buNone/>
              <a:tabLst/>
              <a:defRPr/>
            </a:pPr>
            <a:r>
              <a:rPr lang="en-US" sz="1500" b="0">
                <a:solidFill>
                  <a:schemeClr val="bg1"/>
                </a:solidFill>
              </a:rPr>
              <a:t>Custom message. The presentation will start shortly.</a:t>
            </a:r>
            <a:endParaRPr lang="en-US" sz="1500">
              <a:solidFill>
                <a:schemeClr val="bg1"/>
              </a:solidFill>
            </a:endParaRPr>
          </a:p>
        </p:txBody>
      </p:sp>
    </p:spTree>
    <p:extLst>
      <p:ext uri="{BB962C8B-B14F-4D97-AF65-F5344CB8AC3E}">
        <p14:creationId xmlns:p14="http://schemas.microsoft.com/office/powerpoint/2010/main" val="2940213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Thank you">
    <p:bg>
      <p:bgPr>
        <a:gradFill flip="none" rotWithShape="1">
          <a:gsLst>
            <a:gs pos="0">
              <a:schemeClr val="tx2"/>
            </a:gs>
            <a:gs pos="45000">
              <a:schemeClr val="tx2"/>
            </a:gs>
            <a:gs pos="100000">
              <a:schemeClr val="tx2">
                <a:lumMod val="50000"/>
              </a:schemeClr>
            </a:gs>
          </a:gsLst>
          <a:lin ang="1080000" scaled="0"/>
          <a:tileRect/>
        </a:gra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C7297DA-0943-4F9D-B4DC-D89E3C56E268}"/>
              </a:ext>
            </a:extLst>
          </p:cNvPr>
          <p:cNvSpPr/>
          <p:nvPr userDrawn="1"/>
        </p:nvSpPr>
        <p:spPr>
          <a:xfrm>
            <a:off x="251012" y="3890362"/>
            <a:ext cx="8912867" cy="1200329"/>
          </a:xfrm>
          <a:prstGeom prst="rect">
            <a:avLst/>
          </a:prstGeom>
        </p:spPr>
        <p:txBody>
          <a:bodyPr wrap="square">
            <a:spAutoFit/>
          </a:bodyPr>
          <a:lstStyle/>
          <a:p>
            <a:r>
              <a:rPr lang="en-US" sz="7200" b="1">
                <a:solidFill>
                  <a:schemeClr val="bg1"/>
                </a:solidFill>
              </a:rPr>
              <a:t>Thank you</a:t>
            </a:r>
            <a:endParaRPr lang="en-US" sz="1800">
              <a:solidFill>
                <a:schemeClr val="bg1"/>
              </a:solidFill>
            </a:endParaRPr>
          </a:p>
        </p:txBody>
      </p:sp>
      <p:grpSp>
        <p:nvGrpSpPr>
          <p:cNvPr id="9" name="Group 8">
            <a:extLst>
              <a:ext uri="{FF2B5EF4-FFF2-40B4-BE49-F238E27FC236}">
                <a16:creationId xmlns:a16="http://schemas.microsoft.com/office/drawing/2014/main" id="{1B3035E9-1E30-4A65-87BF-D87723B7387D}"/>
              </a:ext>
            </a:extLst>
          </p:cNvPr>
          <p:cNvGrpSpPr/>
          <p:nvPr userDrawn="1"/>
        </p:nvGrpSpPr>
        <p:grpSpPr>
          <a:xfrm>
            <a:off x="9662262" y="818784"/>
            <a:ext cx="2529740" cy="6039216"/>
            <a:chOff x="9662260" y="818784"/>
            <a:chExt cx="2529740" cy="6039216"/>
          </a:xfrm>
        </p:grpSpPr>
        <p:pic>
          <p:nvPicPr>
            <p:cNvPr id="10" name="Picture 9">
              <a:extLst>
                <a:ext uri="{FF2B5EF4-FFF2-40B4-BE49-F238E27FC236}">
                  <a16:creationId xmlns:a16="http://schemas.microsoft.com/office/drawing/2014/main" id="{9DFE8F35-3478-4D36-AE61-9902FA9E571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662260" y="1471202"/>
              <a:ext cx="2529740" cy="5386798"/>
            </a:xfrm>
            <a:prstGeom prst="rect">
              <a:avLst/>
            </a:prstGeom>
          </p:spPr>
        </p:pic>
        <p:pic>
          <p:nvPicPr>
            <p:cNvPr id="12" name="Picture 11">
              <a:extLst>
                <a:ext uri="{FF2B5EF4-FFF2-40B4-BE49-F238E27FC236}">
                  <a16:creationId xmlns:a16="http://schemas.microsoft.com/office/drawing/2014/main" id="{A63CB1BA-AEDB-454F-BBF3-A9613807210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0539851" y="4300794"/>
              <a:ext cx="1652148" cy="2095226"/>
            </a:xfrm>
            <a:prstGeom prst="rect">
              <a:avLst/>
            </a:prstGeom>
          </p:spPr>
        </p:pic>
        <p:pic>
          <p:nvPicPr>
            <p:cNvPr id="13" name="Picture 12">
              <a:extLst>
                <a:ext uri="{FF2B5EF4-FFF2-40B4-BE49-F238E27FC236}">
                  <a16:creationId xmlns:a16="http://schemas.microsoft.com/office/drawing/2014/main" id="{28BB9361-2245-45C7-85B1-98F75F74B97B}"/>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rot="20585276">
              <a:off x="10888776" y="3404437"/>
              <a:ext cx="841085" cy="888470"/>
            </a:xfrm>
            <a:prstGeom prst="rect">
              <a:avLst/>
            </a:prstGeom>
          </p:spPr>
        </p:pic>
        <p:pic>
          <p:nvPicPr>
            <p:cNvPr id="14" name="Picture 13">
              <a:extLst>
                <a:ext uri="{FF2B5EF4-FFF2-40B4-BE49-F238E27FC236}">
                  <a16:creationId xmlns:a16="http://schemas.microsoft.com/office/drawing/2014/main" id="{266621D9-C1BE-4A88-B2E8-40BCC4E56DF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839843" y="4683251"/>
              <a:ext cx="608076" cy="626643"/>
            </a:xfrm>
            <a:prstGeom prst="rect">
              <a:avLst/>
            </a:prstGeom>
          </p:spPr>
        </p:pic>
        <p:pic>
          <p:nvPicPr>
            <p:cNvPr id="15" name="Picture 14">
              <a:extLst>
                <a:ext uri="{FF2B5EF4-FFF2-40B4-BE49-F238E27FC236}">
                  <a16:creationId xmlns:a16="http://schemas.microsoft.com/office/drawing/2014/main" id="{98F6AB9F-8570-461E-BBA2-E013A3DA14E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rot="19848158">
              <a:off x="10621861" y="5789703"/>
              <a:ext cx="593846" cy="634660"/>
            </a:xfrm>
            <a:prstGeom prst="rect">
              <a:avLst/>
            </a:prstGeom>
          </p:spPr>
        </p:pic>
        <p:pic>
          <p:nvPicPr>
            <p:cNvPr id="16" name="Picture 15">
              <a:extLst>
                <a:ext uri="{FF2B5EF4-FFF2-40B4-BE49-F238E27FC236}">
                  <a16:creationId xmlns:a16="http://schemas.microsoft.com/office/drawing/2014/main" id="{1EE6F465-A690-4861-87C0-E7A6A65E3377}"/>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11037236" y="818784"/>
              <a:ext cx="1154763" cy="1703758"/>
            </a:xfrm>
            <a:prstGeom prst="rect">
              <a:avLst/>
            </a:prstGeom>
          </p:spPr>
        </p:pic>
      </p:grpSp>
      <p:sp>
        <p:nvSpPr>
          <p:cNvPr id="17" name="Slide Number Placeholder 2">
            <a:extLst>
              <a:ext uri="{FF2B5EF4-FFF2-40B4-BE49-F238E27FC236}">
                <a16:creationId xmlns:a16="http://schemas.microsoft.com/office/drawing/2014/main" id="{8EE24E27-68F9-E941-9584-DF35AA5AA788}"/>
              </a:ext>
            </a:extLst>
          </p:cNvPr>
          <p:cNvSpPr>
            <a:spLocks noGrp="1"/>
          </p:cNvSpPr>
          <p:nvPr>
            <p:ph type="sldNum" sz="quarter" idx="10"/>
          </p:nvPr>
        </p:nvSpPr>
        <p:spPr>
          <a:xfrm>
            <a:off x="2" y="6553202"/>
            <a:ext cx="304799" cy="304799"/>
          </a:xfrm>
        </p:spPr>
        <p:txBody>
          <a:bodyPr/>
          <a:lstStyle>
            <a:lvl1pPr>
              <a:defRPr>
                <a:solidFill>
                  <a:schemeClr val="bg1"/>
                </a:solidFill>
              </a:defRPr>
            </a:lvl1pPr>
          </a:lstStyle>
          <a:p>
            <a:fld id="{89006F1E-66CD-4A4B-9370-B4A3080F0E6C}" type="slidenum">
              <a:rPr lang="en-US" smtClean="0"/>
              <a:pPr/>
              <a:t>‹#›</a:t>
            </a:fld>
            <a:endParaRPr lang="en-US"/>
          </a:p>
        </p:txBody>
      </p:sp>
      <p:sp>
        <p:nvSpPr>
          <p:cNvPr id="18" name="Footer Placeholder 1">
            <a:extLst>
              <a:ext uri="{FF2B5EF4-FFF2-40B4-BE49-F238E27FC236}">
                <a16:creationId xmlns:a16="http://schemas.microsoft.com/office/drawing/2014/main" id="{6380E455-E213-C44A-A7FC-3A9E06997A4C}"/>
              </a:ext>
            </a:extLst>
          </p:cNvPr>
          <p:cNvSpPr>
            <a:spLocks noGrp="1"/>
          </p:cNvSpPr>
          <p:nvPr>
            <p:ph type="ftr" sz="quarter" idx="14"/>
          </p:nvPr>
        </p:nvSpPr>
        <p:spPr>
          <a:xfrm>
            <a:off x="304802" y="6553201"/>
            <a:ext cx="3657601" cy="304800"/>
          </a:xfrm>
          <a:prstGeom prst="rect">
            <a:avLst/>
          </a:prstGeom>
        </p:spPr>
        <p:txBody>
          <a:bodyPr/>
          <a:lstStyle>
            <a:lvl1pPr>
              <a:defRPr>
                <a:solidFill>
                  <a:schemeClr val="bg1"/>
                </a:solidFill>
              </a:defRPr>
            </a:lvl1pPr>
          </a:lstStyle>
          <a:p>
            <a:r>
              <a:rPr lang="en-US">
                <a:ea typeface="MS PGothic" panose="020B0600070205080204" pitchFamily="34" charset="-128"/>
              </a:rPr>
              <a:t>Proprietary &amp; Confidential |  authoremail@thermofisher.com | 5-August-2020</a:t>
            </a:r>
          </a:p>
        </p:txBody>
      </p:sp>
      <p:sp>
        <p:nvSpPr>
          <p:cNvPr id="20" name="Content Placeholder 4">
            <a:extLst>
              <a:ext uri="{FF2B5EF4-FFF2-40B4-BE49-F238E27FC236}">
                <a16:creationId xmlns:a16="http://schemas.microsoft.com/office/drawing/2014/main" id="{550E2B40-32DB-334B-95D1-E74B9D7847DA}"/>
              </a:ext>
            </a:extLst>
          </p:cNvPr>
          <p:cNvSpPr>
            <a:spLocks noGrp="1"/>
          </p:cNvSpPr>
          <p:nvPr>
            <p:ph sz="quarter" idx="16" hasCustomPrompt="1"/>
          </p:nvPr>
        </p:nvSpPr>
        <p:spPr>
          <a:xfrm>
            <a:off x="348473" y="5269000"/>
            <a:ext cx="7691659" cy="489250"/>
          </a:xfrm>
        </p:spPr>
        <p:txBody>
          <a:bodyPr/>
          <a:lstStyle>
            <a:lvl1pPr marL="0" marR="0" indent="0" algn="l" defTabSz="685778" rtl="0" eaLnBrk="1" fontAlgn="auto" latinLnBrk="0" hangingPunct="1">
              <a:lnSpc>
                <a:spcPct val="120000"/>
              </a:lnSpc>
              <a:spcBef>
                <a:spcPts val="150"/>
              </a:spcBef>
              <a:spcAft>
                <a:spcPts val="0"/>
              </a:spcAft>
              <a:buClr>
                <a:schemeClr val="tx2"/>
              </a:buClr>
              <a:buSzPct val="100000"/>
              <a:buFont typeface="Arial" panose="020B0604020202020204" pitchFamily="34" charset="0"/>
              <a:buNone/>
              <a:tabLst/>
              <a:defRPr>
                <a:solidFill>
                  <a:schemeClr val="bg1"/>
                </a:solidFill>
              </a:defRPr>
            </a:lvl1pPr>
          </a:lstStyle>
          <a:p>
            <a:pPr marL="0" marR="0" lvl="0" indent="0" algn="l" defTabSz="685778" rtl="0" eaLnBrk="1" fontAlgn="auto" latinLnBrk="0" hangingPunct="1">
              <a:lnSpc>
                <a:spcPct val="120000"/>
              </a:lnSpc>
              <a:spcBef>
                <a:spcPts val="150"/>
              </a:spcBef>
              <a:spcAft>
                <a:spcPts val="0"/>
              </a:spcAft>
              <a:buClr>
                <a:schemeClr val="tx2"/>
              </a:buClr>
              <a:buSzPct val="100000"/>
              <a:buFont typeface="Arial" panose="020B0604020202020204" pitchFamily="34" charset="0"/>
              <a:buNone/>
              <a:tabLst/>
              <a:defRPr/>
            </a:pPr>
            <a:r>
              <a:rPr lang="en-US" sz="1500" b="0">
                <a:solidFill>
                  <a:schemeClr val="bg1"/>
                </a:solidFill>
              </a:rPr>
              <a:t>Custom message…</a:t>
            </a:r>
            <a:endParaRPr lang="en-US" sz="1500">
              <a:solidFill>
                <a:schemeClr val="bg1"/>
              </a:solidFill>
            </a:endParaRPr>
          </a:p>
        </p:txBody>
      </p:sp>
      <p:sp>
        <p:nvSpPr>
          <p:cNvPr id="6" name="Text Placeholder 5">
            <a:extLst>
              <a:ext uri="{FF2B5EF4-FFF2-40B4-BE49-F238E27FC236}">
                <a16:creationId xmlns:a16="http://schemas.microsoft.com/office/drawing/2014/main" id="{FDF94BF9-AA4B-7348-B3AF-D5B86D50554B}"/>
              </a:ext>
            </a:extLst>
          </p:cNvPr>
          <p:cNvSpPr>
            <a:spLocks noGrp="1"/>
          </p:cNvSpPr>
          <p:nvPr>
            <p:ph type="body" sz="quarter" idx="17" hasCustomPrompt="1"/>
          </p:nvPr>
        </p:nvSpPr>
        <p:spPr>
          <a:xfrm>
            <a:off x="8229601" y="6553200"/>
            <a:ext cx="1609725" cy="304800"/>
          </a:xfrm>
        </p:spPr>
        <p:txBody>
          <a:bodyPr anchor="ctr">
            <a:normAutofit/>
          </a:bodyPr>
          <a:lstStyle>
            <a:lvl1pPr marL="0" indent="0">
              <a:buNone/>
              <a:defRPr sz="600">
                <a:solidFill>
                  <a:schemeClr val="bg1"/>
                </a:solidFill>
              </a:defRPr>
            </a:lvl1pPr>
          </a:lstStyle>
          <a:p>
            <a:pPr lvl="0"/>
            <a:r>
              <a:rPr lang="en-US"/>
              <a:t>Copyright 2020</a:t>
            </a:r>
          </a:p>
        </p:txBody>
      </p:sp>
    </p:spTree>
    <p:extLst>
      <p:ext uri="{BB962C8B-B14F-4D97-AF65-F5344CB8AC3E}">
        <p14:creationId xmlns:p14="http://schemas.microsoft.com/office/powerpoint/2010/main" val="1156082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Thank you">
    <p:bg>
      <p:bgPr>
        <a:gradFill flip="none" rotWithShape="1">
          <a:gsLst>
            <a:gs pos="0">
              <a:schemeClr val="tx2"/>
            </a:gs>
            <a:gs pos="45000">
              <a:schemeClr val="tx2"/>
            </a:gs>
            <a:gs pos="100000">
              <a:schemeClr val="tx2">
                <a:lumMod val="50000"/>
              </a:schemeClr>
            </a:gs>
          </a:gsLst>
          <a:lin ang="1080000" scaled="0"/>
          <a:tileRect/>
        </a:gra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C7297DA-0943-4F9D-B4DC-D89E3C56E268}"/>
              </a:ext>
            </a:extLst>
          </p:cNvPr>
          <p:cNvSpPr/>
          <p:nvPr userDrawn="1"/>
        </p:nvSpPr>
        <p:spPr>
          <a:xfrm>
            <a:off x="251012" y="3890362"/>
            <a:ext cx="8912867" cy="1200329"/>
          </a:xfrm>
          <a:prstGeom prst="rect">
            <a:avLst/>
          </a:prstGeom>
        </p:spPr>
        <p:txBody>
          <a:bodyPr wrap="square">
            <a:spAutoFit/>
          </a:bodyPr>
          <a:lstStyle/>
          <a:p>
            <a:r>
              <a:rPr lang="en-US" sz="7200" b="1">
                <a:solidFill>
                  <a:schemeClr val="bg1"/>
                </a:solidFill>
              </a:rPr>
              <a:t>Questions</a:t>
            </a:r>
            <a:endParaRPr lang="en-US" sz="1800">
              <a:solidFill>
                <a:schemeClr val="bg1"/>
              </a:solidFill>
            </a:endParaRPr>
          </a:p>
        </p:txBody>
      </p:sp>
      <p:grpSp>
        <p:nvGrpSpPr>
          <p:cNvPr id="9" name="Group 8">
            <a:extLst>
              <a:ext uri="{FF2B5EF4-FFF2-40B4-BE49-F238E27FC236}">
                <a16:creationId xmlns:a16="http://schemas.microsoft.com/office/drawing/2014/main" id="{1B3035E9-1E30-4A65-87BF-D87723B7387D}"/>
              </a:ext>
            </a:extLst>
          </p:cNvPr>
          <p:cNvGrpSpPr/>
          <p:nvPr userDrawn="1"/>
        </p:nvGrpSpPr>
        <p:grpSpPr>
          <a:xfrm>
            <a:off x="9662262" y="818784"/>
            <a:ext cx="2529740" cy="6039216"/>
            <a:chOff x="9662260" y="818784"/>
            <a:chExt cx="2529740" cy="6039216"/>
          </a:xfrm>
        </p:grpSpPr>
        <p:pic>
          <p:nvPicPr>
            <p:cNvPr id="10" name="Picture 9">
              <a:extLst>
                <a:ext uri="{FF2B5EF4-FFF2-40B4-BE49-F238E27FC236}">
                  <a16:creationId xmlns:a16="http://schemas.microsoft.com/office/drawing/2014/main" id="{9DFE8F35-3478-4D36-AE61-9902FA9E571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662260" y="1471202"/>
              <a:ext cx="2529740" cy="5386798"/>
            </a:xfrm>
            <a:prstGeom prst="rect">
              <a:avLst/>
            </a:prstGeom>
          </p:spPr>
        </p:pic>
        <p:pic>
          <p:nvPicPr>
            <p:cNvPr id="12" name="Picture 11">
              <a:extLst>
                <a:ext uri="{FF2B5EF4-FFF2-40B4-BE49-F238E27FC236}">
                  <a16:creationId xmlns:a16="http://schemas.microsoft.com/office/drawing/2014/main" id="{A63CB1BA-AEDB-454F-BBF3-A9613807210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0539851" y="4300794"/>
              <a:ext cx="1652148" cy="2095226"/>
            </a:xfrm>
            <a:prstGeom prst="rect">
              <a:avLst/>
            </a:prstGeom>
          </p:spPr>
        </p:pic>
        <p:pic>
          <p:nvPicPr>
            <p:cNvPr id="13" name="Picture 12">
              <a:extLst>
                <a:ext uri="{FF2B5EF4-FFF2-40B4-BE49-F238E27FC236}">
                  <a16:creationId xmlns:a16="http://schemas.microsoft.com/office/drawing/2014/main" id="{28BB9361-2245-45C7-85B1-98F75F74B97B}"/>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rot="20585276">
              <a:off x="10888776" y="3404437"/>
              <a:ext cx="841085" cy="888470"/>
            </a:xfrm>
            <a:prstGeom prst="rect">
              <a:avLst/>
            </a:prstGeom>
          </p:spPr>
        </p:pic>
        <p:pic>
          <p:nvPicPr>
            <p:cNvPr id="14" name="Picture 13">
              <a:extLst>
                <a:ext uri="{FF2B5EF4-FFF2-40B4-BE49-F238E27FC236}">
                  <a16:creationId xmlns:a16="http://schemas.microsoft.com/office/drawing/2014/main" id="{266621D9-C1BE-4A88-B2E8-40BCC4E56DF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839843" y="4683251"/>
              <a:ext cx="608076" cy="626643"/>
            </a:xfrm>
            <a:prstGeom prst="rect">
              <a:avLst/>
            </a:prstGeom>
          </p:spPr>
        </p:pic>
        <p:pic>
          <p:nvPicPr>
            <p:cNvPr id="15" name="Picture 14">
              <a:extLst>
                <a:ext uri="{FF2B5EF4-FFF2-40B4-BE49-F238E27FC236}">
                  <a16:creationId xmlns:a16="http://schemas.microsoft.com/office/drawing/2014/main" id="{98F6AB9F-8570-461E-BBA2-E013A3DA14E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rot="19848158">
              <a:off x="10621861" y="5789703"/>
              <a:ext cx="593846" cy="634660"/>
            </a:xfrm>
            <a:prstGeom prst="rect">
              <a:avLst/>
            </a:prstGeom>
          </p:spPr>
        </p:pic>
        <p:pic>
          <p:nvPicPr>
            <p:cNvPr id="16" name="Picture 15">
              <a:extLst>
                <a:ext uri="{FF2B5EF4-FFF2-40B4-BE49-F238E27FC236}">
                  <a16:creationId xmlns:a16="http://schemas.microsoft.com/office/drawing/2014/main" id="{1EE6F465-A690-4861-87C0-E7A6A65E3377}"/>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11037236" y="818784"/>
              <a:ext cx="1154763" cy="1703758"/>
            </a:xfrm>
            <a:prstGeom prst="rect">
              <a:avLst/>
            </a:prstGeom>
          </p:spPr>
        </p:pic>
      </p:grpSp>
      <p:sp>
        <p:nvSpPr>
          <p:cNvPr id="17" name="Slide Number Placeholder 2">
            <a:extLst>
              <a:ext uri="{FF2B5EF4-FFF2-40B4-BE49-F238E27FC236}">
                <a16:creationId xmlns:a16="http://schemas.microsoft.com/office/drawing/2014/main" id="{8EE24E27-68F9-E941-9584-DF35AA5AA788}"/>
              </a:ext>
            </a:extLst>
          </p:cNvPr>
          <p:cNvSpPr>
            <a:spLocks noGrp="1"/>
          </p:cNvSpPr>
          <p:nvPr>
            <p:ph type="sldNum" sz="quarter" idx="10"/>
          </p:nvPr>
        </p:nvSpPr>
        <p:spPr>
          <a:xfrm>
            <a:off x="2" y="6553202"/>
            <a:ext cx="304799" cy="304799"/>
          </a:xfrm>
        </p:spPr>
        <p:txBody>
          <a:bodyPr/>
          <a:lstStyle>
            <a:lvl1pPr>
              <a:defRPr>
                <a:solidFill>
                  <a:schemeClr val="bg1"/>
                </a:solidFill>
              </a:defRPr>
            </a:lvl1pPr>
          </a:lstStyle>
          <a:p>
            <a:fld id="{89006F1E-66CD-4A4B-9370-B4A3080F0E6C}" type="slidenum">
              <a:rPr lang="en-US" smtClean="0"/>
              <a:pPr/>
              <a:t>‹#›</a:t>
            </a:fld>
            <a:endParaRPr lang="en-US"/>
          </a:p>
        </p:txBody>
      </p:sp>
      <p:sp>
        <p:nvSpPr>
          <p:cNvPr id="18" name="Footer Placeholder 1">
            <a:extLst>
              <a:ext uri="{FF2B5EF4-FFF2-40B4-BE49-F238E27FC236}">
                <a16:creationId xmlns:a16="http://schemas.microsoft.com/office/drawing/2014/main" id="{6380E455-E213-C44A-A7FC-3A9E06997A4C}"/>
              </a:ext>
            </a:extLst>
          </p:cNvPr>
          <p:cNvSpPr>
            <a:spLocks noGrp="1"/>
          </p:cNvSpPr>
          <p:nvPr>
            <p:ph type="ftr" sz="quarter" idx="14"/>
          </p:nvPr>
        </p:nvSpPr>
        <p:spPr>
          <a:xfrm>
            <a:off x="304802" y="6553201"/>
            <a:ext cx="3657601" cy="304800"/>
          </a:xfrm>
          <a:prstGeom prst="rect">
            <a:avLst/>
          </a:prstGeom>
        </p:spPr>
        <p:txBody>
          <a:bodyPr/>
          <a:lstStyle>
            <a:lvl1pPr>
              <a:defRPr>
                <a:solidFill>
                  <a:schemeClr val="bg1"/>
                </a:solidFill>
              </a:defRPr>
            </a:lvl1pPr>
          </a:lstStyle>
          <a:p>
            <a:r>
              <a:rPr lang="en-US">
                <a:ea typeface="MS PGothic" panose="020B0600070205080204" pitchFamily="34" charset="-128"/>
              </a:rPr>
              <a:t>Proprietary &amp; Confidential |  authoremail@thermofisher.com | 5-August-2020</a:t>
            </a:r>
          </a:p>
        </p:txBody>
      </p:sp>
      <p:sp>
        <p:nvSpPr>
          <p:cNvPr id="20" name="Content Placeholder 4">
            <a:extLst>
              <a:ext uri="{FF2B5EF4-FFF2-40B4-BE49-F238E27FC236}">
                <a16:creationId xmlns:a16="http://schemas.microsoft.com/office/drawing/2014/main" id="{550E2B40-32DB-334B-95D1-E74B9D7847DA}"/>
              </a:ext>
            </a:extLst>
          </p:cNvPr>
          <p:cNvSpPr>
            <a:spLocks noGrp="1"/>
          </p:cNvSpPr>
          <p:nvPr>
            <p:ph sz="quarter" idx="16" hasCustomPrompt="1"/>
          </p:nvPr>
        </p:nvSpPr>
        <p:spPr>
          <a:xfrm>
            <a:off x="348473" y="5269000"/>
            <a:ext cx="7691659" cy="489250"/>
          </a:xfrm>
        </p:spPr>
        <p:txBody>
          <a:bodyPr/>
          <a:lstStyle>
            <a:lvl1pPr marL="0" marR="0" indent="0" algn="l" defTabSz="685778" rtl="0" eaLnBrk="1" fontAlgn="auto" latinLnBrk="0" hangingPunct="1">
              <a:lnSpc>
                <a:spcPct val="120000"/>
              </a:lnSpc>
              <a:spcBef>
                <a:spcPts val="150"/>
              </a:spcBef>
              <a:spcAft>
                <a:spcPts val="0"/>
              </a:spcAft>
              <a:buClr>
                <a:schemeClr val="tx2"/>
              </a:buClr>
              <a:buSzPct val="100000"/>
              <a:buFont typeface="Arial" panose="020B0604020202020204" pitchFamily="34" charset="0"/>
              <a:buNone/>
              <a:tabLst/>
              <a:defRPr>
                <a:solidFill>
                  <a:schemeClr val="bg1"/>
                </a:solidFill>
              </a:defRPr>
            </a:lvl1pPr>
          </a:lstStyle>
          <a:p>
            <a:pPr marL="0" marR="0" lvl="0" indent="0" algn="l" defTabSz="685778" rtl="0" eaLnBrk="1" fontAlgn="auto" latinLnBrk="0" hangingPunct="1">
              <a:lnSpc>
                <a:spcPct val="120000"/>
              </a:lnSpc>
              <a:spcBef>
                <a:spcPts val="150"/>
              </a:spcBef>
              <a:spcAft>
                <a:spcPts val="0"/>
              </a:spcAft>
              <a:buClr>
                <a:schemeClr val="tx2"/>
              </a:buClr>
              <a:buSzPct val="100000"/>
              <a:buFont typeface="Arial" panose="020B0604020202020204" pitchFamily="34" charset="0"/>
              <a:buNone/>
              <a:tabLst/>
              <a:defRPr/>
            </a:pPr>
            <a:r>
              <a:rPr lang="en-US" sz="1500" b="0">
                <a:solidFill>
                  <a:schemeClr val="bg1"/>
                </a:solidFill>
              </a:rPr>
              <a:t>Custom message…</a:t>
            </a:r>
            <a:endParaRPr lang="en-US" sz="1500">
              <a:solidFill>
                <a:schemeClr val="bg1"/>
              </a:solidFill>
            </a:endParaRPr>
          </a:p>
        </p:txBody>
      </p:sp>
      <p:sp>
        <p:nvSpPr>
          <p:cNvPr id="6" name="Text Placeholder 5">
            <a:extLst>
              <a:ext uri="{FF2B5EF4-FFF2-40B4-BE49-F238E27FC236}">
                <a16:creationId xmlns:a16="http://schemas.microsoft.com/office/drawing/2014/main" id="{FDF94BF9-AA4B-7348-B3AF-D5B86D50554B}"/>
              </a:ext>
            </a:extLst>
          </p:cNvPr>
          <p:cNvSpPr>
            <a:spLocks noGrp="1"/>
          </p:cNvSpPr>
          <p:nvPr>
            <p:ph type="body" sz="quarter" idx="17" hasCustomPrompt="1"/>
          </p:nvPr>
        </p:nvSpPr>
        <p:spPr>
          <a:xfrm>
            <a:off x="8229601" y="6553200"/>
            <a:ext cx="1609725" cy="304800"/>
          </a:xfrm>
        </p:spPr>
        <p:txBody>
          <a:bodyPr anchor="ctr">
            <a:normAutofit/>
          </a:bodyPr>
          <a:lstStyle>
            <a:lvl1pPr marL="0" indent="0">
              <a:buNone/>
              <a:defRPr sz="600">
                <a:solidFill>
                  <a:schemeClr val="bg1"/>
                </a:solidFill>
              </a:defRPr>
            </a:lvl1pPr>
          </a:lstStyle>
          <a:p>
            <a:pPr lvl="0"/>
            <a:r>
              <a:rPr lang="en-US"/>
              <a:t>Copyright 2020</a:t>
            </a:r>
          </a:p>
        </p:txBody>
      </p:sp>
    </p:spTree>
    <p:extLst>
      <p:ext uri="{BB962C8B-B14F-4D97-AF65-F5344CB8AC3E}">
        <p14:creationId xmlns:p14="http://schemas.microsoft.com/office/powerpoint/2010/main" val="30318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ustom Layout">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1AF264-71D4-E14C-8B25-6059E389D1EF}"/>
              </a:ext>
            </a:extLst>
          </p:cNvPr>
          <p:cNvSpPr>
            <a:spLocks noGrp="1"/>
          </p:cNvSpPr>
          <p:nvPr>
            <p:ph type="title" hasCustomPrompt="1"/>
          </p:nvPr>
        </p:nvSpPr>
        <p:spPr/>
        <p:txBody>
          <a:bodyPr/>
          <a:lstStyle/>
          <a:p>
            <a:r>
              <a:rPr lang="en-US"/>
              <a:t>Master slide column guide</a:t>
            </a:r>
          </a:p>
        </p:txBody>
      </p:sp>
      <p:grpSp>
        <p:nvGrpSpPr>
          <p:cNvPr id="325" name="Group 324">
            <a:extLst>
              <a:ext uri="{FF2B5EF4-FFF2-40B4-BE49-F238E27FC236}">
                <a16:creationId xmlns:a16="http://schemas.microsoft.com/office/drawing/2014/main" id="{0E576022-6E0B-8B45-82A4-5B378EE79A21}"/>
              </a:ext>
            </a:extLst>
          </p:cNvPr>
          <p:cNvGrpSpPr/>
          <p:nvPr userDrawn="1"/>
        </p:nvGrpSpPr>
        <p:grpSpPr>
          <a:xfrm>
            <a:off x="0" y="5297035"/>
            <a:ext cx="12192000" cy="304801"/>
            <a:chOff x="0" y="4254505"/>
            <a:chExt cx="12192000" cy="304801"/>
          </a:xfrm>
        </p:grpSpPr>
        <p:grpSp>
          <p:nvGrpSpPr>
            <p:cNvPr id="326" name="Group 325">
              <a:extLst>
                <a:ext uri="{FF2B5EF4-FFF2-40B4-BE49-F238E27FC236}">
                  <a16:creationId xmlns:a16="http://schemas.microsoft.com/office/drawing/2014/main" id="{4DAA919D-F34E-FF43-A568-E3081ADC91D8}"/>
                </a:ext>
              </a:extLst>
            </p:cNvPr>
            <p:cNvGrpSpPr/>
            <p:nvPr userDrawn="1"/>
          </p:nvGrpSpPr>
          <p:grpSpPr>
            <a:xfrm>
              <a:off x="152400" y="4254505"/>
              <a:ext cx="11887200" cy="304801"/>
              <a:chOff x="325695" y="4038600"/>
              <a:chExt cx="7555116" cy="304801"/>
            </a:xfrm>
          </p:grpSpPr>
          <p:sp>
            <p:nvSpPr>
              <p:cNvPr id="347" name="Rectangle 346">
                <a:extLst>
                  <a:ext uri="{FF2B5EF4-FFF2-40B4-BE49-F238E27FC236}">
                    <a16:creationId xmlns:a16="http://schemas.microsoft.com/office/drawing/2014/main" id="{2A515182-556A-4148-919D-DA6C41B2B82A}"/>
                  </a:ext>
                </a:extLst>
              </p:cNvPr>
              <p:cNvSpPr/>
              <p:nvPr userDrawn="1"/>
            </p:nvSpPr>
            <p:spPr>
              <a:xfrm>
                <a:off x="325695" y="4038601"/>
                <a:ext cx="2518372" cy="304800"/>
              </a:xfrm>
              <a:prstGeom prst="rect">
                <a:avLst/>
              </a:prstGeom>
              <a:solidFill>
                <a:srgbClr val="A5172E">
                  <a:lumMod val="20000"/>
                  <a:lumOff val="8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48" name="Rectangle 347">
                <a:extLst>
                  <a:ext uri="{FF2B5EF4-FFF2-40B4-BE49-F238E27FC236}">
                    <a16:creationId xmlns:a16="http://schemas.microsoft.com/office/drawing/2014/main" id="{2D5D4001-8E66-144D-92CA-7D645E8843C3}"/>
                  </a:ext>
                </a:extLst>
              </p:cNvPr>
              <p:cNvSpPr/>
              <p:nvPr userDrawn="1"/>
            </p:nvSpPr>
            <p:spPr>
              <a:xfrm>
                <a:off x="2844067" y="4038600"/>
                <a:ext cx="2518372" cy="304800"/>
              </a:xfrm>
              <a:prstGeom prst="rect">
                <a:avLst/>
              </a:prstGeom>
              <a:solidFill>
                <a:srgbClr val="A5172E">
                  <a:lumMod val="40000"/>
                  <a:lumOff val="6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49" name="Rectangle 348">
                <a:extLst>
                  <a:ext uri="{FF2B5EF4-FFF2-40B4-BE49-F238E27FC236}">
                    <a16:creationId xmlns:a16="http://schemas.microsoft.com/office/drawing/2014/main" id="{1F915BF6-6801-F445-8447-829313D55DE1}"/>
                  </a:ext>
                </a:extLst>
              </p:cNvPr>
              <p:cNvSpPr/>
              <p:nvPr userDrawn="1"/>
            </p:nvSpPr>
            <p:spPr>
              <a:xfrm>
                <a:off x="5362439" y="4038600"/>
                <a:ext cx="2518372" cy="304800"/>
              </a:xfrm>
              <a:prstGeom prst="rect">
                <a:avLst/>
              </a:prstGeom>
              <a:solidFill>
                <a:srgbClr val="A5172E">
                  <a:lumMod val="20000"/>
                  <a:lumOff val="8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327" name="Group 326">
              <a:extLst>
                <a:ext uri="{FF2B5EF4-FFF2-40B4-BE49-F238E27FC236}">
                  <a16:creationId xmlns:a16="http://schemas.microsoft.com/office/drawing/2014/main" id="{924C16AD-FBFC-F340-B828-919BD2EB7ACC}"/>
                </a:ext>
              </a:extLst>
            </p:cNvPr>
            <p:cNvGrpSpPr/>
            <p:nvPr userDrawn="1"/>
          </p:nvGrpSpPr>
          <p:grpSpPr>
            <a:xfrm>
              <a:off x="0" y="4254505"/>
              <a:ext cx="304800" cy="304800"/>
              <a:chOff x="4748283" y="3386554"/>
              <a:chExt cx="548640" cy="548640"/>
            </a:xfrm>
          </p:grpSpPr>
          <p:sp>
            <p:nvSpPr>
              <p:cNvPr id="343" name="Rectangle 342">
                <a:extLst>
                  <a:ext uri="{FF2B5EF4-FFF2-40B4-BE49-F238E27FC236}">
                    <a16:creationId xmlns:a16="http://schemas.microsoft.com/office/drawing/2014/main" id="{ABBD8C40-0074-E640-A619-5210E92593E7}"/>
                  </a:ext>
                </a:extLst>
              </p:cNvPr>
              <p:cNvSpPr/>
              <p:nvPr userDrawn="1"/>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44" name="Rectangle 343">
                <a:extLst>
                  <a:ext uri="{FF2B5EF4-FFF2-40B4-BE49-F238E27FC236}">
                    <a16:creationId xmlns:a16="http://schemas.microsoft.com/office/drawing/2014/main" id="{72E87A34-33CB-954D-BE63-B41FB54B8CE2}"/>
                  </a:ext>
                </a:extLst>
              </p:cNvPr>
              <p:cNvSpPr/>
              <p:nvPr userDrawn="1"/>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45" name="Rectangle 344">
                <a:extLst>
                  <a:ext uri="{FF2B5EF4-FFF2-40B4-BE49-F238E27FC236}">
                    <a16:creationId xmlns:a16="http://schemas.microsoft.com/office/drawing/2014/main" id="{8FE6B9C8-9996-154E-8F03-D9A578C3FA11}"/>
                  </a:ext>
                </a:extLst>
              </p:cNvPr>
              <p:cNvSpPr/>
              <p:nvPr userDrawn="1"/>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46" name="Rectangle 345">
                <a:extLst>
                  <a:ext uri="{FF2B5EF4-FFF2-40B4-BE49-F238E27FC236}">
                    <a16:creationId xmlns:a16="http://schemas.microsoft.com/office/drawing/2014/main" id="{88B4C5A1-0216-EE40-A0A9-1EFEB8C937C0}"/>
                  </a:ext>
                </a:extLst>
              </p:cNvPr>
              <p:cNvSpPr/>
              <p:nvPr userDrawn="1"/>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328" name="Group 327">
              <a:extLst>
                <a:ext uri="{FF2B5EF4-FFF2-40B4-BE49-F238E27FC236}">
                  <a16:creationId xmlns:a16="http://schemas.microsoft.com/office/drawing/2014/main" id="{5691AEF5-BAF9-2940-A428-476354829BBB}"/>
                </a:ext>
              </a:extLst>
            </p:cNvPr>
            <p:cNvGrpSpPr/>
            <p:nvPr userDrawn="1"/>
          </p:nvGrpSpPr>
          <p:grpSpPr>
            <a:xfrm>
              <a:off x="11887200" y="4254505"/>
              <a:ext cx="304800" cy="304800"/>
              <a:chOff x="11887200" y="3048000"/>
              <a:chExt cx="304800" cy="304800"/>
            </a:xfrm>
          </p:grpSpPr>
          <p:sp>
            <p:nvSpPr>
              <p:cNvPr id="339" name="Rectangle 338">
                <a:extLst>
                  <a:ext uri="{FF2B5EF4-FFF2-40B4-BE49-F238E27FC236}">
                    <a16:creationId xmlns:a16="http://schemas.microsoft.com/office/drawing/2014/main" id="{B7FCFCF0-CCF5-CB4C-A24B-79879CFEAB60}"/>
                  </a:ext>
                </a:extLst>
              </p:cNvPr>
              <p:cNvSpPr/>
              <p:nvPr userDrawn="1"/>
            </p:nvSpPr>
            <p:spPr>
              <a:xfrm>
                <a:off x="12039600" y="3200400"/>
                <a:ext cx="152400" cy="15240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40" name="Rectangle 339">
                <a:extLst>
                  <a:ext uri="{FF2B5EF4-FFF2-40B4-BE49-F238E27FC236}">
                    <a16:creationId xmlns:a16="http://schemas.microsoft.com/office/drawing/2014/main" id="{5EC303BA-EB59-6B45-A4AA-0FBB43856C1D}"/>
                  </a:ext>
                </a:extLst>
              </p:cNvPr>
              <p:cNvSpPr/>
              <p:nvPr userDrawn="1"/>
            </p:nvSpPr>
            <p:spPr>
              <a:xfrm>
                <a:off x="11887200" y="3200400"/>
                <a:ext cx="152400" cy="15240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41" name="Rectangle 340">
                <a:extLst>
                  <a:ext uri="{FF2B5EF4-FFF2-40B4-BE49-F238E27FC236}">
                    <a16:creationId xmlns:a16="http://schemas.microsoft.com/office/drawing/2014/main" id="{609F1807-73B8-2046-A52B-7F5C9E3F8D6C}"/>
                  </a:ext>
                </a:extLst>
              </p:cNvPr>
              <p:cNvSpPr/>
              <p:nvPr userDrawn="1"/>
            </p:nvSpPr>
            <p:spPr>
              <a:xfrm>
                <a:off x="12039600" y="3048000"/>
                <a:ext cx="152400" cy="15240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42" name="Rectangle 341">
                <a:extLst>
                  <a:ext uri="{FF2B5EF4-FFF2-40B4-BE49-F238E27FC236}">
                    <a16:creationId xmlns:a16="http://schemas.microsoft.com/office/drawing/2014/main" id="{D64A44CB-312C-8D43-BADC-9C25A65786B7}"/>
                  </a:ext>
                </a:extLst>
              </p:cNvPr>
              <p:cNvSpPr/>
              <p:nvPr userDrawn="1"/>
            </p:nvSpPr>
            <p:spPr>
              <a:xfrm>
                <a:off x="11887200" y="3048000"/>
                <a:ext cx="152400" cy="15240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329" name="Group 328">
              <a:extLst>
                <a:ext uri="{FF2B5EF4-FFF2-40B4-BE49-F238E27FC236}">
                  <a16:creationId xmlns:a16="http://schemas.microsoft.com/office/drawing/2014/main" id="{75DD42A7-110A-8A43-9999-FC5F6F629D9D}"/>
                </a:ext>
              </a:extLst>
            </p:cNvPr>
            <p:cNvGrpSpPr/>
            <p:nvPr userDrawn="1"/>
          </p:nvGrpSpPr>
          <p:grpSpPr>
            <a:xfrm>
              <a:off x="3963513" y="4254505"/>
              <a:ext cx="304800" cy="304800"/>
              <a:chOff x="4748283" y="3386554"/>
              <a:chExt cx="548640" cy="548640"/>
            </a:xfrm>
          </p:grpSpPr>
          <p:sp>
            <p:nvSpPr>
              <p:cNvPr id="335" name="Rectangle 334">
                <a:extLst>
                  <a:ext uri="{FF2B5EF4-FFF2-40B4-BE49-F238E27FC236}">
                    <a16:creationId xmlns:a16="http://schemas.microsoft.com/office/drawing/2014/main" id="{C2398D84-85F4-C846-A0B4-FDF603CF7ED5}"/>
                  </a:ext>
                </a:extLst>
              </p:cNvPr>
              <p:cNvSpPr/>
              <p:nvPr userDrawn="1"/>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36" name="Rectangle 335">
                <a:extLst>
                  <a:ext uri="{FF2B5EF4-FFF2-40B4-BE49-F238E27FC236}">
                    <a16:creationId xmlns:a16="http://schemas.microsoft.com/office/drawing/2014/main" id="{D89F6546-9921-1C4E-BC58-54CFEB3CD55B}"/>
                  </a:ext>
                </a:extLst>
              </p:cNvPr>
              <p:cNvSpPr/>
              <p:nvPr userDrawn="1"/>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37" name="Rectangle 336">
                <a:extLst>
                  <a:ext uri="{FF2B5EF4-FFF2-40B4-BE49-F238E27FC236}">
                    <a16:creationId xmlns:a16="http://schemas.microsoft.com/office/drawing/2014/main" id="{707F94D7-D94A-9341-9171-18F4E7328C50}"/>
                  </a:ext>
                </a:extLst>
              </p:cNvPr>
              <p:cNvSpPr/>
              <p:nvPr userDrawn="1"/>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38" name="Rectangle 337">
                <a:extLst>
                  <a:ext uri="{FF2B5EF4-FFF2-40B4-BE49-F238E27FC236}">
                    <a16:creationId xmlns:a16="http://schemas.microsoft.com/office/drawing/2014/main" id="{66B27AC9-65B0-4F45-B844-7C3544A7BA55}"/>
                  </a:ext>
                </a:extLst>
              </p:cNvPr>
              <p:cNvSpPr/>
              <p:nvPr userDrawn="1"/>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330" name="Group 329">
              <a:extLst>
                <a:ext uri="{FF2B5EF4-FFF2-40B4-BE49-F238E27FC236}">
                  <a16:creationId xmlns:a16="http://schemas.microsoft.com/office/drawing/2014/main" id="{FA980631-C869-934C-B0D5-27911A2317B3}"/>
                </a:ext>
              </a:extLst>
            </p:cNvPr>
            <p:cNvGrpSpPr/>
            <p:nvPr userDrawn="1"/>
          </p:nvGrpSpPr>
          <p:grpSpPr>
            <a:xfrm>
              <a:off x="7929263" y="4254505"/>
              <a:ext cx="304800" cy="304800"/>
              <a:chOff x="4748283" y="3386554"/>
              <a:chExt cx="548640" cy="548640"/>
            </a:xfrm>
          </p:grpSpPr>
          <p:sp>
            <p:nvSpPr>
              <p:cNvPr id="331" name="Rectangle 330">
                <a:extLst>
                  <a:ext uri="{FF2B5EF4-FFF2-40B4-BE49-F238E27FC236}">
                    <a16:creationId xmlns:a16="http://schemas.microsoft.com/office/drawing/2014/main" id="{406CDF3A-4352-B447-B53D-478B3765F657}"/>
                  </a:ext>
                </a:extLst>
              </p:cNvPr>
              <p:cNvSpPr/>
              <p:nvPr userDrawn="1"/>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32" name="Rectangle 331">
                <a:extLst>
                  <a:ext uri="{FF2B5EF4-FFF2-40B4-BE49-F238E27FC236}">
                    <a16:creationId xmlns:a16="http://schemas.microsoft.com/office/drawing/2014/main" id="{7D0AEF00-0DAE-8A4C-9382-FCE02F7929B8}"/>
                  </a:ext>
                </a:extLst>
              </p:cNvPr>
              <p:cNvSpPr/>
              <p:nvPr userDrawn="1"/>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33" name="Rectangle 332">
                <a:extLst>
                  <a:ext uri="{FF2B5EF4-FFF2-40B4-BE49-F238E27FC236}">
                    <a16:creationId xmlns:a16="http://schemas.microsoft.com/office/drawing/2014/main" id="{208533B0-3964-7F44-8026-7A9BA18798F4}"/>
                  </a:ext>
                </a:extLst>
              </p:cNvPr>
              <p:cNvSpPr/>
              <p:nvPr userDrawn="1"/>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34" name="Rectangle 333">
                <a:extLst>
                  <a:ext uri="{FF2B5EF4-FFF2-40B4-BE49-F238E27FC236}">
                    <a16:creationId xmlns:a16="http://schemas.microsoft.com/office/drawing/2014/main" id="{79B47363-1A18-3F4B-B904-4529B699E14B}"/>
                  </a:ext>
                </a:extLst>
              </p:cNvPr>
              <p:cNvSpPr/>
              <p:nvPr userDrawn="1"/>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350" name="Group 349">
            <a:extLst>
              <a:ext uri="{FF2B5EF4-FFF2-40B4-BE49-F238E27FC236}">
                <a16:creationId xmlns:a16="http://schemas.microsoft.com/office/drawing/2014/main" id="{550F5060-BDEE-9744-B34D-FB646DB2A2C9}"/>
              </a:ext>
            </a:extLst>
          </p:cNvPr>
          <p:cNvGrpSpPr/>
          <p:nvPr userDrawn="1"/>
        </p:nvGrpSpPr>
        <p:grpSpPr>
          <a:xfrm>
            <a:off x="0" y="4655680"/>
            <a:ext cx="12192000" cy="304801"/>
            <a:chOff x="0" y="3448053"/>
            <a:chExt cx="12192000" cy="304801"/>
          </a:xfrm>
        </p:grpSpPr>
        <p:grpSp>
          <p:nvGrpSpPr>
            <p:cNvPr id="351" name="Group 350">
              <a:extLst>
                <a:ext uri="{FF2B5EF4-FFF2-40B4-BE49-F238E27FC236}">
                  <a16:creationId xmlns:a16="http://schemas.microsoft.com/office/drawing/2014/main" id="{FF358C1B-964E-5C4E-B16C-3E18CE9CC942}"/>
                </a:ext>
              </a:extLst>
            </p:cNvPr>
            <p:cNvGrpSpPr/>
            <p:nvPr userDrawn="1"/>
          </p:nvGrpSpPr>
          <p:grpSpPr>
            <a:xfrm>
              <a:off x="152400" y="3448053"/>
              <a:ext cx="11887200" cy="304801"/>
              <a:chOff x="152400" y="4256566"/>
              <a:chExt cx="9591040" cy="304801"/>
            </a:xfrm>
          </p:grpSpPr>
          <p:sp>
            <p:nvSpPr>
              <p:cNvPr id="377" name="Rectangle 376">
                <a:extLst>
                  <a:ext uri="{FF2B5EF4-FFF2-40B4-BE49-F238E27FC236}">
                    <a16:creationId xmlns:a16="http://schemas.microsoft.com/office/drawing/2014/main" id="{409746C0-0633-8440-B5CF-DE04D82AFA84}"/>
                  </a:ext>
                </a:extLst>
              </p:cNvPr>
              <p:cNvSpPr/>
              <p:nvPr userDrawn="1"/>
            </p:nvSpPr>
            <p:spPr>
              <a:xfrm>
                <a:off x="152400" y="4256567"/>
                <a:ext cx="2397760" cy="304800"/>
              </a:xfrm>
              <a:prstGeom prst="rect">
                <a:avLst/>
              </a:prstGeom>
              <a:solidFill>
                <a:srgbClr val="A5172E">
                  <a:lumMod val="20000"/>
                  <a:lumOff val="8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78" name="Rectangle 377">
                <a:extLst>
                  <a:ext uri="{FF2B5EF4-FFF2-40B4-BE49-F238E27FC236}">
                    <a16:creationId xmlns:a16="http://schemas.microsoft.com/office/drawing/2014/main" id="{EB4B500C-F4AE-FC44-9061-B7345B89902B}"/>
                  </a:ext>
                </a:extLst>
              </p:cNvPr>
              <p:cNvSpPr/>
              <p:nvPr userDrawn="1"/>
            </p:nvSpPr>
            <p:spPr>
              <a:xfrm>
                <a:off x="2550160" y="4256566"/>
                <a:ext cx="2397760" cy="304800"/>
              </a:xfrm>
              <a:prstGeom prst="rect">
                <a:avLst/>
              </a:prstGeom>
              <a:solidFill>
                <a:srgbClr val="A5172E">
                  <a:lumMod val="40000"/>
                  <a:lumOff val="6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79" name="Rectangle 378">
                <a:extLst>
                  <a:ext uri="{FF2B5EF4-FFF2-40B4-BE49-F238E27FC236}">
                    <a16:creationId xmlns:a16="http://schemas.microsoft.com/office/drawing/2014/main" id="{0BF1E544-C1F3-ED4B-81EF-A461690F54E8}"/>
                  </a:ext>
                </a:extLst>
              </p:cNvPr>
              <p:cNvSpPr/>
              <p:nvPr userDrawn="1"/>
            </p:nvSpPr>
            <p:spPr>
              <a:xfrm>
                <a:off x="4947920" y="4256566"/>
                <a:ext cx="2397760" cy="304800"/>
              </a:xfrm>
              <a:prstGeom prst="rect">
                <a:avLst/>
              </a:prstGeom>
              <a:solidFill>
                <a:srgbClr val="A5172E">
                  <a:lumMod val="20000"/>
                  <a:lumOff val="8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80" name="Rectangle 379">
                <a:extLst>
                  <a:ext uri="{FF2B5EF4-FFF2-40B4-BE49-F238E27FC236}">
                    <a16:creationId xmlns:a16="http://schemas.microsoft.com/office/drawing/2014/main" id="{12BC584E-CCB4-E54D-B49E-9B06C53D232C}"/>
                  </a:ext>
                </a:extLst>
              </p:cNvPr>
              <p:cNvSpPr/>
              <p:nvPr userDrawn="1"/>
            </p:nvSpPr>
            <p:spPr>
              <a:xfrm>
                <a:off x="7345680" y="4256566"/>
                <a:ext cx="2397760" cy="304800"/>
              </a:xfrm>
              <a:prstGeom prst="rect">
                <a:avLst/>
              </a:prstGeom>
              <a:solidFill>
                <a:srgbClr val="A5172E">
                  <a:lumMod val="40000"/>
                  <a:lumOff val="6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352" name="Group 351">
              <a:extLst>
                <a:ext uri="{FF2B5EF4-FFF2-40B4-BE49-F238E27FC236}">
                  <a16:creationId xmlns:a16="http://schemas.microsoft.com/office/drawing/2014/main" id="{556235CC-2B49-304B-9713-0FD3E8F93696}"/>
                </a:ext>
              </a:extLst>
            </p:cNvPr>
            <p:cNvGrpSpPr/>
            <p:nvPr userDrawn="1"/>
          </p:nvGrpSpPr>
          <p:grpSpPr>
            <a:xfrm>
              <a:off x="0" y="3448053"/>
              <a:ext cx="304800" cy="304800"/>
              <a:chOff x="4748283" y="3386554"/>
              <a:chExt cx="548640" cy="548640"/>
            </a:xfrm>
          </p:grpSpPr>
          <p:sp>
            <p:nvSpPr>
              <p:cNvPr id="373" name="Rectangle 372">
                <a:extLst>
                  <a:ext uri="{FF2B5EF4-FFF2-40B4-BE49-F238E27FC236}">
                    <a16:creationId xmlns:a16="http://schemas.microsoft.com/office/drawing/2014/main" id="{D7097BE8-35D2-2746-887D-B177FD2F8D1B}"/>
                  </a:ext>
                </a:extLst>
              </p:cNvPr>
              <p:cNvSpPr/>
              <p:nvPr userDrawn="1"/>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74" name="Rectangle 373">
                <a:extLst>
                  <a:ext uri="{FF2B5EF4-FFF2-40B4-BE49-F238E27FC236}">
                    <a16:creationId xmlns:a16="http://schemas.microsoft.com/office/drawing/2014/main" id="{2ECE0126-EDDD-DD44-B0D0-CD7391099683}"/>
                  </a:ext>
                </a:extLst>
              </p:cNvPr>
              <p:cNvSpPr/>
              <p:nvPr userDrawn="1"/>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75" name="Rectangle 374">
                <a:extLst>
                  <a:ext uri="{FF2B5EF4-FFF2-40B4-BE49-F238E27FC236}">
                    <a16:creationId xmlns:a16="http://schemas.microsoft.com/office/drawing/2014/main" id="{CFBA5FA6-DEB5-9E4A-BBE4-396D213C732E}"/>
                  </a:ext>
                </a:extLst>
              </p:cNvPr>
              <p:cNvSpPr/>
              <p:nvPr userDrawn="1"/>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76" name="Rectangle 375">
                <a:extLst>
                  <a:ext uri="{FF2B5EF4-FFF2-40B4-BE49-F238E27FC236}">
                    <a16:creationId xmlns:a16="http://schemas.microsoft.com/office/drawing/2014/main" id="{43C3D7A8-8484-C149-879F-B9EAF5420993}"/>
                  </a:ext>
                </a:extLst>
              </p:cNvPr>
              <p:cNvSpPr/>
              <p:nvPr userDrawn="1"/>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353" name="Group 352">
              <a:extLst>
                <a:ext uri="{FF2B5EF4-FFF2-40B4-BE49-F238E27FC236}">
                  <a16:creationId xmlns:a16="http://schemas.microsoft.com/office/drawing/2014/main" id="{C69CF5F1-8CF6-A04A-8284-4F2839B94399}"/>
                </a:ext>
              </a:extLst>
            </p:cNvPr>
            <p:cNvGrpSpPr/>
            <p:nvPr userDrawn="1"/>
          </p:nvGrpSpPr>
          <p:grpSpPr>
            <a:xfrm>
              <a:off x="11887200" y="3448053"/>
              <a:ext cx="304800" cy="304800"/>
              <a:chOff x="11887200" y="3048000"/>
              <a:chExt cx="304800" cy="304800"/>
            </a:xfrm>
          </p:grpSpPr>
          <p:sp>
            <p:nvSpPr>
              <p:cNvPr id="369" name="Rectangle 368">
                <a:extLst>
                  <a:ext uri="{FF2B5EF4-FFF2-40B4-BE49-F238E27FC236}">
                    <a16:creationId xmlns:a16="http://schemas.microsoft.com/office/drawing/2014/main" id="{6DC74F9F-DF17-7A42-A69E-A3A4318BA705}"/>
                  </a:ext>
                </a:extLst>
              </p:cNvPr>
              <p:cNvSpPr/>
              <p:nvPr userDrawn="1"/>
            </p:nvSpPr>
            <p:spPr>
              <a:xfrm>
                <a:off x="12039600" y="3200400"/>
                <a:ext cx="152400" cy="15240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70" name="Rectangle 369">
                <a:extLst>
                  <a:ext uri="{FF2B5EF4-FFF2-40B4-BE49-F238E27FC236}">
                    <a16:creationId xmlns:a16="http://schemas.microsoft.com/office/drawing/2014/main" id="{F82F6DBD-1B92-8F44-9ABE-BF11BA0EB50F}"/>
                  </a:ext>
                </a:extLst>
              </p:cNvPr>
              <p:cNvSpPr/>
              <p:nvPr userDrawn="1"/>
            </p:nvSpPr>
            <p:spPr>
              <a:xfrm>
                <a:off x="11887200" y="3200400"/>
                <a:ext cx="152400" cy="15240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71" name="Rectangle 370">
                <a:extLst>
                  <a:ext uri="{FF2B5EF4-FFF2-40B4-BE49-F238E27FC236}">
                    <a16:creationId xmlns:a16="http://schemas.microsoft.com/office/drawing/2014/main" id="{36B84BE6-D1D3-2C4D-B113-FACC434F3138}"/>
                  </a:ext>
                </a:extLst>
              </p:cNvPr>
              <p:cNvSpPr/>
              <p:nvPr userDrawn="1"/>
            </p:nvSpPr>
            <p:spPr>
              <a:xfrm>
                <a:off x="12039600" y="3048000"/>
                <a:ext cx="152400" cy="15240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72" name="Rectangle 371">
                <a:extLst>
                  <a:ext uri="{FF2B5EF4-FFF2-40B4-BE49-F238E27FC236}">
                    <a16:creationId xmlns:a16="http://schemas.microsoft.com/office/drawing/2014/main" id="{53707E28-EBC1-EE47-9A87-B7F889B0A9B9}"/>
                  </a:ext>
                </a:extLst>
              </p:cNvPr>
              <p:cNvSpPr/>
              <p:nvPr userDrawn="1"/>
            </p:nvSpPr>
            <p:spPr>
              <a:xfrm>
                <a:off x="11887200" y="3048000"/>
                <a:ext cx="152400" cy="15240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354" name="Group 353">
              <a:extLst>
                <a:ext uri="{FF2B5EF4-FFF2-40B4-BE49-F238E27FC236}">
                  <a16:creationId xmlns:a16="http://schemas.microsoft.com/office/drawing/2014/main" id="{4FFE9B33-5860-1342-85F8-8499FD08D92D}"/>
                </a:ext>
              </a:extLst>
            </p:cNvPr>
            <p:cNvGrpSpPr/>
            <p:nvPr userDrawn="1"/>
          </p:nvGrpSpPr>
          <p:grpSpPr>
            <a:xfrm>
              <a:off x="2971800" y="3448053"/>
              <a:ext cx="304800" cy="304800"/>
              <a:chOff x="4748283" y="3386554"/>
              <a:chExt cx="548640" cy="548640"/>
            </a:xfrm>
          </p:grpSpPr>
          <p:sp>
            <p:nvSpPr>
              <p:cNvPr id="365" name="Rectangle 364">
                <a:extLst>
                  <a:ext uri="{FF2B5EF4-FFF2-40B4-BE49-F238E27FC236}">
                    <a16:creationId xmlns:a16="http://schemas.microsoft.com/office/drawing/2014/main" id="{0E96C0E4-9DDD-7B46-A150-FE31B0B3406F}"/>
                  </a:ext>
                </a:extLst>
              </p:cNvPr>
              <p:cNvSpPr/>
              <p:nvPr userDrawn="1"/>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66" name="Rectangle 365">
                <a:extLst>
                  <a:ext uri="{FF2B5EF4-FFF2-40B4-BE49-F238E27FC236}">
                    <a16:creationId xmlns:a16="http://schemas.microsoft.com/office/drawing/2014/main" id="{FFBE2D8A-C941-2D4C-A620-16C6BCEED752}"/>
                  </a:ext>
                </a:extLst>
              </p:cNvPr>
              <p:cNvSpPr/>
              <p:nvPr userDrawn="1"/>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67" name="Rectangle 366">
                <a:extLst>
                  <a:ext uri="{FF2B5EF4-FFF2-40B4-BE49-F238E27FC236}">
                    <a16:creationId xmlns:a16="http://schemas.microsoft.com/office/drawing/2014/main" id="{437C5ADA-D5C6-AA49-ABFC-C2BDB1A73DE2}"/>
                  </a:ext>
                </a:extLst>
              </p:cNvPr>
              <p:cNvSpPr/>
              <p:nvPr userDrawn="1"/>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68" name="Rectangle 367">
                <a:extLst>
                  <a:ext uri="{FF2B5EF4-FFF2-40B4-BE49-F238E27FC236}">
                    <a16:creationId xmlns:a16="http://schemas.microsoft.com/office/drawing/2014/main" id="{D5B3DA22-0555-D94D-B9CE-EFFD4D77A953}"/>
                  </a:ext>
                </a:extLst>
              </p:cNvPr>
              <p:cNvSpPr/>
              <p:nvPr userDrawn="1"/>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355" name="Group 354">
              <a:extLst>
                <a:ext uri="{FF2B5EF4-FFF2-40B4-BE49-F238E27FC236}">
                  <a16:creationId xmlns:a16="http://schemas.microsoft.com/office/drawing/2014/main" id="{0C1BF9D2-EC42-454D-9CE6-55A6E4DD7744}"/>
                </a:ext>
              </a:extLst>
            </p:cNvPr>
            <p:cNvGrpSpPr/>
            <p:nvPr userDrawn="1"/>
          </p:nvGrpSpPr>
          <p:grpSpPr>
            <a:xfrm>
              <a:off x="5943600" y="3448053"/>
              <a:ext cx="304800" cy="304800"/>
              <a:chOff x="4748283" y="3386554"/>
              <a:chExt cx="548640" cy="548640"/>
            </a:xfrm>
          </p:grpSpPr>
          <p:sp>
            <p:nvSpPr>
              <p:cNvPr id="361" name="Rectangle 360">
                <a:extLst>
                  <a:ext uri="{FF2B5EF4-FFF2-40B4-BE49-F238E27FC236}">
                    <a16:creationId xmlns:a16="http://schemas.microsoft.com/office/drawing/2014/main" id="{78D1B59D-87FF-2A4C-B245-29B4226A9601}"/>
                  </a:ext>
                </a:extLst>
              </p:cNvPr>
              <p:cNvSpPr/>
              <p:nvPr userDrawn="1"/>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62" name="Rectangle 361">
                <a:extLst>
                  <a:ext uri="{FF2B5EF4-FFF2-40B4-BE49-F238E27FC236}">
                    <a16:creationId xmlns:a16="http://schemas.microsoft.com/office/drawing/2014/main" id="{3DB64E46-B4A5-AE4F-B9CA-78D961D93013}"/>
                  </a:ext>
                </a:extLst>
              </p:cNvPr>
              <p:cNvSpPr/>
              <p:nvPr userDrawn="1"/>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63" name="Rectangle 362">
                <a:extLst>
                  <a:ext uri="{FF2B5EF4-FFF2-40B4-BE49-F238E27FC236}">
                    <a16:creationId xmlns:a16="http://schemas.microsoft.com/office/drawing/2014/main" id="{C230667B-5C71-2A4F-89CA-83AE9C87943F}"/>
                  </a:ext>
                </a:extLst>
              </p:cNvPr>
              <p:cNvSpPr/>
              <p:nvPr userDrawn="1"/>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64" name="Rectangle 363">
                <a:extLst>
                  <a:ext uri="{FF2B5EF4-FFF2-40B4-BE49-F238E27FC236}">
                    <a16:creationId xmlns:a16="http://schemas.microsoft.com/office/drawing/2014/main" id="{DA630AA0-3D34-5C48-AFB4-76E97A625B7B}"/>
                  </a:ext>
                </a:extLst>
              </p:cNvPr>
              <p:cNvSpPr/>
              <p:nvPr userDrawn="1"/>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356" name="Group 355">
              <a:extLst>
                <a:ext uri="{FF2B5EF4-FFF2-40B4-BE49-F238E27FC236}">
                  <a16:creationId xmlns:a16="http://schemas.microsoft.com/office/drawing/2014/main" id="{BFD5BADB-488A-A94F-8D20-EFBC3D598444}"/>
                </a:ext>
              </a:extLst>
            </p:cNvPr>
            <p:cNvGrpSpPr/>
            <p:nvPr userDrawn="1"/>
          </p:nvGrpSpPr>
          <p:grpSpPr>
            <a:xfrm>
              <a:off x="8915400" y="3448053"/>
              <a:ext cx="304800" cy="304800"/>
              <a:chOff x="4748283" y="3386554"/>
              <a:chExt cx="548640" cy="548640"/>
            </a:xfrm>
          </p:grpSpPr>
          <p:sp>
            <p:nvSpPr>
              <p:cNvPr id="357" name="Rectangle 356">
                <a:extLst>
                  <a:ext uri="{FF2B5EF4-FFF2-40B4-BE49-F238E27FC236}">
                    <a16:creationId xmlns:a16="http://schemas.microsoft.com/office/drawing/2014/main" id="{59B34A33-4617-B14B-A914-D9F3EA82C41F}"/>
                  </a:ext>
                </a:extLst>
              </p:cNvPr>
              <p:cNvSpPr/>
              <p:nvPr userDrawn="1"/>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58" name="Rectangle 357">
                <a:extLst>
                  <a:ext uri="{FF2B5EF4-FFF2-40B4-BE49-F238E27FC236}">
                    <a16:creationId xmlns:a16="http://schemas.microsoft.com/office/drawing/2014/main" id="{CDABBDD7-97EF-2348-9DD6-8F03290DFE79}"/>
                  </a:ext>
                </a:extLst>
              </p:cNvPr>
              <p:cNvSpPr/>
              <p:nvPr userDrawn="1"/>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59" name="Rectangle 358">
                <a:extLst>
                  <a:ext uri="{FF2B5EF4-FFF2-40B4-BE49-F238E27FC236}">
                    <a16:creationId xmlns:a16="http://schemas.microsoft.com/office/drawing/2014/main" id="{8FC44D92-36F7-5649-A759-0323F393CD43}"/>
                  </a:ext>
                </a:extLst>
              </p:cNvPr>
              <p:cNvSpPr/>
              <p:nvPr userDrawn="1"/>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60" name="Rectangle 359">
                <a:extLst>
                  <a:ext uri="{FF2B5EF4-FFF2-40B4-BE49-F238E27FC236}">
                    <a16:creationId xmlns:a16="http://schemas.microsoft.com/office/drawing/2014/main" id="{F91DAB7A-F766-F74E-ABBF-E2FB7A3CF921}"/>
                  </a:ext>
                </a:extLst>
              </p:cNvPr>
              <p:cNvSpPr/>
              <p:nvPr userDrawn="1"/>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381" name="Group 380">
            <a:extLst>
              <a:ext uri="{FF2B5EF4-FFF2-40B4-BE49-F238E27FC236}">
                <a16:creationId xmlns:a16="http://schemas.microsoft.com/office/drawing/2014/main" id="{E8110913-9069-DA4C-AA5A-860C663EEF8C}"/>
              </a:ext>
            </a:extLst>
          </p:cNvPr>
          <p:cNvGrpSpPr/>
          <p:nvPr userDrawn="1"/>
        </p:nvGrpSpPr>
        <p:grpSpPr>
          <a:xfrm>
            <a:off x="0" y="4019095"/>
            <a:ext cx="12192000" cy="304801"/>
            <a:chOff x="0" y="2679694"/>
            <a:chExt cx="12192000" cy="304801"/>
          </a:xfrm>
        </p:grpSpPr>
        <p:grpSp>
          <p:nvGrpSpPr>
            <p:cNvPr id="382" name="Group 381">
              <a:extLst>
                <a:ext uri="{FF2B5EF4-FFF2-40B4-BE49-F238E27FC236}">
                  <a16:creationId xmlns:a16="http://schemas.microsoft.com/office/drawing/2014/main" id="{36951F49-5417-EB45-B0D4-BA551A17CAB3}"/>
                </a:ext>
              </a:extLst>
            </p:cNvPr>
            <p:cNvGrpSpPr/>
            <p:nvPr userDrawn="1"/>
          </p:nvGrpSpPr>
          <p:grpSpPr>
            <a:xfrm>
              <a:off x="152400" y="2679694"/>
              <a:ext cx="11887200" cy="304801"/>
              <a:chOff x="152400" y="2946388"/>
              <a:chExt cx="14859000" cy="304801"/>
            </a:xfrm>
          </p:grpSpPr>
          <p:sp>
            <p:nvSpPr>
              <p:cNvPr id="413" name="Rectangle 412">
                <a:extLst>
                  <a:ext uri="{FF2B5EF4-FFF2-40B4-BE49-F238E27FC236}">
                    <a16:creationId xmlns:a16="http://schemas.microsoft.com/office/drawing/2014/main" id="{3C0DCD00-016C-8249-9E41-079096AFB3A6}"/>
                  </a:ext>
                </a:extLst>
              </p:cNvPr>
              <p:cNvSpPr/>
              <p:nvPr userDrawn="1"/>
            </p:nvSpPr>
            <p:spPr>
              <a:xfrm>
                <a:off x="152400" y="2946389"/>
                <a:ext cx="2971800" cy="304800"/>
              </a:xfrm>
              <a:prstGeom prst="rect">
                <a:avLst/>
              </a:prstGeom>
              <a:solidFill>
                <a:srgbClr val="A5172E">
                  <a:lumMod val="20000"/>
                  <a:lumOff val="8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14" name="Rectangle 413">
                <a:extLst>
                  <a:ext uri="{FF2B5EF4-FFF2-40B4-BE49-F238E27FC236}">
                    <a16:creationId xmlns:a16="http://schemas.microsoft.com/office/drawing/2014/main" id="{7D5C5BF9-225C-0945-9BD8-811FED6F7C6C}"/>
                  </a:ext>
                </a:extLst>
              </p:cNvPr>
              <p:cNvSpPr/>
              <p:nvPr userDrawn="1"/>
            </p:nvSpPr>
            <p:spPr>
              <a:xfrm>
                <a:off x="3124200" y="2946388"/>
                <a:ext cx="2971800" cy="304800"/>
              </a:xfrm>
              <a:prstGeom prst="rect">
                <a:avLst/>
              </a:prstGeom>
              <a:solidFill>
                <a:srgbClr val="A5172E">
                  <a:lumMod val="40000"/>
                  <a:lumOff val="6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15" name="Rectangle 414">
                <a:extLst>
                  <a:ext uri="{FF2B5EF4-FFF2-40B4-BE49-F238E27FC236}">
                    <a16:creationId xmlns:a16="http://schemas.microsoft.com/office/drawing/2014/main" id="{C63D455F-73BE-A943-8A70-41066037EB15}"/>
                  </a:ext>
                </a:extLst>
              </p:cNvPr>
              <p:cNvSpPr/>
              <p:nvPr userDrawn="1"/>
            </p:nvSpPr>
            <p:spPr>
              <a:xfrm>
                <a:off x="6096000" y="2946388"/>
                <a:ext cx="2971800" cy="304800"/>
              </a:xfrm>
              <a:prstGeom prst="rect">
                <a:avLst/>
              </a:prstGeom>
              <a:solidFill>
                <a:srgbClr val="A5172E">
                  <a:lumMod val="20000"/>
                  <a:lumOff val="8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16" name="Rectangle 415">
                <a:extLst>
                  <a:ext uri="{FF2B5EF4-FFF2-40B4-BE49-F238E27FC236}">
                    <a16:creationId xmlns:a16="http://schemas.microsoft.com/office/drawing/2014/main" id="{29C4F461-3408-F24E-93BE-7BE25C21160B}"/>
                  </a:ext>
                </a:extLst>
              </p:cNvPr>
              <p:cNvSpPr/>
              <p:nvPr userDrawn="1"/>
            </p:nvSpPr>
            <p:spPr>
              <a:xfrm>
                <a:off x="9067800" y="2946388"/>
                <a:ext cx="2971800" cy="304800"/>
              </a:xfrm>
              <a:prstGeom prst="rect">
                <a:avLst/>
              </a:prstGeom>
              <a:solidFill>
                <a:srgbClr val="A5172E">
                  <a:lumMod val="40000"/>
                  <a:lumOff val="6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17" name="Rectangle 416">
                <a:extLst>
                  <a:ext uri="{FF2B5EF4-FFF2-40B4-BE49-F238E27FC236}">
                    <a16:creationId xmlns:a16="http://schemas.microsoft.com/office/drawing/2014/main" id="{B07E25D9-5575-FA46-AE11-B58FECE45D22}"/>
                  </a:ext>
                </a:extLst>
              </p:cNvPr>
              <p:cNvSpPr/>
              <p:nvPr userDrawn="1"/>
            </p:nvSpPr>
            <p:spPr>
              <a:xfrm>
                <a:off x="12039600" y="2946388"/>
                <a:ext cx="2971800" cy="304800"/>
              </a:xfrm>
              <a:prstGeom prst="rect">
                <a:avLst/>
              </a:prstGeom>
              <a:solidFill>
                <a:srgbClr val="A5172E">
                  <a:lumMod val="20000"/>
                  <a:lumOff val="8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383" name="Group 382">
              <a:extLst>
                <a:ext uri="{FF2B5EF4-FFF2-40B4-BE49-F238E27FC236}">
                  <a16:creationId xmlns:a16="http://schemas.microsoft.com/office/drawing/2014/main" id="{CD0FDC72-FC9B-6943-B57B-C01216793CAE}"/>
                </a:ext>
              </a:extLst>
            </p:cNvPr>
            <p:cNvGrpSpPr/>
            <p:nvPr userDrawn="1"/>
          </p:nvGrpSpPr>
          <p:grpSpPr>
            <a:xfrm>
              <a:off x="0" y="2679694"/>
              <a:ext cx="304800" cy="304800"/>
              <a:chOff x="4748283" y="3386554"/>
              <a:chExt cx="548640" cy="548640"/>
            </a:xfrm>
          </p:grpSpPr>
          <p:sp>
            <p:nvSpPr>
              <p:cNvPr id="409" name="Rectangle 408">
                <a:extLst>
                  <a:ext uri="{FF2B5EF4-FFF2-40B4-BE49-F238E27FC236}">
                    <a16:creationId xmlns:a16="http://schemas.microsoft.com/office/drawing/2014/main" id="{1C699F7E-0E09-8B4E-A518-F3812BB194B0}"/>
                  </a:ext>
                </a:extLst>
              </p:cNvPr>
              <p:cNvSpPr/>
              <p:nvPr userDrawn="1"/>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10" name="Rectangle 409">
                <a:extLst>
                  <a:ext uri="{FF2B5EF4-FFF2-40B4-BE49-F238E27FC236}">
                    <a16:creationId xmlns:a16="http://schemas.microsoft.com/office/drawing/2014/main" id="{B8118C01-DA55-9740-B18A-0079C2AAA121}"/>
                  </a:ext>
                </a:extLst>
              </p:cNvPr>
              <p:cNvSpPr/>
              <p:nvPr userDrawn="1"/>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11" name="Rectangle 410">
                <a:extLst>
                  <a:ext uri="{FF2B5EF4-FFF2-40B4-BE49-F238E27FC236}">
                    <a16:creationId xmlns:a16="http://schemas.microsoft.com/office/drawing/2014/main" id="{74B07F51-45D2-EC4D-8FCF-448A0EBB53AE}"/>
                  </a:ext>
                </a:extLst>
              </p:cNvPr>
              <p:cNvSpPr/>
              <p:nvPr userDrawn="1"/>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12" name="Rectangle 411">
                <a:extLst>
                  <a:ext uri="{FF2B5EF4-FFF2-40B4-BE49-F238E27FC236}">
                    <a16:creationId xmlns:a16="http://schemas.microsoft.com/office/drawing/2014/main" id="{38AC2B4E-EE6C-824B-81E8-6C58F3A283DC}"/>
                  </a:ext>
                </a:extLst>
              </p:cNvPr>
              <p:cNvSpPr/>
              <p:nvPr userDrawn="1"/>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384" name="Group 383">
              <a:extLst>
                <a:ext uri="{FF2B5EF4-FFF2-40B4-BE49-F238E27FC236}">
                  <a16:creationId xmlns:a16="http://schemas.microsoft.com/office/drawing/2014/main" id="{CCDC25C0-61FE-A246-8120-D29F16B1BC40}"/>
                </a:ext>
              </a:extLst>
            </p:cNvPr>
            <p:cNvGrpSpPr/>
            <p:nvPr userDrawn="1"/>
          </p:nvGrpSpPr>
          <p:grpSpPr>
            <a:xfrm>
              <a:off x="11887200" y="2679694"/>
              <a:ext cx="304800" cy="304800"/>
              <a:chOff x="11887200" y="3048000"/>
              <a:chExt cx="304800" cy="304800"/>
            </a:xfrm>
          </p:grpSpPr>
          <p:sp>
            <p:nvSpPr>
              <p:cNvPr id="405" name="Rectangle 404">
                <a:extLst>
                  <a:ext uri="{FF2B5EF4-FFF2-40B4-BE49-F238E27FC236}">
                    <a16:creationId xmlns:a16="http://schemas.microsoft.com/office/drawing/2014/main" id="{1D646414-A87B-3B4E-9F53-684910FB6838}"/>
                  </a:ext>
                </a:extLst>
              </p:cNvPr>
              <p:cNvSpPr/>
              <p:nvPr userDrawn="1"/>
            </p:nvSpPr>
            <p:spPr>
              <a:xfrm>
                <a:off x="12039600" y="3200400"/>
                <a:ext cx="152400" cy="15240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06" name="Rectangle 405">
                <a:extLst>
                  <a:ext uri="{FF2B5EF4-FFF2-40B4-BE49-F238E27FC236}">
                    <a16:creationId xmlns:a16="http://schemas.microsoft.com/office/drawing/2014/main" id="{2D7165AC-E3E1-884C-95BA-5093037DF15B}"/>
                  </a:ext>
                </a:extLst>
              </p:cNvPr>
              <p:cNvSpPr/>
              <p:nvPr userDrawn="1"/>
            </p:nvSpPr>
            <p:spPr>
              <a:xfrm>
                <a:off x="11887200" y="3200400"/>
                <a:ext cx="152400" cy="15240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07" name="Rectangle 406">
                <a:extLst>
                  <a:ext uri="{FF2B5EF4-FFF2-40B4-BE49-F238E27FC236}">
                    <a16:creationId xmlns:a16="http://schemas.microsoft.com/office/drawing/2014/main" id="{75293567-A7C0-574E-AFF1-86E2F48DFC84}"/>
                  </a:ext>
                </a:extLst>
              </p:cNvPr>
              <p:cNvSpPr/>
              <p:nvPr userDrawn="1"/>
            </p:nvSpPr>
            <p:spPr>
              <a:xfrm>
                <a:off x="12039600" y="3048000"/>
                <a:ext cx="152400" cy="15240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08" name="Rectangle 407">
                <a:extLst>
                  <a:ext uri="{FF2B5EF4-FFF2-40B4-BE49-F238E27FC236}">
                    <a16:creationId xmlns:a16="http://schemas.microsoft.com/office/drawing/2014/main" id="{26E245A6-6498-E441-94A9-B88A598F627F}"/>
                  </a:ext>
                </a:extLst>
              </p:cNvPr>
              <p:cNvSpPr/>
              <p:nvPr userDrawn="1"/>
            </p:nvSpPr>
            <p:spPr>
              <a:xfrm>
                <a:off x="11887200" y="3048000"/>
                <a:ext cx="152400" cy="15240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385" name="Group 384">
              <a:extLst>
                <a:ext uri="{FF2B5EF4-FFF2-40B4-BE49-F238E27FC236}">
                  <a16:creationId xmlns:a16="http://schemas.microsoft.com/office/drawing/2014/main" id="{989EC034-C725-FA42-90CC-5765123F5A65}"/>
                </a:ext>
              </a:extLst>
            </p:cNvPr>
            <p:cNvGrpSpPr/>
            <p:nvPr userDrawn="1"/>
          </p:nvGrpSpPr>
          <p:grpSpPr>
            <a:xfrm>
              <a:off x="2377440" y="2679694"/>
              <a:ext cx="304800" cy="304800"/>
              <a:chOff x="4748283" y="3386554"/>
              <a:chExt cx="548640" cy="548640"/>
            </a:xfrm>
          </p:grpSpPr>
          <p:sp>
            <p:nvSpPr>
              <p:cNvPr id="401" name="Rectangle 400">
                <a:extLst>
                  <a:ext uri="{FF2B5EF4-FFF2-40B4-BE49-F238E27FC236}">
                    <a16:creationId xmlns:a16="http://schemas.microsoft.com/office/drawing/2014/main" id="{0DDE99E9-598E-0F44-AB53-F02225E90BC7}"/>
                  </a:ext>
                </a:extLst>
              </p:cNvPr>
              <p:cNvSpPr/>
              <p:nvPr userDrawn="1"/>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02" name="Rectangle 401">
                <a:extLst>
                  <a:ext uri="{FF2B5EF4-FFF2-40B4-BE49-F238E27FC236}">
                    <a16:creationId xmlns:a16="http://schemas.microsoft.com/office/drawing/2014/main" id="{A7D19A18-2156-C149-B92D-4FD908CB17A9}"/>
                  </a:ext>
                </a:extLst>
              </p:cNvPr>
              <p:cNvSpPr/>
              <p:nvPr userDrawn="1"/>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03" name="Rectangle 402">
                <a:extLst>
                  <a:ext uri="{FF2B5EF4-FFF2-40B4-BE49-F238E27FC236}">
                    <a16:creationId xmlns:a16="http://schemas.microsoft.com/office/drawing/2014/main" id="{B3F003EA-7D96-E24F-BB9E-9AAE5316A51F}"/>
                  </a:ext>
                </a:extLst>
              </p:cNvPr>
              <p:cNvSpPr/>
              <p:nvPr userDrawn="1"/>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04" name="Rectangle 403">
                <a:extLst>
                  <a:ext uri="{FF2B5EF4-FFF2-40B4-BE49-F238E27FC236}">
                    <a16:creationId xmlns:a16="http://schemas.microsoft.com/office/drawing/2014/main" id="{0DC78CC9-EA57-4B4F-B013-1F7359159C54}"/>
                  </a:ext>
                </a:extLst>
              </p:cNvPr>
              <p:cNvSpPr/>
              <p:nvPr userDrawn="1"/>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386" name="Group 385">
              <a:extLst>
                <a:ext uri="{FF2B5EF4-FFF2-40B4-BE49-F238E27FC236}">
                  <a16:creationId xmlns:a16="http://schemas.microsoft.com/office/drawing/2014/main" id="{AE6D9F72-7FDF-CE4B-838F-B774D274FE81}"/>
                </a:ext>
              </a:extLst>
            </p:cNvPr>
            <p:cNvGrpSpPr/>
            <p:nvPr userDrawn="1"/>
          </p:nvGrpSpPr>
          <p:grpSpPr>
            <a:xfrm>
              <a:off x="4758055" y="2679694"/>
              <a:ext cx="304800" cy="304800"/>
              <a:chOff x="4748283" y="3386554"/>
              <a:chExt cx="548640" cy="548640"/>
            </a:xfrm>
          </p:grpSpPr>
          <p:sp>
            <p:nvSpPr>
              <p:cNvPr id="397" name="Rectangle 396">
                <a:extLst>
                  <a:ext uri="{FF2B5EF4-FFF2-40B4-BE49-F238E27FC236}">
                    <a16:creationId xmlns:a16="http://schemas.microsoft.com/office/drawing/2014/main" id="{D4306F08-E512-C247-AC3A-33B8571D0607}"/>
                  </a:ext>
                </a:extLst>
              </p:cNvPr>
              <p:cNvSpPr/>
              <p:nvPr userDrawn="1"/>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98" name="Rectangle 397">
                <a:extLst>
                  <a:ext uri="{FF2B5EF4-FFF2-40B4-BE49-F238E27FC236}">
                    <a16:creationId xmlns:a16="http://schemas.microsoft.com/office/drawing/2014/main" id="{FBFE0CD7-01DE-9E49-A774-0F480A65A987}"/>
                  </a:ext>
                </a:extLst>
              </p:cNvPr>
              <p:cNvSpPr/>
              <p:nvPr userDrawn="1"/>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99" name="Rectangle 398">
                <a:extLst>
                  <a:ext uri="{FF2B5EF4-FFF2-40B4-BE49-F238E27FC236}">
                    <a16:creationId xmlns:a16="http://schemas.microsoft.com/office/drawing/2014/main" id="{64E61B29-4CCA-D244-BE9E-C336449655D2}"/>
                  </a:ext>
                </a:extLst>
              </p:cNvPr>
              <p:cNvSpPr/>
              <p:nvPr userDrawn="1"/>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00" name="Rectangle 399">
                <a:extLst>
                  <a:ext uri="{FF2B5EF4-FFF2-40B4-BE49-F238E27FC236}">
                    <a16:creationId xmlns:a16="http://schemas.microsoft.com/office/drawing/2014/main" id="{FEF820F9-53F6-7F4C-B259-E4EEC67D3CF1}"/>
                  </a:ext>
                </a:extLst>
              </p:cNvPr>
              <p:cNvSpPr/>
              <p:nvPr userDrawn="1"/>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387" name="Group 386">
              <a:extLst>
                <a:ext uri="{FF2B5EF4-FFF2-40B4-BE49-F238E27FC236}">
                  <a16:creationId xmlns:a16="http://schemas.microsoft.com/office/drawing/2014/main" id="{DDD1F4FD-197A-BA44-8771-712C08E93361}"/>
                </a:ext>
              </a:extLst>
            </p:cNvPr>
            <p:cNvGrpSpPr/>
            <p:nvPr userDrawn="1"/>
          </p:nvGrpSpPr>
          <p:grpSpPr>
            <a:xfrm>
              <a:off x="7129145" y="2679694"/>
              <a:ext cx="304800" cy="304800"/>
              <a:chOff x="4748283" y="3386554"/>
              <a:chExt cx="548640" cy="548640"/>
            </a:xfrm>
          </p:grpSpPr>
          <p:sp>
            <p:nvSpPr>
              <p:cNvPr id="393" name="Rectangle 392">
                <a:extLst>
                  <a:ext uri="{FF2B5EF4-FFF2-40B4-BE49-F238E27FC236}">
                    <a16:creationId xmlns:a16="http://schemas.microsoft.com/office/drawing/2014/main" id="{3233BE51-1EAF-1A41-9AC1-13E1AC9AEBB2}"/>
                  </a:ext>
                </a:extLst>
              </p:cNvPr>
              <p:cNvSpPr/>
              <p:nvPr userDrawn="1"/>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94" name="Rectangle 393">
                <a:extLst>
                  <a:ext uri="{FF2B5EF4-FFF2-40B4-BE49-F238E27FC236}">
                    <a16:creationId xmlns:a16="http://schemas.microsoft.com/office/drawing/2014/main" id="{F509AB97-B09E-0546-9E8C-09437E384CE2}"/>
                  </a:ext>
                </a:extLst>
              </p:cNvPr>
              <p:cNvSpPr/>
              <p:nvPr userDrawn="1"/>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95" name="Rectangle 394">
                <a:extLst>
                  <a:ext uri="{FF2B5EF4-FFF2-40B4-BE49-F238E27FC236}">
                    <a16:creationId xmlns:a16="http://schemas.microsoft.com/office/drawing/2014/main" id="{8BA1AAD5-A563-FB47-87A9-0B94FE6A8C09}"/>
                  </a:ext>
                </a:extLst>
              </p:cNvPr>
              <p:cNvSpPr/>
              <p:nvPr userDrawn="1"/>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96" name="Rectangle 395">
                <a:extLst>
                  <a:ext uri="{FF2B5EF4-FFF2-40B4-BE49-F238E27FC236}">
                    <a16:creationId xmlns:a16="http://schemas.microsoft.com/office/drawing/2014/main" id="{514B41BA-A84E-364A-8308-CF1D949AC83F}"/>
                  </a:ext>
                </a:extLst>
              </p:cNvPr>
              <p:cNvSpPr/>
              <p:nvPr userDrawn="1"/>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388" name="Group 387">
              <a:extLst>
                <a:ext uri="{FF2B5EF4-FFF2-40B4-BE49-F238E27FC236}">
                  <a16:creationId xmlns:a16="http://schemas.microsoft.com/office/drawing/2014/main" id="{D3F98928-573C-0247-BEFC-C171D6C6A2BC}"/>
                </a:ext>
              </a:extLst>
            </p:cNvPr>
            <p:cNvGrpSpPr/>
            <p:nvPr userDrawn="1"/>
          </p:nvGrpSpPr>
          <p:grpSpPr>
            <a:xfrm>
              <a:off x="9509760" y="2679694"/>
              <a:ext cx="304800" cy="304800"/>
              <a:chOff x="4748283" y="3386554"/>
              <a:chExt cx="548640" cy="548640"/>
            </a:xfrm>
          </p:grpSpPr>
          <p:sp>
            <p:nvSpPr>
              <p:cNvPr id="389" name="Rectangle 388">
                <a:extLst>
                  <a:ext uri="{FF2B5EF4-FFF2-40B4-BE49-F238E27FC236}">
                    <a16:creationId xmlns:a16="http://schemas.microsoft.com/office/drawing/2014/main" id="{65B33E1B-D72C-6545-A163-15FE54C9CA79}"/>
                  </a:ext>
                </a:extLst>
              </p:cNvPr>
              <p:cNvSpPr/>
              <p:nvPr userDrawn="1"/>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90" name="Rectangle 389">
                <a:extLst>
                  <a:ext uri="{FF2B5EF4-FFF2-40B4-BE49-F238E27FC236}">
                    <a16:creationId xmlns:a16="http://schemas.microsoft.com/office/drawing/2014/main" id="{21AFCDF0-CBB3-9C45-B0C2-A3F3E5EAF632}"/>
                  </a:ext>
                </a:extLst>
              </p:cNvPr>
              <p:cNvSpPr/>
              <p:nvPr userDrawn="1"/>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91" name="Rectangle 390">
                <a:extLst>
                  <a:ext uri="{FF2B5EF4-FFF2-40B4-BE49-F238E27FC236}">
                    <a16:creationId xmlns:a16="http://schemas.microsoft.com/office/drawing/2014/main" id="{1531E71B-D937-F742-9957-0713B4C42C88}"/>
                  </a:ext>
                </a:extLst>
              </p:cNvPr>
              <p:cNvSpPr/>
              <p:nvPr userDrawn="1"/>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92" name="Rectangle 391">
                <a:extLst>
                  <a:ext uri="{FF2B5EF4-FFF2-40B4-BE49-F238E27FC236}">
                    <a16:creationId xmlns:a16="http://schemas.microsoft.com/office/drawing/2014/main" id="{214FB835-5426-5540-B3AC-57A83A66F095}"/>
                  </a:ext>
                </a:extLst>
              </p:cNvPr>
              <p:cNvSpPr/>
              <p:nvPr userDrawn="1"/>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418" name="Group 417">
            <a:extLst>
              <a:ext uri="{FF2B5EF4-FFF2-40B4-BE49-F238E27FC236}">
                <a16:creationId xmlns:a16="http://schemas.microsoft.com/office/drawing/2014/main" id="{C3FA0D4E-3551-B443-B764-A560BB0F31B4}"/>
              </a:ext>
            </a:extLst>
          </p:cNvPr>
          <p:cNvGrpSpPr/>
          <p:nvPr userDrawn="1"/>
        </p:nvGrpSpPr>
        <p:grpSpPr>
          <a:xfrm>
            <a:off x="0" y="5943602"/>
            <a:ext cx="12192000" cy="304801"/>
            <a:chOff x="0" y="5060956"/>
            <a:chExt cx="12192000" cy="304801"/>
          </a:xfrm>
        </p:grpSpPr>
        <p:grpSp>
          <p:nvGrpSpPr>
            <p:cNvPr id="419" name="Group 418">
              <a:extLst>
                <a:ext uri="{FF2B5EF4-FFF2-40B4-BE49-F238E27FC236}">
                  <a16:creationId xmlns:a16="http://schemas.microsoft.com/office/drawing/2014/main" id="{3ED4F498-0EE3-5340-A78D-81AE3B278C25}"/>
                </a:ext>
              </a:extLst>
            </p:cNvPr>
            <p:cNvGrpSpPr/>
            <p:nvPr userDrawn="1"/>
          </p:nvGrpSpPr>
          <p:grpSpPr>
            <a:xfrm>
              <a:off x="152400" y="5060956"/>
              <a:ext cx="11887200" cy="304801"/>
              <a:chOff x="152400" y="5468945"/>
              <a:chExt cx="5943600" cy="304801"/>
            </a:xfrm>
          </p:grpSpPr>
          <p:sp>
            <p:nvSpPr>
              <p:cNvPr id="435" name="Rectangle 434">
                <a:extLst>
                  <a:ext uri="{FF2B5EF4-FFF2-40B4-BE49-F238E27FC236}">
                    <a16:creationId xmlns:a16="http://schemas.microsoft.com/office/drawing/2014/main" id="{168AE306-A0D3-924E-88F9-CBCC203C5193}"/>
                  </a:ext>
                </a:extLst>
              </p:cNvPr>
              <p:cNvSpPr/>
              <p:nvPr userDrawn="1"/>
            </p:nvSpPr>
            <p:spPr>
              <a:xfrm>
                <a:off x="152400" y="5468946"/>
                <a:ext cx="2971800" cy="304800"/>
              </a:xfrm>
              <a:prstGeom prst="rect">
                <a:avLst/>
              </a:prstGeom>
              <a:solidFill>
                <a:srgbClr val="A5172E">
                  <a:lumMod val="20000"/>
                  <a:lumOff val="8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36" name="Rectangle 435">
                <a:extLst>
                  <a:ext uri="{FF2B5EF4-FFF2-40B4-BE49-F238E27FC236}">
                    <a16:creationId xmlns:a16="http://schemas.microsoft.com/office/drawing/2014/main" id="{A3B192E7-794D-C14E-BC0F-394A020FA684}"/>
                  </a:ext>
                </a:extLst>
              </p:cNvPr>
              <p:cNvSpPr/>
              <p:nvPr userDrawn="1"/>
            </p:nvSpPr>
            <p:spPr>
              <a:xfrm>
                <a:off x="3124200" y="5468945"/>
                <a:ext cx="2971800" cy="304800"/>
              </a:xfrm>
              <a:prstGeom prst="rect">
                <a:avLst/>
              </a:prstGeom>
              <a:solidFill>
                <a:srgbClr val="A5172E">
                  <a:lumMod val="40000"/>
                  <a:lumOff val="6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420" name="Group 419">
              <a:extLst>
                <a:ext uri="{FF2B5EF4-FFF2-40B4-BE49-F238E27FC236}">
                  <a16:creationId xmlns:a16="http://schemas.microsoft.com/office/drawing/2014/main" id="{AD6C7E3C-C334-6F4A-B514-6C52AB007244}"/>
                </a:ext>
              </a:extLst>
            </p:cNvPr>
            <p:cNvGrpSpPr/>
            <p:nvPr userDrawn="1"/>
          </p:nvGrpSpPr>
          <p:grpSpPr>
            <a:xfrm>
              <a:off x="0" y="5060956"/>
              <a:ext cx="304800" cy="304800"/>
              <a:chOff x="4748283" y="3386554"/>
              <a:chExt cx="548640" cy="548640"/>
            </a:xfrm>
          </p:grpSpPr>
          <p:sp>
            <p:nvSpPr>
              <p:cNvPr id="431" name="Rectangle 430">
                <a:extLst>
                  <a:ext uri="{FF2B5EF4-FFF2-40B4-BE49-F238E27FC236}">
                    <a16:creationId xmlns:a16="http://schemas.microsoft.com/office/drawing/2014/main" id="{5D7210F9-038B-204E-B075-F05CEE6F58A4}"/>
                  </a:ext>
                </a:extLst>
              </p:cNvPr>
              <p:cNvSpPr/>
              <p:nvPr userDrawn="1"/>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32" name="Rectangle 431">
                <a:extLst>
                  <a:ext uri="{FF2B5EF4-FFF2-40B4-BE49-F238E27FC236}">
                    <a16:creationId xmlns:a16="http://schemas.microsoft.com/office/drawing/2014/main" id="{B9F22585-23A9-BE4A-8A3D-AB57FE6FB1D1}"/>
                  </a:ext>
                </a:extLst>
              </p:cNvPr>
              <p:cNvSpPr/>
              <p:nvPr userDrawn="1"/>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33" name="Rectangle 432">
                <a:extLst>
                  <a:ext uri="{FF2B5EF4-FFF2-40B4-BE49-F238E27FC236}">
                    <a16:creationId xmlns:a16="http://schemas.microsoft.com/office/drawing/2014/main" id="{67C0138B-AD3C-F24C-A766-18F10DEF3926}"/>
                  </a:ext>
                </a:extLst>
              </p:cNvPr>
              <p:cNvSpPr/>
              <p:nvPr userDrawn="1"/>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34" name="Rectangle 433">
                <a:extLst>
                  <a:ext uri="{FF2B5EF4-FFF2-40B4-BE49-F238E27FC236}">
                    <a16:creationId xmlns:a16="http://schemas.microsoft.com/office/drawing/2014/main" id="{6B65B973-2985-1A46-9D7E-B54790574FFD}"/>
                  </a:ext>
                </a:extLst>
              </p:cNvPr>
              <p:cNvSpPr/>
              <p:nvPr userDrawn="1"/>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421" name="Group 420">
              <a:extLst>
                <a:ext uri="{FF2B5EF4-FFF2-40B4-BE49-F238E27FC236}">
                  <a16:creationId xmlns:a16="http://schemas.microsoft.com/office/drawing/2014/main" id="{89E6048A-324B-7B4A-96E3-0182AFDA4E0F}"/>
                </a:ext>
              </a:extLst>
            </p:cNvPr>
            <p:cNvGrpSpPr/>
            <p:nvPr userDrawn="1"/>
          </p:nvGrpSpPr>
          <p:grpSpPr>
            <a:xfrm>
              <a:off x="11887200" y="5060956"/>
              <a:ext cx="304800" cy="304800"/>
              <a:chOff x="11887200" y="3048000"/>
              <a:chExt cx="304800" cy="304800"/>
            </a:xfrm>
          </p:grpSpPr>
          <p:sp>
            <p:nvSpPr>
              <p:cNvPr id="427" name="Rectangle 426">
                <a:extLst>
                  <a:ext uri="{FF2B5EF4-FFF2-40B4-BE49-F238E27FC236}">
                    <a16:creationId xmlns:a16="http://schemas.microsoft.com/office/drawing/2014/main" id="{35B7F55A-CA3E-6A49-9AAB-B8F4A9806129}"/>
                  </a:ext>
                </a:extLst>
              </p:cNvPr>
              <p:cNvSpPr/>
              <p:nvPr userDrawn="1"/>
            </p:nvSpPr>
            <p:spPr>
              <a:xfrm>
                <a:off x="12039600" y="3200400"/>
                <a:ext cx="152400" cy="15240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28" name="Rectangle 427">
                <a:extLst>
                  <a:ext uri="{FF2B5EF4-FFF2-40B4-BE49-F238E27FC236}">
                    <a16:creationId xmlns:a16="http://schemas.microsoft.com/office/drawing/2014/main" id="{A3353706-2E52-E144-8A63-6273B78CB93E}"/>
                  </a:ext>
                </a:extLst>
              </p:cNvPr>
              <p:cNvSpPr/>
              <p:nvPr userDrawn="1"/>
            </p:nvSpPr>
            <p:spPr>
              <a:xfrm>
                <a:off x="11887200" y="3200400"/>
                <a:ext cx="152400" cy="15240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29" name="Rectangle 428">
                <a:extLst>
                  <a:ext uri="{FF2B5EF4-FFF2-40B4-BE49-F238E27FC236}">
                    <a16:creationId xmlns:a16="http://schemas.microsoft.com/office/drawing/2014/main" id="{DE0C3521-EDAC-1A49-8ED8-2DA7FC9C5BC9}"/>
                  </a:ext>
                </a:extLst>
              </p:cNvPr>
              <p:cNvSpPr/>
              <p:nvPr userDrawn="1"/>
            </p:nvSpPr>
            <p:spPr>
              <a:xfrm>
                <a:off x="12039600" y="3048000"/>
                <a:ext cx="152400" cy="15240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30" name="Rectangle 429">
                <a:extLst>
                  <a:ext uri="{FF2B5EF4-FFF2-40B4-BE49-F238E27FC236}">
                    <a16:creationId xmlns:a16="http://schemas.microsoft.com/office/drawing/2014/main" id="{1B3C97FD-7422-3B49-9A32-5439ECC9129E}"/>
                  </a:ext>
                </a:extLst>
              </p:cNvPr>
              <p:cNvSpPr/>
              <p:nvPr userDrawn="1"/>
            </p:nvSpPr>
            <p:spPr>
              <a:xfrm>
                <a:off x="11887200" y="3048000"/>
                <a:ext cx="152400" cy="15240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422" name="Group 421">
              <a:extLst>
                <a:ext uri="{FF2B5EF4-FFF2-40B4-BE49-F238E27FC236}">
                  <a16:creationId xmlns:a16="http://schemas.microsoft.com/office/drawing/2014/main" id="{13909B4A-16B1-EB41-8EBA-C21C3846E275}"/>
                </a:ext>
              </a:extLst>
            </p:cNvPr>
            <p:cNvGrpSpPr/>
            <p:nvPr userDrawn="1"/>
          </p:nvGrpSpPr>
          <p:grpSpPr>
            <a:xfrm>
              <a:off x="5943600" y="5060956"/>
              <a:ext cx="304800" cy="304800"/>
              <a:chOff x="4748283" y="3386554"/>
              <a:chExt cx="548640" cy="548640"/>
            </a:xfrm>
          </p:grpSpPr>
          <p:sp>
            <p:nvSpPr>
              <p:cNvPr id="423" name="Rectangle 422">
                <a:extLst>
                  <a:ext uri="{FF2B5EF4-FFF2-40B4-BE49-F238E27FC236}">
                    <a16:creationId xmlns:a16="http://schemas.microsoft.com/office/drawing/2014/main" id="{78BBE9C9-671C-F143-A4EA-2DF4B70C6E9E}"/>
                  </a:ext>
                </a:extLst>
              </p:cNvPr>
              <p:cNvSpPr/>
              <p:nvPr userDrawn="1"/>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24" name="Rectangle 423">
                <a:extLst>
                  <a:ext uri="{FF2B5EF4-FFF2-40B4-BE49-F238E27FC236}">
                    <a16:creationId xmlns:a16="http://schemas.microsoft.com/office/drawing/2014/main" id="{D1572C1F-31B0-A449-AF07-F0C75F9333B5}"/>
                  </a:ext>
                </a:extLst>
              </p:cNvPr>
              <p:cNvSpPr/>
              <p:nvPr userDrawn="1"/>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25" name="Rectangle 424">
                <a:extLst>
                  <a:ext uri="{FF2B5EF4-FFF2-40B4-BE49-F238E27FC236}">
                    <a16:creationId xmlns:a16="http://schemas.microsoft.com/office/drawing/2014/main" id="{DA2AA3D6-DE7C-1648-95ED-0FDE1A3715AE}"/>
                  </a:ext>
                </a:extLst>
              </p:cNvPr>
              <p:cNvSpPr/>
              <p:nvPr userDrawn="1"/>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26" name="Rectangle 425">
                <a:extLst>
                  <a:ext uri="{FF2B5EF4-FFF2-40B4-BE49-F238E27FC236}">
                    <a16:creationId xmlns:a16="http://schemas.microsoft.com/office/drawing/2014/main" id="{ED8EFBE5-713C-AE42-B222-0B2BCDBA868C}"/>
                  </a:ext>
                </a:extLst>
              </p:cNvPr>
              <p:cNvSpPr/>
              <p:nvPr userDrawn="1"/>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437" name="Group 436">
            <a:extLst>
              <a:ext uri="{FF2B5EF4-FFF2-40B4-BE49-F238E27FC236}">
                <a16:creationId xmlns:a16="http://schemas.microsoft.com/office/drawing/2014/main" id="{BF14D695-A0CE-114E-8019-2ED18154094C}"/>
              </a:ext>
            </a:extLst>
          </p:cNvPr>
          <p:cNvGrpSpPr/>
          <p:nvPr userDrawn="1"/>
        </p:nvGrpSpPr>
        <p:grpSpPr>
          <a:xfrm>
            <a:off x="0" y="3336770"/>
            <a:ext cx="12192000" cy="304801"/>
            <a:chOff x="0" y="1720842"/>
            <a:chExt cx="12192000" cy="304801"/>
          </a:xfrm>
        </p:grpSpPr>
        <p:grpSp>
          <p:nvGrpSpPr>
            <p:cNvPr id="438" name="Group 437">
              <a:extLst>
                <a:ext uri="{FF2B5EF4-FFF2-40B4-BE49-F238E27FC236}">
                  <a16:creationId xmlns:a16="http://schemas.microsoft.com/office/drawing/2014/main" id="{B258BE61-F68C-6447-A182-49356BB4705F}"/>
                </a:ext>
              </a:extLst>
            </p:cNvPr>
            <p:cNvGrpSpPr/>
            <p:nvPr userDrawn="1"/>
          </p:nvGrpSpPr>
          <p:grpSpPr>
            <a:xfrm>
              <a:off x="152400" y="1720842"/>
              <a:ext cx="11887200" cy="304801"/>
              <a:chOff x="152400" y="1720842"/>
              <a:chExt cx="10226040" cy="304801"/>
            </a:xfrm>
          </p:grpSpPr>
          <p:sp>
            <p:nvSpPr>
              <p:cNvPr id="474" name="Rectangle 473">
                <a:extLst>
                  <a:ext uri="{FF2B5EF4-FFF2-40B4-BE49-F238E27FC236}">
                    <a16:creationId xmlns:a16="http://schemas.microsoft.com/office/drawing/2014/main" id="{2E39ADA9-047C-064C-B38A-58491F27D38A}"/>
                  </a:ext>
                </a:extLst>
              </p:cNvPr>
              <p:cNvSpPr/>
              <p:nvPr userDrawn="1"/>
            </p:nvSpPr>
            <p:spPr>
              <a:xfrm>
                <a:off x="152400" y="1720843"/>
                <a:ext cx="1704340" cy="304800"/>
              </a:xfrm>
              <a:prstGeom prst="rect">
                <a:avLst/>
              </a:prstGeom>
              <a:solidFill>
                <a:srgbClr val="A5172E">
                  <a:lumMod val="20000"/>
                  <a:lumOff val="8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75" name="Rectangle 474">
                <a:extLst>
                  <a:ext uri="{FF2B5EF4-FFF2-40B4-BE49-F238E27FC236}">
                    <a16:creationId xmlns:a16="http://schemas.microsoft.com/office/drawing/2014/main" id="{950CBAF9-139A-444A-99D3-8878A71E1230}"/>
                  </a:ext>
                </a:extLst>
              </p:cNvPr>
              <p:cNvSpPr/>
              <p:nvPr userDrawn="1"/>
            </p:nvSpPr>
            <p:spPr>
              <a:xfrm>
                <a:off x="1856740" y="1720842"/>
                <a:ext cx="1704340" cy="304800"/>
              </a:xfrm>
              <a:prstGeom prst="rect">
                <a:avLst/>
              </a:prstGeom>
              <a:solidFill>
                <a:srgbClr val="A5172E">
                  <a:lumMod val="40000"/>
                  <a:lumOff val="6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76" name="Rectangle 475">
                <a:extLst>
                  <a:ext uri="{FF2B5EF4-FFF2-40B4-BE49-F238E27FC236}">
                    <a16:creationId xmlns:a16="http://schemas.microsoft.com/office/drawing/2014/main" id="{B5A13F0A-72FA-0D47-801F-47CA60E80C0C}"/>
                  </a:ext>
                </a:extLst>
              </p:cNvPr>
              <p:cNvSpPr/>
              <p:nvPr userDrawn="1"/>
            </p:nvSpPr>
            <p:spPr>
              <a:xfrm>
                <a:off x="3561080" y="1720842"/>
                <a:ext cx="1704340" cy="304800"/>
              </a:xfrm>
              <a:prstGeom prst="rect">
                <a:avLst/>
              </a:prstGeom>
              <a:solidFill>
                <a:srgbClr val="A5172E">
                  <a:lumMod val="20000"/>
                  <a:lumOff val="8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77" name="Rectangle 476">
                <a:extLst>
                  <a:ext uri="{FF2B5EF4-FFF2-40B4-BE49-F238E27FC236}">
                    <a16:creationId xmlns:a16="http://schemas.microsoft.com/office/drawing/2014/main" id="{4FEF358F-4817-F64B-8CC4-0FD0C1FABF29}"/>
                  </a:ext>
                </a:extLst>
              </p:cNvPr>
              <p:cNvSpPr/>
              <p:nvPr userDrawn="1"/>
            </p:nvSpPr>
            <p:spPr>
              <a:xfrm>
                <a:off x="5265420" y="1720842"/>
                <a:ext cx="1704340" cy="304800"/>
              </a:xfrm>
              <a:prstGeom prst="rect">
                <a:avLst/>
              </a:prstGeom>
              <a:solidFill>
                <a:srgbClr val="A5172E">
                  <a:lumMod val="40000"/>
                  <a:lumOff val="6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78" name="Rectangle 477">
                <a:extLst>
                  <a:ext uri="{FF2B5EF4-FFF2-40B4-BE49-F238E27FC236}">
                    <a16:creationId xmlns:a16="http://schemas.microsoft.com/office/drawing/2014/main" id="{EFF11427-1778-1747-93D7-55F0840A0284}"/>
                  </a:ext>
                </a:extLst>
              </p:cNvPr>
              <p:cNvSpPr/>
              <p:nvPr userDrawn="1"/>
            </p:nvSpPr>
            <p:spPr>
              <a:xfrm>
                <a:off x="6969760" y="1720842"/>
                <a:ext cx="1704340" cy="304800"/>
              </a:xfrm>
              <a:prstGeom prst="rect">
                <a:avLst/>
              </a:prstGeom>
              <a:solidFill>
                <a:srgbClr val="A5172E">
                  <a:lumMod val="20000"/>
                  <a:lumOff val="8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79" name="Rectangle 478">
                <a:extLst>
                  <a:ext uri="{FF2B5EF4-FFF2-40B4-BE49-F238E27FC236}">
                    <a16:creationId xmlns:a16="http://schemas.microsoft.com/office/drawing/2014/main" id="{F3D80D4E-21FD-8E4F-BCC2-F182D2FB139B}"/>
                  </a:ext>
                </a:extLst>
              </p:cNvPr>
              <p:cNvSpPr/>
              <p:nvPr userDrawn="1"/>
            </p:nvSpPr>
            <p:spPr>
              <a:xfrm>
                <a:off x="8674100" y="1720842"/>
                <a:ext cx="1704340" cy="304800"/>
              </a:xfrm>
              <a:prstGeom prst="rect">
                <a:avLst/>
              </a:prstGeom>
              <a:solidFill>
                <a:srgbClr val="A5172E">
                  <a:lumMod val="40000"/>
                  <a:lumOff val="6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439" name="Group 438">
              <a:extLst>
                <a:ext uri="{FF2B5EF4-FFF2-40B4-BE49-F238E27FC236}">
                  <a16:creationId xmlns:a16="http://schemas.microsoft.com/office/drawing/2014/main" id="{772AB51C-F49A-0A4A-BA0B-000FC84A5867}"/>
                </a:ext>
              </a:extLst>
            </p:cNvPr>
            <p:cNvGrpSpPr/>
            <p:nvPr userDrawn="1"/>
          </p:nvGrpSpPr>
          <p:grpSpPr>
            <a:xfrm>
              <a:off x="0" y="1720842"/>
              <a:ext cx="304800" cy="304800"/>
              <a:chOff x="4748283" y="3386554"/>
              <a:chExt cx="548640" cy="548640"/>
            </a:xfrm>
          </p:grpSpPr>
          <p:sp>
            <p:nvSpPr>
              <p:cNvPr id="470" name="Rectangle 469">
                <a:extLst>
                  <a:ext uri="{FF2B5EF4-FFF2-40B4-BE49-F238E27FC236}">
                    <a16:creationId xmlns:a16="http://schemas.microsoft.com/office/drawing/2014/main" id="{E4A75E68-C0BB-4840-B07F-1D82C5547F73}"/>
                  </a:ext>
                </a:extLst>
              </p:cNvPr>
              <p:cNvSpPr/>
              <p:nvPr userDrawn="1"/>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71" name="Rectangle 470">
                <a:extLst>
                  <a:ext uri="{FF2B5EF4-FFF2-40B4-BE49-F238E27FC236}">
                    <a16:creationId xmlns:a16="http://schemas.microsoft.com/office/drawing/2014/main" id="{8DD8EBE3-10D1-3E44-85FC-03439E297582}"/>
                  </a:ext>
                </a:extLst>
              </p:cNvPr>
              <p:cNvSpPr/>
              <p:nvPr userDrawn="1"/>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72" name="Rectangle 471">
                <a:extLst>
                  <a:ext uri="{FF2B5EF4-FFF2-40B4-BE49-F238E27FC236}">
                    <a16:creationId xmlns:a16="http://schemas.microsoft.com/office/drawing/2014/main" id="{6AEBDBAB-049C-C94F-BA15-670FE7786BB7}"/>
                  </a:ext>
                </a:extLst>
              </p:cNvPr>
              <p:cNvSpPr/>
              <p:nvPr userDrawn="1"/>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73" name="Rectangle 472">
                <a:extLst>
                  <a:ext uri="{FF2B5EF4-FFF2-40B4-BE49-F238E27FC236}">
                    <a16:creationId xmlns:a16="http://schemas.microsoft.com/office/drawing/2014/main" id="{1839B25E-E114-E34C-A32D-6D7EC38B1EE9}"/>
                  </a:ext>
                </a:extLst>
              </p:cNvPr>
              <p:cNvSpPr/>
              <p:nvPr userDrawn="1"/>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440" name="Group 439">
              <a:extLst>
                <a:ext uri="{FF2B5EF4-FFF2-40B4-BE49-F238E27FC236}">
                  <a16:creationId xmlns:a16="http://schemas.microsoft.com/office/drawing/2014/main" id="{C4B9E153-27EB-B040-BCE0-309BDB8E8CDA}"/>
                </a:ext>
              </a:extLst>
            </p:cNvPr>
            <p:cNvGrpSpPr/>
            <p:nvPr userDrawn="1"/>
          </p:nvGrpSpPr>
          <p:grpSpPr>
            <a:xfrm>
              <a:off x="11887200" y="1720842"/>
              <a:ext cx="304800" cy="304800"/>
              <a:chOff x="11887200" y="3048000"/>
              <a:chExt cx="304800" cy="304800"/>
            </a:xfrm>
          </p:grpSpPr>
          <p:sp>
            <p:nvSpPr>
              <p:cNvPr id="466" name="Rectangle 465">
                <a:extLst>
                  <a:ext uri="{FF2B5EF4-FFF2-40B4-BE49-F238E27FC236}">
                    <a16:creationId xmlns:a16="http://schemas.microsoft.com/office/drawing/2014/main" id="{A27F3C4E-60C9-0441-BB28-DA297CC18C6B}"/>
                  </a:ext>
                </a:extLst>
              </p:cNvPr>
              <p:cNvSpPr/>
              <p:nvPr userDrawn="1"/>
            </p:nvSpPr>
            <p:spPr>
              <a:xfrm>
                <a:off x="12039600" y="3200400"/>
                <a:ext cx="152400" cy="15240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67" name="Rectangle 466">
                <a:extLst>
                  <a:ext uri="{FF2B5EF4-FFF2-40B4-BE49-F238E27FC236}">
                    <a16:creationId xmlns:a16="http://schemas.microsoft.com/office/drawing/2014/main" id="{21B5179C-3F21-4540-9AFE-2D927DFF8388}"/>
                  </a:ext>
                </a:extLst>
              </p:cNvPr>
              <p:cNvSpPr/>
              <p:nvPr userDrawn="1"/>
            </p:nvSpPr>
            <p:spPr>
              <a:xfrm>
                <a:off x="11887200" y="3200400"/>
                <a:ext cx="152400" cy="15240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68" name="Rectangle 467">
                <a:extLst>
                  <a:ext uri="{FF2B5EF4-FFF2-40B4-BE49-F238E27FC236}">
                    <a16:creationId xmlns:a16="http://schemas.microsoft.com/office/drawing/2014/main" id="{B81BD9A7-26C8-F74E-81CB-41418ED62A1D}"/>
                  </a:ext>
                </a:extLst>
              </p:cNvPr>
              <p:cNvSpPr/>
              <p:nvPr userDrawn="1"/>
            </p:nvSpPr>
            <p:spPr>
              <a:xfrm>
                <a:off x="12039600" y="3048000"/>
                <a:ext cx="152400" cy="15240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69" name="Rectangle 468">
                <a:extLst>
                  <a:ext uri="{FF2B5EF4-FFF2-40B4-BE49-F238E27FC236}">
                    <a16:creationId xmlns:a16="http://schemas.microsoft.com/office/drawing/2014/main" id="{D9514B8E-A753-2045-AAAA-E16B50514554}"/>
                  </a:ext>
                </a:extLst>
              </p:cNvPr>
              <p:cNvSpPr/>
              <p:nvPr userDrawn="1"/>
            </p:nvSpPr>
            <p:spPr>
              <a:xfrm>
                <a:off x="11887200" y="3048000"/>
                <a:ext cx="152400" cy="15240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441" name="Group 440">
              <a:extLst>
                <a:ext uri="{FF2B5EF4-FFF2-40B4-BE49-F238E27FC236}">
                  <a16:creationId xmlns:a16="http://schemas.microsoft.com/office/drawing/2014/main" id="{ECC44206-FD2E-F94D-9B86-B800910A14FE}"/>
                </a:ext>
              </a:extLst>
            </p:cNvPr>
            <p:cNvGrpSpPr/>
            <p:nvPr userDrawn="1"/>
          </p:nvGrpSpPr>
          <p:grpSpPr>
            <a:xfrm>
              <a:off x="1984915" y="1720842"/>
              <a:ext cx="304800" cy="304800"/>
              <a:chOff x="4748283" y="3386554"/>
              <a:chExt cx="548640" cy="548640"/>
            </a:xfrm>
          </p:grpSpPr>
          <p:sp>
            <p:nvSpPr>
              <p:cNvPr id="462" name="Rectangle 461">
                <a:extLst>
                  <a:ext uri="{FF2B5EF4-FFF2-40B4-BE49-F238E27FC236}">
                    <a16:creationId xmlns:a16="http://schemas.microsoft.com/office/drawing/2014/main" id="{C8BDDAA8-114B-3A4F-958C-920C69378416}"/>
                  </a:ext>
                </a:extLst>
              </p:cNvPr>
              <p:cNvSpPr/>
              <p:nvPr userDrawn="1"/>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63" name="Rectangle 462">
                <a:extLst>
                  <a:ext uri="{FF2B5EF4-FFF2-40B4-BE49-F238E27FC236}">
                    <a16:creationId xmlns:a16="http://schemas.microsoft.com/office/drawing/2014/main" id="{66EB955B-9466-F243-B786-3F7895B36FE2}"/>
                  </a:ext>
                </a:extLst>
              </p:cNvPr>
              <p:cNvSpPr/>
              <p:nvPr userDrawn="1"/>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64" name="Rectangle 463">
                <a:extLst>
                  <a:ext uri="{FF2B5EF4-FFF2-40B4-BE49-F238E27FC236}">
                    <a16:creationId xmlns:a16="http://schemas.microsoft.com/office/drawing/2014/main" id="{57AC506A-54E9-7442-9D5A-739F9BC156CE}"/>
                  </a:ext>
                </a:extLst>
              </p:cNvPr>
              <p:cNvSpPr/>
              <p:nvPr userDrawn="1"/>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65" name="Rectangle 464">
                <a:extLst>
                  <a:ext uri="{FF2B5EF4-FFF2-40B4-BE49-F238E27FC236}">
                    <a16:creationId xmlns:a16="http://schemas.microsoft.com/office/drawing/2014/main" id="{989669EA-D5BB-2749-A33E-897415693EA0}"/>
                  </a:ext>
                </a:extLst>
              </p:cNvPr>
              <p:cNvSpPr/>
              <p:nvPr userDrawn="1"/>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442" name="Group 441">
              <a:extLst>
                <a:ext uri="{FF2B5EF4-FFF2-40B4-BE49-F238E27FC236}">
                  <a16:creationId xmlns:a16="http://schemas.microsoft.com/office/drawing/2014/main" id="{2BF5526E-DA20-1A47-B1EC-05FCC4F811A6}"/>
                </a:ext>
              </a:extLst>
            </p:cNvPr>
            <p:cNvGrpSpPr/>
            <p:nvPr userDrawn="1"/>
          </p:nvGrpSpPr>
          <p:grpSpPr>
            <a:xfrm>
              <a:off x="3962829" y="1720842"/>
              <a:ext cx="304800" cy="304800"/>
              <a:chOff x="4748283" y="3386554"/>
              <a:chExt cx="548640" cy="548640"/>
            </a:xfrm>
          </p:grpSpPr>
          <p:sp>
            <p:nvSpPr>
              <p:cNvPr id="458" name="Rectangle 457">
                <a:extLst>
                  <a:ext uri="{FF2B5EF4-FFF2-40B4-BE49-F238E27FC236}">
                    <a16:creationId xmlns:a16="http://schemas.microsoft.com/office/drawing/2014/main" id="{C1CA3603-5759-F245-A0BC-7AC94B98ACB3}"/>
                  </a:ext>
                </a:extLst>
              </p:cNvPr>
              <p:cNvSpPr/>
              <p:nvPr userDrawn="1"/>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59" name="Rectangle 458">
                <a:extLst>
                  <a:ext uri="{FF2B5EF4-FFF2-40B4-BE49-F238E27FC236}">
                    <a16:creationId xmlns:a16="http://schemas.microsoft.com/office/drawing/2014/main" id="{E65062EA-2737-9F4A-AC6D-377AEBB24DA8}"/>
                  </a:ext>
                </a:extLst>
              </p:cNvPr>
              <p:cNvSpPr/>
              <p:nvPr userDrawn="1"/>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60" name="Rectangle 459">
                <a:extLst>
                  <a:ext uri="{FF2B5EF4-FFF2-40B4-BE49-F238E27FC236}">
                    <a16:creationId xmlns:a16="http://schemas.microsoft.com/office/drawing/2014/main" id="{5EFA2540-BC53-0A4B-818C-23B0B9216130}"/>
                  </a:ext>
                </a:extLst>
              </p:cNvPr>
              <p:cNvSpPr/>
              <p:nvPr userDrawn="1"/>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61" name="Rectangle 460">
                <a:extLst>
                  <a:ext uri="{FF2B5EF4-FFF2-40B4-BE49-F238E27FC236}">
                    <a16:creationId xmlns:a16="http://schemas.microsoft.com/office/drawing/2014/main" id="{A365443A-BD5B-D543-A1BC-48CD7E25F9B4}"/>
                  </a:ext>
                </a:extLst>
              </p:cNvPr>
              <p:cNvSpPr/>
              <p:nvPr userDrawn="1"/>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443" name="Group 442">
              <a:extLst>
                <a:ext uri="{FF2B5EF4-FFF2-40B4-BE49-F238E27FC236}">
                  <a16:creationId xmlns:a16="http://schemas.microsoft.com/office/drawing/2014/main" id="{3E69FC19-CB83-6F45-8D1E-A4DC1CCCC32E}"/>
                </a:ext>
              </a:extLst>
            </p:cNvPr>
            <p:cNvGrpSpPr/>
            <p:nvPr userDrawn="1"/>
          </p:nvGrpSpPr>
          <p:grpSpPr>
            <a:xfrm>
              <a:off x="5941695" y="1720842"/>
              <a:ext cx="304800" cy="304800"/>
              <a:chOff x="4748283" y="3386554"/>
              <a:chExt cx="548640" cy="548640"/>
            </a:xfrm>
          </p:grpSpPr>
          <p:sp>
            <p:nvSpPr>
              <p:cNvPr id="454" name="Rectangle 453">
                <a:extLst>
                  <a:ext uri="{FF2B5EF4-FFF2-40B4-BE49-F238E27FC236}">
                    <a16:creationId xmlns:a16="http://schemas.microsoft.com/office/drawing/2014/main" id="{D57A09A4-5C22-CA4B-BB1C-F7672C2AA69A}"/>
                  </a:ext>
                </a:extLst>
              </p:cNvPr>
              <p:cNvSpPr/>
              <p:nvPr userDrawn="1"/>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55" name="Rectangle 454">
                <a:extLst>
                  <a:ext uri="{FF2B5EF4-FFF2-40B4-BE49-F238E27FC236}">
                    <a16:creationId xmlns:a16="http://schemas.microsoft.com/office/drawing/2014/main" id="{17C22FAC-AC42-6E43-ACA2-58810E6D49CC}"/>
                  </a:ext>
                </a:extLst>
              </p:cNvPr>
              <p:cNvSpPr/>
              <p:nvPr userDrawn="1"/>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56" name="Rectangle 455">
                <a:extLst>
                  <a:ext uri="{FF2B5EF4-FFF2-40B4-BE49-F238E27FC236}">
                    <a16:creationId xmlns:a16="http://schemas.microsoft.com/office/drawing/2014/main" id="{5E375788-6501-DC47-A513-CA1940784EF3}"/>
                  </a:ext>
                </a:extLst>
              </p:cNvPr>
              <p:cNvSpPr/>
              <p:nvPr userDrawn="1"/>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57" name="Rectangle 456">
                <a:extLst>
                  <a:ext uri="{FF2B5EF4-FFF2-40B4-BE49-F238E27FC236}">
                    <a16:creationId xmlns:a16="http://schemas.microsoft.com/office/drawing/2014/main" id="{EDD8D43C-CFFB-4247-9B73-EFA60807FF1B}"/>
                  </a:ext>
                </a:extLst>
              </p:cNvPr>
              <p:cNvSpPr/>
              <p:nvPr userDrawn="1"/>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444" name="Group 443">
              <a:extLst>
                <a:ext uri="{FF2B5EF4-FFF2-40B4-BE49-F238E27FC236}">
                  <a16:creationId xmlns:a16="http://schemas.microsoft.com/office/drawing/2014/main" id="{88078022-BDD1-E941-A76D-8B2EA55DF35C}"/>
                </a:ext>
              </a:extLst>
            </p:cNvPr>
            <p:cNvGrpSpPr/>
            <p:nvPr userDrawn="1"/>
          </p:nvGrpSpPr>
          <p:grpSpPr>
            <a:xfrm>
              <a:off x="7925379" y="1720842"/>
              <a:ext cx="304800" cy="304800"/>
              <a:chOff x="4748283" y="3386554"/>
              <a:chExt cx="548640" cy="548640"/>
            </a:xfrm>
          </p:grpSpPr>
          <p:sp>
            <p:nvSpPr>
              <p:cNvPr id="450" name="Rectangle 449">
                <a:extLst>
                  <a:ext uri="{FF2B5EF4-FFF2-40B4-BE49-F238E27FC236}">
                    <a16:creationId xmlns:a16="http://schemas.microsoft.com/office/drawing/2014/main" id="{46CFF03B-0578-744C-B497-C6A70789806B}"/>
                  </a:ext>
                </a:extLst>
              </p:cNvPr>
              <p:cNvSpPr/>
              <p:nvPr userDrawn="1"/>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51" name="Rectangle 450">
                <a:extLst>
                  <a:ext uri="{FF2B5EF4-FFF2-40B4-BE49-F238E27FC236}">
                    <a16:creationId xmlns:a16="http://schemas.microsoft.com/office/drawing/2014/main" id="{E832363E-13BD-AE41-B338-5CE369511D0E}"/>
                  </a:ext>
                </a:extLst>
              </p:cNvPr>
              <p:cNvSpPr/>
              <p:nvPr userDrawn="1"/>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52" name="Rectangle 451">
                <a:extLst>
                  <a:ext uri="{FF2B5EF4-FFF2-40B4-BE49-F238E27FC236}">
                    <a16:creationId xmlns:a16="http://schemas.microsoft.com/office/drawing/2014/main" id="{7F3C2F47-5852-FE46-A6B8-0240E7FB37E8}"/>
                  </a:ext>
                </a:extLst>
              </p:cNvPr>
              <p:cNvSpPr/>
              <p:nvPr userDrawn="1"/>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53" name="Rectangle 452">
                <a:extLst>
                  <a:ext uri="{FF2B5EF4-FFF2-40B4-BE49-F238E27FC236}">
                    <a16:creationId xmlns:a16="http://schemas.microsoft.com/office/drawing/2014/main" id="{62234A22-B732-8643-8B93-EDA7BEDDA589}"/>
                  </a:ext>
                </a:extLst>
              </p:cNvPr>
              <p:cNvSpPr/>
              <p:nvPr userDrawn="1"/>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445" name="Group 444">
              <a:extLst>
                <a:ext uri="{FF2B5EF4-FFF2-40B4-BE49-F238E27FC236}">
                  <a16:creationId xmlns:a16="http://schemas.microsoft.com/office/drawing/2014/main" id="{3B83FBB8-0104-2A44-B8DB-E77F2800533E}"/>
                </a:ext>
              </a:extLst>
            </p:cNvPr>
            <p:cNvGrpSpPr/>
            <p:nvPr userDrawn="1"/>
          </p:nvGrpSpPr>
          <p:grpSpPr>
            <a:xfrm>
              <a:off x="9906579" y="1720842"/>
              <a:ext cx="304800" cy="304800"/>
              <a:chOff x="4748283" y="3386554"/>
              <a:chExt cx="548640" cy="548640"/>
            </a:xfrm>
          </p:grpSpPr>
          <p:sp>
            <p:nvSpPr>
              <p:cNvPr id="446" name="Rectangle 445">
                <a:extLst>
                  <a:ext uri="{FF2B5EF4-FFF2-40B4-BE49-F238E27FC236}">
                    <a16:creationId xmlns:a16="http://schemas.microsoft.com/office/drawing/2014/main" id="{41E071DB-0DDA-B34C-AB39-A3E6C3A412DA}"/>
                  </a:ext>
                </a:extLst>
              </p:cNvPr>
              <p:cNvSpPr/>
              <p:nvPr userDrawn="1"/>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47" name="Rectangle 446">
                <a:extLst>
                  <a:ext uri="{FF2B5EF4-FFF2-40B4-BE49-F238E27FC236}">
                    <a16:creationId xmlns:a16="http://schemas.microsoft.com/office/drawing/2014/main" id="{4B7E35A1-132C-754F-950B-7CBCB087D913}"/>
                  </a:ext>
                </a:extLst>
              </p:cNvPr>
              <p:cNvSpPr/>
              <p:nvPr userDrawn="1"/>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48" name="Rectangle 447">
                <a:extLst>
                  <a:ext uri="{FF2B5EF4-FFF2-40B4-BE49-F238E27FC236}">
                    <a16:creationId xmlns:a16="http://schemas.microsoft.com/office/drawing/2014/main" id="{20745239-C123-C44A-BB88-8EB50EDE843F}"/>
                  </a:ext>
                </a:extLst>
              </p:cNvPr>
              <p:cNvSpPr/>
              <p:nvPr userDrawn="1"/>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49" name="Rectangle 448">
                <a:extLst>
                  <a:ext uri="{FF2B5EF4-FFF2-40B4-BE49-F238E27FC236}">
                    <a16:creationId xmlns:a16="http://schemas.microsoft.com/office/drawing/2014/main" id="{55EBCF78-5308-C540-ABE3-CAF92FF8F600}"/>
                  </a:ext>
                </a:extLst>
              </p:cNvPr>
              <p:cNvSpPr/>
              <p:nvPr userDrawn="1"/>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685778"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sp>
        <p:nvSpPr>
          <p:cNvPr id="480" name="TextBox 479">
            <a:extLst>
              <a:ext uri="{FF2B5EF4-FFF2-40B4-BE49-F238E27FC236}">
                <a16:creationId xmlns:a16="http://schemas.microsoft.com/office/drawing/2014/main" id="{342D7EB4-B12F-644A-9E0A-98B8EF09117E}"/>
              </a:ext>
            </a:extLst>
          </p:cNvPr>
          <p:cNvSpPr txBox="1"/>
          <p:nvPr userDrawn="1"/>
        </p:nvSpPr>
        <p:spPr>
          <a:xfrm>
            <a:off x="304801" y="3126889"/>
            <a:ext cx="468077" cy="138499"/>
          </a:xfrm>
          <a:prstGeom prst="rect">
            <a:avLst/>
          </a:prstGeom>
          <a:noFill/>
        </p:spPr>
        <p:txBody>
          <a:bodyPr wrap="none" lIns="0" tIns="0" rIns="0" bIns="0" rtlCol="0">
            <a:spAutoFit/>
          </a:bodyPr>
          <a:lstStyle/>
          <a:p>
            <a:pPr marL="0" marR="0" lvl="0" indent="0" defTabSz="685778"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tx1"/>
                </a:solidFill>
                <a:effectLst/>
                <a:uLnTx/>
                <a:uFillTx/>
              </a:rPr>
              <a:t>6 column</a:t>
            </a:r>
          </a:p>
        </p:txBody>
      </p:sp>
      <p:sp>
        <p:nvSpPr>
          <p:cNvPr id="481" name="TextBox 480">
            <a:extLst>
              <a:ext uri="{FF2B5EF4-FFF2-40B4-BE49-F238E27FC236}">
                <a16:creationId xmlns:a16="http://schemas.microsoft.com/office/drawing/2014/main" id="{7056B7B5-7702-9842-8ACC-189B0B1EC818}"/>
              </a:ext>
            </a:extLst>
          </p:cNvPr>
          <p:cNvSpPr txBox="1"/>
          <p:nvPr userDrawn="1"/>
        </p:nvSpPr>
        <p:spPr>
          <a:xfrm>
            <a:off x="304801" y="3823114"/>
            <a:ext cx="468077" cy="138499"/>
          </a:xfrm>
          <a:prstGeom prst="rect">
            <a:avLst/>
          </a:prstGeom>
          <a:noFill/>
        </p:spPr>
        <p:txBody>
          <a:bodyPr wrap="none" lIns="0" tIns="0" rIns="0" bIns="0" rtlCol="0">
            <a:spAutoFit/>
          </a:bodyPr>
          <a:lstStyle/>
          <a:p>
            <a:pPr marL="0" marR="0" lvl="0" indent="0" defTabSz="685778"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tx1"/>
                </a:solidFill>
                <a:effectLst/>
                <a:uLnTx/>
                <a:uFillTx/>
              </a:rPr>
              <a:t>5 column</a:t>
            </a:r>
          </a:p>
        </p:txBody>
      </p:sp>
      <p:sp>
        <p:nvSpPr>
          <p:cNvPr id="482" name="TextBox 481">
            <a:extLst>
              <a:ext uri="{FF2B5EF4-FFF2-40B4-BE49-F238E27FC236}">
                <a16:creationId xmlns:a16="http://schemas.microsoft.com/office/drawing/2014/main" id="{86211BCB-2DF9-6644-8DCD-BC5B31A507D4}"/>
              </a:ext>
            </a:extLst>
          </p:cNvPr>
          <p:cNvSpPr txBox="1"/>
          <p:nvPr userDrawn="1"/>
        </p:nvSpPr>
        <p:spPr>
          <a:xfrm>
            <a:off x="304801" y="4456626"/>
            <a:ext cx="468077" cy="138499"/>
          </a:xfrm>
          <a:prstGeom prst="rect">
            <a:avLst/>
          </a:prstGeom>
          <a:noFill/>
        </p:spPr>
        <p:txBody>
          <a:bodyPr wrap="none" lIns="0" tIns="0" rIns="0" bIns="0" rtlCol="0">
            <a:spAutoFit/>
          </a:bodyPr>
          <a:lstStyle/>
          <a:p>
            <a:pPr marL="0" marR="0" lvl="0" indent="0" defTabSz="685778"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tx1"/>
                </a:solidFill>
                <a:effectLst/>
                <a:uLnTx/>
                <a:uFillTx/>
              </a:rPr>
              <a:t>4 column</a:t>
            </a:r>
          </a:p>
        </p:txBody>
      </p:sp>
      <p:sp>
        <p:nvSpPr>
          <p:cNvPr id="483" name="TextBox 482">
            <a:extLst>
              <a:ext uri="{FF2B5EF4-FFF2-40B4-BE49-F238E27FC236}">
                <a16:creationId xmlns:a16="http://schemas.microsoft.com/office/drawing/2014/main" id="{480A6B41-B33C-4544-AA80-B05EA7E4F5F8}"/>
              </a:ext>
            </a:extLst>
          </p:cNvPr>
          <p:cNvSpPr txBox="1"/>
          <p:nvPr userDrawn="1"/>
        </p:nvSpPr>
        <p:spPr>
          <a:xfrm>
            <a:off x="304801" y="5094907"/>
            <a:ext cx="468077" cy="138499"/>
          </a:xfrm>
          <a:prstGeom prst="rect">
            <a:avLst/>
          </a:prstGeom>
          <a:noFill/>
        </p:spPr>
        <p:txBody>
          <a:bodyPr wrap="none" lIns="0" tIns="0" rIns="0" bIns="0" rtlCol="0">
            <a:spAutoFit/>
          </a:bodyPr>
          <a:lstStyle/>
          <a:p>
            <a:pPr marL="0" marR="0" lvl="0" indent="0" defTabSz="685778"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tx1"/>
                </a:solidFill>
                <a:effectLst/>
                <a:uLnTx/>
                <a:uFillTx/>
              </a:rPr>
              <a:t>3 column</a:t>
            </a:r>
          </a:p>
        </p:txBody>
      </p:sp>
      <p:sp>
        <p:nvSpPr>
          <p:cNvPr id="484" name="TextBox 483">
            <a:extLst>
              <a:ext uri="{FF2B5EF4-FFF2-40B4-BE49-F238E27FC236}">
                <a16:creationId xmlns:a16="http://schemas.microsoft.com/office/drawing/2014/main" id="{29F7A788-CE98-6246-ADB3-ACDB5AD10573}"/>
              </a:ext>
            </a:extLst>
          </p:cNvPr>
          <p:cNvSpPr txBox="1"/>
          <p:nvPr userDrawn="1"/>
        </p:nvSpPr>
        <p:spPr>
          <a:xfrm>
            <a:off x="304801" y="5751328"/>
            <a:ext cx="468077" cy="138499"/>
          </a:xfrm>
          <a:prstGeom prst="rect">
            <a:avLst/>
          </a:prstGeom>
          <a:noFill/>
        </p:spPr>
        <p:txBody>
          <a:bodyPr wrap="none" lIns="0" tIns="0" rIns="0" bIns="0" rtlCol="0">
            <a:spAutoFit/>
          </a:bodyPr>
          <a:lstStyle/>
          <a:p>
            <a:pPr marL="0" marR="0" lvl="0" indent="0" defTabSz="685778"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tx1"/>
                </a:solidFill>
                <a:effectLst/>
                <a:uLnTx/>
                <a:uFillTx/>
              </a:rPr>
              <a:t>2 column</a:t>
            </a:r>
          </a:p>
        </p:txBody>
      </p:sp>
      <p:sp>
        <p:nvSpPr>
          <p:cNvPr id="164" name="Slide Number Placeholder 2">
            <a:extLst>
              <a:ext uri="{FF2B5EF4-FFF2-40B4-BE49-F238E27FC236}">
                <a16:creationId xmlns:a16="http://schemas.microsoft.com/office/drawing/2014/main" id="{F03B75DB-F93B-BB4A-88B7-BC503665EB12}"/>
              </a:ext>
            </a:extLst>
          </p:cNvPr>
          <p:cNvSpPr>
            <a:spLocks noGrp="1"/>
          </p:cNvSpPr>
          <p:nvPr>
            <p:ph type="sldNum" sz="quarter" idx="10"/>
          </p:nvPr>
        </p:nvSpPr>
        <p:spPr>
          <a:xfrm>
            <a:off x="2" y="6553202"/>
            <a:ext cx="304799" cy="304799"/>
          </a:xfrm>
        </p:spPr>
        <p:txBody>
          <a:bodyPr/>
          <a:lstStyle/>
          <a:p>
            <a:fld id="{89006F1E-66CD-4A4B-9370-B4A3080F0E6C}" type="slidenum">
              <a:rPr lang="en-US" smtClean="0"/>
              <a:pPr/>
              <a:t>‹#›</a:t>
            </a:fld>
            <a:endParaRPr lang="en-US"/>
          </a:p>
        </p:txBody>
      </p:sp>
      <p:sp>
        <p:nvSpPr>
          <p:cNvPr id="165" name="Footer Placeholder 1">
            <a:extLst>
              <a:ext uri="{FF2B5EF4-FFF2-40B4-BE49-F238E27FC236}">
                <a16:creationId xmlns:a16="http://schemas.microsoft.com/office/drawing/2014/main" id="{32024396-8CE7-064A-913E-52749C1A59C6}"/>
              </a:ext>
            </a:extLst>
          </p:cNvPr>
          <p:cNvSpPr>
            <a:spLocks noGrp="1"/>
          </p:cNvSpPr>
          <p:nvPr>
            <p:ph type="ftr" sz="quarter" idx="14"/>
          </p:nvPr>
        </p:nvSpPr>
        <p:spPr>
          <a:xfrm>
            <a:off x="304802" y="6553201"/>
            <a:ext cx="3657601" cy="304800"/>
          </a:xfrm>
          <a:prstGeom prst="rect">
            <a:avLst/>
          </a:prstGeom>
        </p:spPr>
        <p:txBody>
          <a:bodyPr/>
          <a:lstStyle>
            <a:lvl1pPr>
              <a:defRPr>
                <a:solidFill>
                  <a:schemeClr val="accent5"/>
                </a:solidFill>
              </a:defRPr>
            </a:lvl1pPr>
          </a:lstStyle>
          <a:p>
            <a:r>
              <a:rPr lang="en-US">
                <a:ea typeface="MS PGothic" panose="020B0600070205080204" pitchFamily="34" charset="-128"/>
              </a:rPr>
              <a:t>Proprietary &amp; Confidential |  authoremail@thermofisher.com | 5-August-2020</a:t>
            </a:r>
          </a:p>
        </p:txBody>
      </p:sp>
      <p:grpSp>
        <p:nvGrpSpPr>
          <p:cNvPr id="12" name="Group 11">
            <a:extLst>
              <a:ext uri="{FF2B5EF4-FFF2-40B4-BE49-F238E27FC236}">
                <a16:creationId xmlns:a16="http://schemas.microsoft.com/office/drawing/2014/main" id="{6F86E547-682A-6B4F-B0EC-65D336F3A540}"/>
              </a:ext>
            </a:extLst>
          </p:cNvPr>
          <p:cNvGrpSpPr/>
          <p:nvPr userDrawn="1"/>
        </p:nvGrpSpPr>
        <p:grpSpPr>
          <a:xfrm>
            <a:off x="300227" y="876301"/>
            <a:ext cx="11586972" cy="5676899"/>
            <a:chOff x="300227" y="876301"/>
            <a:chExt cx="11586972" cy="5676899"/>
          </a:xfrm>
        </p:grpSpPr>
        <p:sp>
          <p:nvSpPr>
            <p:cNvPr id="3" name="Rectangle 2">
              <a:extLst>
                <a:ext uri="{FF2B5EF4-FFF2-40B4-BE49-F238E27FC236}">
                  <a16:creationId xmlns:a16="http://schemas.microsoft.com/office/drawing/2014/main" id="{8EE04DA2-78B1-A642-A2C2-0873783B7B9C}"/>
                </a:ext>
              </a:extLst>
            </p:cNvPr>
            <p:cNvSpPr/>
            <p:nvPr userDrawn="1"/>
          </p:nvSpPr>
          <p:spPr>
            <a:xfrm>
              <a:off x="300227" y="876301"/>
              <a:ext cx="11586972" cy="5676899"/>
            </a:xfrm>
            <a:prstGeom prst="rect">
              <a:avLst/>
            </a:prstGeom>
            <a:noFill/>
            <a:ln>
              <a:solidFill>
                <a:schemeClr val="accent5">
                  <a:lumMod val="60000"/>
                  <a:lumOff val="40000"/>
                </a:schemeClr>
              </a:solidFill>
              <a:prstDash val="dash"/>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350"/>
            </a:p>
          </p:txBody>
        </p:sp>
        <p:cxnSp>
          <p:nvCxnSpPr>
            <p:cNvPr id="5" name="Straight Arrow Connector 4">
              <a:extLst>
                <a:ext uri="{FF2B5EF4-FFF2-40B4-BE49-F238E27FC236}">
                  <a16:creationId xmlns:a16="http://schemas.microsoft.com/office/drawing/2014/main" id="{73EED049-4AD2-0B49-BBEA-A4247ECC89A5}"/>
                </a:ext>
              </a:extLst>
            </p:cNvPr>
            <p:cNvCxnSpPr/>
            <p:nvPr userDrawn="1"/>
          </p:nvCxnSpPr>
          <p:spPr>
            <a:xfrm>
              <a:off x="474651" y="876301"/>
              <a:ext cx="0" cy="174504"/>
            </a:xfrm>
            <a:prstGeom prst="straightConnector1">
              <a:avLst/>
            </a:prstGeom>
            <a:ln w="12700">
              <a:solidFill>
                <a:schemeClr val="accent5"/>
              </a:solidFill>
              <a:tailEnd type="arrow"/>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1BA01FDD-B887-5D48-9BCC-AB3E59DA8C44}"/>
                </a:ext>
              </a:extLst>
            </p:cNvPr>
            <p:cNvSpPr txBox="1"/>
            <p:nvPr userDrawn="1"/>
          </p:nvSpPr>
          <p:spPr>
            <a:xfrm>
              <a:off x="579276" y="905884"/>
              <a:ext cx="3517997" cy="174504"/>
            </a:xfrm>
            <a:prstGeom prst="rect">
              <a:avLst/>
            </a:prstGeom>
            <a:noFill/>
          </p:spPr>
          <p:txBody>
            <a:bodyPr wrap="none" lIns="0" tIns="0" rIns="0" bIns="0" rtlCol="0">
              <a:normAutofit/>
            </a:bodyPr>
            <a:lstStyle/>
            <a:p>
              <a:pPr marL="0" indent="0" algn="l" defTabSz="685778">
                <a:lnSpc>
                  <a:spcPct val="120000"/>
                </a:lnSpc>
                <a:spcBef>
                  <a:spcPts val="150"/>
                </a:spcBef>
                <a:buClr>
                  <a:schemeClr val="tx2"/>
                </a:buClr>
                <a:buSzPct val="100000"/>
                <a:buFont typeface="Arial" panose="020B0604020202020204" pitchFamily="34" charset="0"/>
                <a:buNone/>
              </a:pPr>
              <a:r>
                <a:rPr lang="en-US" sz="788"/>
                <a:t>Safe zone</a:t>
              </a:r>
            </a:p>
          </p:txBody>
        </p:sp>
        <p:cxnSp>
          <p:nvCxnSpPr>
            <p:cNvPr id="171" name="Straight Arrow Connector 170">
              <a:extLst>
                <a:ext uri="{FF2B5EF4-FFF2-40B4-BE49-F238E27FC236}">
                  <a16:creationId xmlns:a16="http://schemas.microsoft.com/office/drawing/2014/main" id="{9BD67516-3606-FF42-BF2C-613E58799753}"/>
                </a:ext>
              </a:extLst>
            </p:cNvPr>
            <p:cNvCxnSpPr/>
            <p:nvPr userDrawn="1"/>
          </p:nvCxnSpPr>
          <p:spPr>
            <a:xfrm>
              <a:off x="474651" y="1455311"/>
              <a:ext cx="0" cy="174504"/>
            </a:xfrm>
            <a:prstGeom prst="straightConnector1">
              <a:avLst/>
            </a:prstGeom>
            <a:ln w="12700">
              <a:solidFill>
                <a:schemeClr val="accent5"/>
              </a:solidFill>
              <a:tailEnd type="arrow"/>
            </a:ln>
          </p:spPr>
          <p:style>
            <a:lnRef idx="1">
              <a:schemeClr val="accent1"/>
            </a:lnRef>
            <a:fillRef idx="0">
              <a:schemeClr val="accent1"/>
            </a:fillRef>
            <a:effectRef idx="0">
              <a:schemeClr val="accent1"/>
            </a:effectRef>
            <a:fontRef idx="minor">
              <a:schemeClr val="tx1"/>
            </a:fontRef>
          </p:style>
        </p:cxnSp>
        <p:sp>
          <p:nvSpPr>
            <p:cNvPr id="172" name="TextBox 171">
              <a:extLst>
                <a:ext uri="{FF2B5EF4-FFF2-40B4-BE49-F238E27FC236}">
                  <a16:creationId xmlns:a16="http://schemas.microsoft.com/office/drawing/2014/main" id="{4E864EDE-9D5F-984C-A44E-2B8534B762A2}"/>
                </a:ext>
              </a:extLst>
            </p:cNvPr>
            <p:cNvSpPr txBox="1"/>
            <p:nvPr userDrawn="1"/>
          </p:nvSpPr>
          <p:spPr>
            <a:xfrm>
              <a:off x="579276" y="1484894"/>
              <a:ext cx="3517997" cy="174504"/>
            </a:xfrm>
            <a:prstGeom prst="rect">
              <a:avLst/>
            </a:prstGeom>
            <a:noFill/>
          </p:spPr>
          <p:txBody>
            <a:bodyPr wrap="none" lIns="0" tIns="0" rIns="0" bIns="0" rtlCol="0">
              <a:normAutofit/>
            </a:bodyPr>
            <a:lstStyle/>
            <a:p>
              <a:pPr marL="0" indent="0" algn="l" defTabSz="685778">
                <a:lnSpc>
                  <a:spcPct val="120000"/>
                </a:lnSpc>
                <a:spcBef>
                  <a:spcPts val="150"/>
                </a:spcBef>
                <a:buClr>
                  <a:schemeClr val="tx2"/>
                </a:buClr>
                <a:buSzPct val="100000"/>
                <a:buFont typeface="Arial" panose="020B0604020202020204" pitchFamily="34" charset="0"/>
                <a:buNone/>
              </a:pPr>
              <a:r>
                <a:rPr lang="en-US" sz="788"/>
                <a:t>Safe zone with sub-title</a:t>
              </a:r>
            </a:p>
          </p:txBody>
        </p:sp>
        <p:cxnSp>
          <p:nvCxnSpPr>
            <p:cNvPr id="8" name="Straight Connector 7">
              <a:extLst>
                <a:ext uri="{FF2B5EF4-FFF2-40B4-BE49-F238E27FC236}">
                  <a16:creationId xmlns:a16="http://schemas.microsoft.com/office/drawing/2014/main" id="{11BD3366-59E4-7A48-9F82-4F24D0C736CB}"/>
                </a:ext>
              </a:extLst>
            </p:cNvPr>
            <p:cNvCxnSpPr>
              <a:cxnSpLocks/>
            </p:cNvCxnSpPr>
            <p:nvPr userDrawn="1"/>
          </p:nvCxnSpPr>
          <p:spPr>
            <a:xfrm>
              <a:off x="300227" y="1455311"/>
              <a:ext cx="11586972" cy="0"/>
            </a:xfrm>
            <a:prstGeom prst="line">
              <a:avLst/>
            </a:prstGeom>
            <a:noFill/>
            <a:ln>
              <a:solidFill>
                <a:schemeClr val="accent5">
                  <a:lumMod val="60000"/>
                  <a:lumOff val="40000"/>
                </a:schemeClr>
              </a:solidFill>
              <a:prstDash val="dash"/>
            </a:ln>
          </p:spPr>
          <p:style>
            <a:lnRef idx="2">
              <a:schemeClr val="accent6"/>
            </a:lnRef>
            <a:fillRef idx="1">
              <a:schemeClr val="lt1"/>
            </a:fillRef>
            <a:effectRef idx="0">
              <a:schemeClr val="accent6"/>
            </a:effectRef>
            <a:fontRef idx="minor">
              <a:schemeClr val="dk1"/>
            </a:fontRef>
          </p:style>
        </p:cxnSp>
      </p:grpSp>
      <p:grpSp>
        <p:nvGrpSpPr>
          <p:cNvPr id="16" name="Group 15">
            <a:extLst>
              <a:ext uri="{FF2B5EF4-FFF2-40B4-BE49-F238E27FC236}">
                <a16:creationId xmlns:a16="http://schemas.microsoft.com/office/drawing/2014/main" id="{69B2DC8A-7A6F-9644-8D71-F808322A48E6}"/>
              </a:ext>
            </a:extLst>
          </p:cNvPr>
          <p:cNvGrpSpPr/>
          <p:nvPr userDrawn="1"/>
        </p:nvGrpSpPr>
        <p:grpSpPr>
          <a:xfrm>
            <a:off x="2083984" y="1584075"/>
            <a:ext cx="8024037" cy="1628059"/>
            <a:chOff x="2105247" y="1591161"/>
            <a:chExt cx="8024037" cy="1628059"/>
          </a:xfrm>
        </p:grpSpPr>
        <p:pic>
          <p:nvPicPr>
            <p:cNvPr id="180" name="Picture 179">
              <a:extLst>
                <a:ext uri="{FF2B5EF4-FFF2-40B4-BE49-F238E27FC236}">
                  <a16:creationId xmlns:a16="http://schemas.microsoft.com/office/drawing/2014/main" id="{7DE60FB9-62FE-9C46-B40B-0229DBC6F0D9}"/>
                </a:ext>
              </a:extLst>
            </p:cNvPr>
            <p:cNvPicPr>
              <a:picLocks noChangeAspect="1"/>
            </p:cNvPicPr>
            <p:nvPr userDrawn="1"/>
          </p:nvPicPr>
          <p:blipFill>
            <a:blip r:embed="rId2" cstate="screen">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a:off x="3874331" y="1591161"/>
              <a:ext cx="4443338" cy="1542319"/>
            </a:xfrm>
            <a:prstGeom prst="rect">
              <a:avLst/>
            </a:prstGeom>
          </p:spPr>
        </p:pic>
        <p:sp>
          <p:nvSpPr>
            <p:cNvPr id="179" name="Parallelogram 178">
              <a:extLst>
                <a:ext uri="{FF2B5EF4-FFF2-40B4-BE49-F238E27FC236}">
                  <a16:creationId xmlns:a16="http://schemas.microsoft.com/office/drawing/2014/main" id="{C604ECB2-C049-5D43-9BEB-15DEE7EE1A1E}"/>
                </a:ext>
              </a:extLst>
            </p:cNvPr>
            <p:cNvSpPr>
              <a:spLocks/>
            </p:cNvSpPr>
            <p:nvPr userDrawn="1"/>
          </p:nvSpPr>
          <p:spPr bwMode="auto">
            <a:xfrm>
              <a:off x="2105247" y="1611455"/>
              <a:ext cx="8024037" cy="1607765"/>
            </a:xfrm>
            <a:prstGeom prst="parallelogram">
              <a:avLst>
                <a:gd name="adj" fmla="val 31844"/>
              </a:avLst>
            </a:prstGeom>
            <a:noFill/>
            <a:ln w="6350" cap="flat" cmpd="sng" algn="ctr">
              <a:solidFill>
                <a:schemeClr val="accent5">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685778" eaLnBrk="0" fontAlgn="base" hangingPunct="0">
                <a:spcBef>
                  <a:spcPct val="0"/>
                </a:spcBef>
                <a:spcAft>
                  <a:spcPct val="0"/>
                </a:spcAft>
              </a:pPr>
              <a:r>
                <a:rPr lang="en-US" sz="1350">
                  <a:latin typeface="Arial" pitchFamily="124" charset="0"/>
                </a:rPr>
                <a:t>     </a:t>
              </a:r>
            </a:p>
          </p:txBody>
        </p:sp>
        <p:cxnSp>
          <p:nvCxnSpPr>
            <p:cNvPr id="14" name="Straight Connector 13">
              <a:extLst>
                <a:ext uri="{FF2B5EF4-FFF2-40B4-BE49-F238E27FC236}">
                  <a16:creationId xmlns:a16="http://schemas.microsoft.com/office/drawing/2014/main" id="{995298F5-F7FE-A248-809C-3B79A412B130}"/>
                </a:ext>
              </a:extLst>
            </p:cNvPr>
            <p:cNvCxnSpPr/>
            <p:nvPr userDrawn="1"/>
          </p:nvCxnSpPr>
          <p:spPr>
            <a:xfrm flipV="1">
              <a:off x="6265284" y="1611455"/>
              <a:ext cx="516531" cy="1607765"/>
            </a:xfrm>
            <a:prstGeom prst="line">
              <a:avLst/>
            </a:prstGeom>
            <a:noFill/>
            <a:ln w="6350" cap="flat" cmpd="sng" algn="ctr">
              <a:solidFill>
                <a:schemeClr val="accent5">
                  <a:lumMod val="60000"/>
                  <a:lumOff val="40000"/>
                </a:schemeClr>
              </a:solidFill>
              <a:prstDash val="solid"/>
              <a:round/>
              <a:headEnd type="none" w="med" len="med"/>
              <a:tailEnd type="none" w="med" len="med"/>
            </a:ln>
            <a:effectLst/>
          </p:spPr>
        </p:cxnSp>
        <p:sp>
          <p:nvSpPr>
            <p:cNvPr id="186" name="TextBox 185">
              <a:extLst>
                <a:ext uri="{FF2B5EF4-FFF2-40B4-BE49-F238E27FC236}">
                  <a16:creationId xmlns:a16="http://schemas.microsoft.com/office/drawing/2014/main" id="{2E915A16-BE94-8648-888A-1C89BAA886EB}"/>
                </a:ext>
              </a:extLst>
            </p:cNvPr>
            <p:cNvSpPr txBox="1"/>
            <p:nvPr userDrawn="1"/>
          </p:nvSpPr>
          <p:spPr>
            <a:xfrm>
              <a:off x="2682698" y="2296374"/>
              <a:ext cx="873729" cy="174504"/>
            </a:xfrm>
            <a:prstGeom prst="rect">
              <a:avLst/>
            </a:prstGeom>
            <a:noFill/>
          </p:spPr>
          <p:txBody>
            <a:bodyPr wrap="none" lIns="0" tIns="0" rIns="0" bIns="0" rtlCol="0">
              <a:normAutofit/>
            </a:bodyPr>
            <a:lstStyle/>
            <a:p>
              <a:pPr marL="0" indent="0" algn="ctr" defTabSz="685778">
                <a:lnSpc>
                  <a:spcPct val="120000"/>
                </a:lnSpc>
                <a:spcBef>
                  <a:spcPts val="150"/>
                </a:spcBef>
                <a:buClr>
                  <a:schemeClr val="tx2"/>
                </a:buClr>
                <a:buSzPct val="100000"/>
                <a:buFont typeface="Arial" panose="020B0604020202020204" pitchFamily="34" charset="0"/>
                <a:buNone/>
              </a:pPr>
              <a:r>
                <a:rPr lang="en-US" sz="788"/>
                <a:t>Angle Guide</a:t>
              </a:r>
            </a:p>
          </p:txBody>
        </p:sp>
        <p:sp>
          <p:nvSpPr>
            <p:cNvPr id="187" name="TextBox 186">
              <a:extLst>
                <a:ext uri="{FF2B5EF4-FFF2-40B4-BE49-F238E27FC236}">
                  <a16:creationId xmlns:a16="http://schemas.microsoft.com/office/drawing/2014/main" id="{E5BD1D51-69A2-4F40-9366-6263E56C9410}"/>
                </a:ext>
              </a:extLst>
            </p:cNvPr>
            <p:cNvSpPr txBox="1"/>
            <p:nvPr userDrawn="1"/>
          </p:nvSpPr>
          <p:spPr>
            <a:xfrm>
              <a:off x="8580213" y="2296374"/>
              <a:ext cx="873729" cy="174504"/>
            </a:xfrm>
            <a:prstGeom prst="rect">
              <a:avLst/>
            </a:prstGeom>
            <a:noFill/>
          </p:spPr>
          <p:txBody>
            <a:bodyPr wrap="none" lIns="0" tIns="0" rIns="0" bIns="0" rtlCol="0">
              <a:normAutofit/>
            </a:bodyPr>
            <a:lstStyle/>
            <a:p>
              <a:pPr marL="0" indent="0" algn="ctr" defTabSz="685778">
                <a:lnSpc>
                  <a:spcPct val="120000"/>
                </a:lnSpc>
                <a:spcBef>
                  <a:spcPts val="150"/>
                </a:spcBef>
                <a:buClr>
                  <a:schemeClr val="tx2"/>
                </a:buClr>
                <a:buSzPct val="100000"/>
                <a:buFont typeface="Arial" panose="020B0604020202020204" pitchFamily="34" charset="0"/>
                <a:buNone/>
              </a:pPr>
              <a:r>
                <a:rPr lang="en-US" sz="788"/>
                <a:t>Angle Guide</a:t>
              </a:r>
            </a:p>
          </p:txBody>
        </p:sp>
        <p:cxnSp>
          <p:nvCxnSpPr>
            <p:cNvPr id="189" name="Straight Connector 188">
              <a:extLst>
                <a:ext uri="{FF2B5EF4-FFF2-40B4-BE49-F238E27FC236}">
                  <a16:creationId xmlns:a16="http://schemas.microsoft.com/office/drawing/2014/main" id="{C216DAF5-4369-B241-B946-0ED9F3E7EC5D}"/>
                </a:ext>
              </a:extLst>
            </p:cNvPr>
            <p:cNvCxnSpPr/>
            <p:nvPr userDrawn="1"/>
          </p:nvCxnSpPr>
          <p:spPr>
            <a:xfrm flipV="1">
              <a:off x="3649675" y="1611455"/>
              <a:ext cx="516531" cy="1607765"/>
            </a:xfrm>
            <a:prstGeom prst="line">
              <a:avLst/>
            </a:prstGeom>
            <a:noFill/>
            <a:ln w="6350" cap="flat" cmpd="sng" algn="ctr">
              <a:solidFill>
                <a:schemeClr val="accent5">
                  <a:lumMod val="60000"/>
                  <a:lumOff val="40000"/>
                </a:schemeClr>
              </a:solidFill>
              <a:prstDash val="solid"/>
              <a:round/>
              <a:headEnd type="none" w="med" len="med"/>
              <a:tailEnd type="none" w="med" len="med"/>
            </a:ln>
            <a:effectLst/>
          </p:spPr>
        </p:cxnSp>
        <p:cxnSp>
          <p:nvCxnSpPr>
            <p:cNvPr id="190" name="Straight Connector 189">
              <a:extLst>
                <a:ext uri="{FF2B5EF4-FFF2-40B4-BE49-F238E27FC236}">
                  <a16:creationId xmlns:a16="http://schemas.microsoft.com/office/drawing/2014/main" id="{8E1CD583-1C76-814A-860F-230F9D23AD6A}"/>
                </a:ext>
              </a:extLst>
            </p:cNvPr>
            <p:cNvCxnSpPr/>
            <p:nvPr userDrawn="1"/>
          </p:nvCxnSpPr>
          <p:spPr>
            <a:xfrm flipV="1">
              <a:off x="7921380" y="1611455"/>
              <a:ext cx="516531" cy="1607765"/>
            </a:xfrm>
            <a:prstGeom prst="line">
              <a:avLst/>
            </a:prstGeom>
            <a:noFill/>
            <a:ln w="6350" cap="flat" cmpd="sng" algn="ctr">
              <a:solidFill>
                <a:schemeClr val="accent5">
                  <a:lumMod val="60000"/>
                  <a:lumOff val="40000"/>
                </a:schemeClr>
              </a:solidFill>
              <a:prstDash val="solid"/>
              <a:round/>
              <a:headEnd type="none" w="med" len="med"/>
              <a:tailEnd type="none" w="med" len="med"/>
            </a:ln>
            <a:effectLst/>
          </p:spPr>
        </p:cxnSp>
      </p:grpSp>
    </p:spTree>
    <p:extLst>
      <p:ext uri="{BB962C8B-B14F-4D97-AF65-F5344CB8AC3E}">
        <p14:creationId xmlns:p14="http://schemas.microsoft.com/office/powerpoint/2010/main" val="27766745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column with images">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A42EC3-BB61-5A42-8BF1-1D2972BB044D}"/>
              </a:ext>
            </a:extLst>
          </p:cNvPr>
          <p:cNvSpPr>
            <a:spLocks noGrp="1"/>
          </p:cNvSpPr>
          <p:nvPr>
            <p:ph type="title"/>
          </p:nvPr>
        </p:nvSpPr>
        <p:spPr/>
        <p:txBody>
          <a:bodyPr/>
          <a:lstStyle/>
          <a:p>
            <a:r>
              <a:rPr lang="en-US"/>
              <a:t>Click to edit Master title style</a:t>
            </a:r>
          </a:p>
        </p:txBody>
      </p:sp>
      <p:sp>
        <p:nvSpPr>
          <p:cNvPr id="7" name="Slide Number Placeholder 11">
            <a:extLst>
              <a:ext uri="{FF2B5EF4-FFF2-40B4-BE49-F238E27FC236}">
                <a16:creationId xmlns:a16="http://schemas.microsoft.com/office/drawing/2014/main" id="{F81445D8-D3A2-A446-B35B-0A1E9B448962}"/>
              </a:ext>
            </a:extLst>
          </p:cNvPr>
          <p:cNvSpPr>
            <a:spLocks noGrp="1"/>
          </p:cNvSpPr>
          <p:nvPr>
            <p:ph type="sldNum" sz="quarter" idx="10"/>
          </p:nvPr>
        </p:nvSpPr>
        <p:spPr>
          <a:xfrm>
            <a:off x="2" y="6553202"/>
            <a:ext cx="304799" cy="304799"/>
          </a:xfrm>
        </p:spPr>
        <p:txBody>
          <a:bodyPr lIns="0" tIns="0" rIns="0" bIns="0"/>
          <a:lstStyle/>
          <a:p>
            <a:fld id="{89006F1E-66CD-4A4B-9370-B4A3080F0E6C}" type="slidenum">
              <a:rPr lang="en-US" smtClean="0"/>
              <a:pPr/>
              <a:t>‹#›</a:t>
            </a:fld>
            <a:endParaRPr lang="en-US"/>
          </a:p>
        </p:txBody>
      </p:sp>
      <p:sp>
        <p:nvSpPr>
          <p:cNvPr id="8" name="Footer Placeholder 1">
            <a:extLst>
              <a:ext uri="{FF2B5EF4-FFF2-40B4-BE49-F238E27FC236}">
                <a16:creationId xmlns:a16="http://schemas.microsoft.com/office/drawing/2014/main" id="{31F7B133-5860-D54B-A498-14C05567C68D}"/>
              </a:ext>
            </a:extLst>
          </p:cNvPr>
          <p:cNvSpPr>
            <a:spLocks noGrp="1"/>
          </p:cNvSpPr>
          <p:nvPr>
            <p:ph type="ftr" sz="quarter" idx="14"/>
          </p:nvPr>
        </p:nvSpPr>
        <p:spPr>
          <a:xfrm>
            <a:off x="304802" y="6553201"/>
            <a:ext cx="3657601" cy="304800"/>
          </a:xfrm>
          <a:prstGeom prst="rect">
            <a:avLst/>
          </a:prstGeom>
        </p:spPr>
        <p:txBody>
          <a:bodyPr/>
          <a:lstStyle>
            <a:lvl1pPr>
              <a:defRPr>
                <a:solidFill>
                  <a:schemeClr val="accent5"/>
                </a:solidFill>
              </a:defRPr>
            </a:lvl1pPr>
          </a:lstStyle>
          <a:p>
            <a:r>
              <a:rPr lang="en-US">
                <a:ea typeface="MS PGothic" panose="020B0600070205080204" pitchFamily="34" charset="-128"/>
              </a:rPr>
              <a:t>Proprietary &amp; Confidential |  authoremail@thermofisher.com | 5-August-2020</a:t>
            </a:r>
          </a:p>
        </p:txBody>
      </p:sp>
      <p:sp>
        <p:nvSpPr>
          <p:cNvPr id="9" name="Text Placeholder 7">
            <a:extLst>
              <a:ext uri="{FF2B5EF4-FFF2-40B4-BE49-F238E27FC236}">
                <a16:creationId xmlns:a16="http://schemas.microsoft.com/office/drawing/2014/main" id="{7F606DC1-8556-AC4B-B621-1C8A6F92D688}"/>
              </a:ext>
            </a:extLst>
          </p:cNvPr>
          <p:cNvSpPr>
            <a:spLocks noGrp="1"/>
          </p:cNvSpPr>
          <p:nvPr>
            <p:ph type="body" sz="quarter" idx="15" hasCustomPrompt="1"/>
          </p:nvPr>
        </p:nvSpPr>
        <p:spPr>
          <a:xfrm>
            <a:off x="304798" y="6055756"/>
            <a:ext cx="11591543" cy="489204"/>
          </a:xfrm>
          <a:prstGeom prst="rect">
            <a:avLst/>
          </a:prstGeom>
        </p:spPr>
        <p:txBody>
          <a:bodyPr anchor="b">
            <a:normAutofit/>
          </a:bodyPr>
          <a:lstStyle>
            <a:lvl1pPr marL="0" indent="0">
              <a:spcBef>
                <a:spcPts val="75"/>
              </a:spcBef>
              <a:buNone/>
              <a:defRPr sz="750">
                <a:solidFill>
                  <a:schemeClr val="accent5"/>
                </a:solidFill>
              </a:defRPr>
            </a:lvl1pPr>
          </a:lstStyle>
          <a:p>
            <a:pPr lvl="0"/>
            <a:r>
              <a:rPr lang="en-US"/>
              <a:t>Source notes</a:t>
            </a:r>
          </a:p>
        </p:txBody>
      </p:sp>
      <p:sp>
        <p:nvSpPr>
          <p:cNvPr id="17" name="Text Placeholder 7">
            <a:extLst>
              <a:ext uri="{FF2B5EF4-FFF2-40B4-BE49-F238E27FC236}">
                <a16:creationId xmlns:a16="http://schemas.microsoft.com/office/drawing/2014/main" id="{C194A5C4-4D4E-424D-8DC1-C1FCDF1A8FC5}"/>
              </a:ext>
            </a:extLst>
          </p:cNvPr>
          <p:cNvSpPr>
            <a:spLocks noGrp="1"/>
          </p:cNvSpPr>
          <p:nvPr>
            <p:ph type="body" sz="quarter" idx="11" hasCustomPrompt="1"/>
          </p:nvPr>
        </p:nvSpPr>
        <p:spPr>
          <a:xfrm>
            <a:off x="300227" y="893065"/>
            <a:ext cx="11591546" cy="381001"/>
          </a:xfrm>
          <a:prstGeom prst="rect">
            <a:avLst/>
          </a:prstGeom>
        </p:spPr>
        <p:txBody>
          <a:bodyPr lIns="0" tIns="0" rIns="0" bIns="0" anchor="t">
            <a:noAutofit/>
          </a:bodyPr>
          <a:lstStyle>
            <a:lvl1pPr marL="0" indent="0">
              <a:buNone/>
              <a:defRPr sz="1500">
                <a:solidFill>
                  <a:schemeClr val="tx1"/>
                </a:solidFill>
              </a:defRPr>
            </a:lvl1pPr>
          </a:lstStyle>
          <a:p>
            <a:pPr lvl="0"/>
            <a:r>
              <a:rPr lang="en-US"/>
              <a:t>Click to add </a:t>
            </a:r>
            <a:r>
              <a:rPr lang="en-US" err="1"/>
              <a:t>subheader</a:t>
            </a:r>
            <a:endParaRPr lang="en-US"/>
          </a:p>
        </p:txBody>
      </p:sp>
      <p:sp>
        <p:nvSpPr>
          <p:cNvPr id="18" name="Content Placeholder 3">
            <a:extLst>
              <a:ext uri="{FF2B5EF4-FFF2-40B4-BE49-F238E27FC236}">
                <a16:creationId xmlns:a16="http://schemas.microsoft.com/office/drawing/2014/main" id="{22065214-DE69-2246-B1F9-8B166D25671B}"/>
              </a:ext>
            </a:extLst>
          </p:cNvPr>
          <p:cNvSpPr>
            <a:spLocks noGrp="1"/>
          </p:cNvSpPr>
          <p:nvPr>
            <p:ph sz="quarter" idx="18"/>
          </p:nvPr>
        </p:nvSpPr>
        <p:spPr>
          <a:xfrm>
            <a:off x="304800" y="3512049"/>
            <a:ext cx="3657600" cy="2528783"/>
          </a:xfrm>
          <a:prstGeom prst="rect">
            <a:avLst/>
          </a:prstGeo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a:extLst>
              <a:ext uri="{FF2B5EF4-FFF2-40B4-BE49-F238E27FC236}">
                <a16:creationId xmlns:a16="http://schemas.microsoft.com/office/drawing/2014/main" id="{DE333DB3-CD71-1F4D-8ECF-51D4B490DCCC}"/>
              </a:ext>
            </a:extLst>
          </p:cNvPr>
          <p:cNvSpPr>
            <a:spLocks noGrp="1"/>
          </p:cNvSpPr>
          <p:nvPr>
            <p:ph sz="quarter" idx="19"/>
          </p:nvPr>
        </p:nvSpPr>
        <p:spPr>
          <a:xfrm>
            <a:off x="4267201" y="3512049"/>
            <a:ext cx="3657600" cy="2528783"/>
          </a:xfrm>
          <a:prstGeom prst="rect">
            <a:avLst/>
          </a:prstGeo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3">
            <a:extLst>
              <a:ext uri="{FF2B5EF4-FFF2-40B4-BE49-F238E27FC236}">
                <a16:creationId xmlns:a16="http://schemas.microsoft.com/office/drawing/2014/main" id="{8514F710-85FB-F040-B3B5-8573DB7FE6FE}"/>
              </a:ext>
            </a:extLst>
          </p:cNvPr>
          <p:cNvSpPr>
            <a:spLocks noGrp="1"/>
          </p:cNvSpPr>
          <p:nvPr>
            <p:ph sz="quarter" idx="21"/>
          </p:nvPr>
        </p:nvSpPr>
        <p:spPr>
          <a:xfrm>
            <a:off x="8229594" y="3512049"/>
            <a:ext cx="3657602" cy="2528783"/>
          </a:xfrm>
          <a:prstGeom prst="rect">
            <a:avLst/>
          </a:prstGeo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3">
            <a:extLst>
              <a:ext uri="{FF2B5EF4-FFF2-40B4-BE49-F238E27FC236}">
                <a16:creationId xmlns:a16="http://schemas.microsoft.com/office/drawing/2014/main" id="{21A45530-6C50-AD46-A233-590ADD356A0F}"/>
              </a:ext>
            </a:extLst>
          </p:cNvPr>
          <p:cNvSpPr>
            <a:spLocks noGrp="1"/>
          </p:cNvSpPr>
          <p:nvPr>
            <p:ph type="pic" sz="quarter" idx="22" hasCustomPrompt="1"/>
          </p:nvPr>
        </p:nvSpPr>
        <p:spPr>
          <a:xfrm>
            <a:off x="300226" y="1466405"/>
            <a:ext cx="3662174" cy="1947672"/>
          </a:xfrm>
          <a:prstGeom prst="rect">
            <a:avLst/>
          </a:prstGeom>
          <a:pattFill prst="pct5">
            <a:fgClr>
              <a:schemeClr val="bg1"/>
            </a:fgClr>
            <a:bgClr>
              <a:schemeClr val="bg2"/>
            </a:bgClr>
          </a:pattFill>
        </p:spPr>
        <p:txBody>
          <a:bodyPr anchor="ctr"/>
          <a:lstStyle>
            <a:lvl1pPr marL="0" indent="0" algn="ctr">
              <a:buNone/>
              <a:defRPr/>
            </a:lvl1pPr>
          </a:lstStyle>
          <a:p>
            <a:r>
              <a:rPr lang="en-US"/>
              <a:t>Add photo</a:t>
            </a:r>
          </a:p>
        </p:txBody>
      </p:sp>
      <p:sp>
        <p:nvSpPr>
          <p:cNvPr id="14" name="Picture Placeholder 3">
            <a:extLst>
              <a:ext uri="{FF2B5EF4-FFF2-40B4-BE49-F238E27FC236}">
                <a16:creationId xmlns:a16="http://schemas.microsoft.com/office/drawing/2014/main" id="{93FDE34D-91F9-6E47-BC02-8A5F8FCC0810}"/>
              </a:ext>
            </a:extLst>
          </p:cNvPr>
          <p:cNvSpPr>
            <a:spLocks noGrp="1"/>
          </p:cNvSpPr>
          <p:nvPr>
            <p:ph type="pic" sz="quarter" idx="23" hasCustomPrompt="1"/>
          </p:nvPr>
        </p:nvSpPr>
        <p:spPr>
          <a:xfrm>
            <a:off x="4262626" y="1459723"/>
            <a:ext cx="3662174" cy="1947672"/>
          </a:xfrm>
          <a:prstGeom prst="rect">
            <a:avLst/>
          </a:prstGeom>
          <a:pattFill prst="pct5">
            <a:fgClr>
              <a:schemeClr val="bg1"/>
            </a:fgClr>
            <a:bgClr>
              <a:schemeClr val="bg2"/>
            </a:bgClr>
          </a:pattFill>
        </p:spPr>
        <p:txBody>
          <a:bodyPr anchor="ctr"/>
          <a:lstStyle>
            <a:lvl1pPr marL="0" indent="0" algn="ctr">
              <a:buNone/>
              <a:defRPr/>
            </a:lvl1pPr>
          </a:lstStyle>
          <a:p>
            <a:r>
              <a:rPr lang="en-US"/>
              <a:t>Add photo</a:t>
            </a:r>
          </a:p>
        </p:txBody>
      </p:sp>
      <p:sp>
        <p:nvSpPr>
          <p:cNvPr id="15" name="Picture Placeholder 3">
            <a:extLst>
              <a:ext uri="{FF2B5EF4-FFF2-40B4-BE49-F238E27FC236}">
                <a16:creationId xmlns:a16="http://schemas.microsoft.com/office/drawing/2014/main" id="{918389EF-8958-AA48-B23D-A8082E0D8EAF}"/>
              </a:ext>
            </a:extLst>
          </p:cNvPr>
          <p:cNvSpPr>
            <a:spLocks noGrp="1"/>
          </p:cNvSpPr>
          <p:nvPr>
            <p:ph type="pic" sz="quarter" idx="24" hasCustomPrompt="1"/>
          </p:nvPr>
        </p:nvSpPr>
        <p:spPr>
          <a:xfrm>
            <a:off x="8227308" y="1466404"/>
            <a:ext cx="3662174" cy="1947672"/>
          </a:xfrm>
          <a:prstGeom prst="rect">
            <a:avLst/>
          </a:prstGeom>
          <a:pattFill prst="pct5">
            <a:fgClr>
              <a:schemeClr val="bg1"/>
            </a:fgClr>
            <a:bgClr>
              <a:schemeClr val="bg2"/>
            </a:bgClr>
          </a:pattFill>
        </p:spPr>
        <p:txBody>
          <a:bodyPr anchor="ctr"/>
          <a:lstStyle>
            <a:lvl1pPr marL="0" indent="0" algn="ctr">
              <a:buNone/>
              <a:defRPr/>
            </a:lvl1pPr>
          </a:lstStyle>
          <a:p>
            <a:r>
              <a:rPr lang="en-US"/>
              <a:t>Add photo</a:t>
            </a:r>
          </a:p>
        </p:txBody>
      </p:sp>
      <p:grpSp>
        <p:nvGrpSpPr>
          <p:cNvPr id="16" name="Group 15">
            <a:extLst>
              <a:ext uri="{FF2B5EF4-FFF2-40B4-BE49-F238E27FC236}">
                <a16:creationId xmlns:a16="http://schemas.microsoft.com/office/drawing/2014/main" id="{954AA7D1-4A71-E04D-B394-33DE0DAB98E5}"/>
              </a:ext>
            </a:extLst>
          </p:cNvPr>
          <p:cNvGrpSpPr/>
          <p:nvPr userDrawn="1"/>
        </p:nvGrpSpPr>
        <p:grpSpPr>
          <a:xfrm>
            <a:off x="4114800" y="1474648"/>
            <a:ext cx="3968496" cy="4581107"/>
            <a:chOff x="4105421" y="1377388"/>
            <a:chExt cx="3964795" cy="2233914"/>
          </a:xfrm>
        </p:grpSpPr>
        <p:cxnSp>
          <p:nvCxnSpPr>
            <p:cNvPr id="20" name="Straight Connector 19">
              <a:extLst>
                <a:ext uri="{FF2B5EF4-FFF2-40B4-BE49-F238E27FC236}">
                  <a16:creationId xmlns:a16="http://schemas.microsoft.com/office/drawing/2014/main" id="{D653AB18-4CCB-094A-BBCE-63E28B9E9480}"/>
                </a:ext>
              </a:extLst>
            </p:cNvPr>
            <p:cNvCxnSpPr>
              <a:cxnSpLocks/>
            </p:cNvCxnSpPr>
            <p:nvPr/>
          </p:nvCxnSpPr>
          <p:spPr>
            <a:xfrm>
              <a:off x="4105421" y="1377388"/>
              <a:ext cx="0" cy="2233914"/>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629B770-7DAA-DE43-8441-3B367C83F5D4}"/>
                </a:ext>
              </a:extLst>
            </p:cNvPr>
            <p:cNvCxnSpPr>
              <a:cxnSpLocks/>
            </p:cNvCxnSpPr>
            <p:nvPr/>
          </p:nvCxnSpPr>
          <p:spPr>
            <a:xfrm>
              <a:off x="8070216" y="1377388"/>
              <a:ext cx="0" cy="2233914"/>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5511457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2" name="Title"/>
          <p:cNvSpPr>
            <a:spLocks noGrp="1"/>
          </p:cNvSpPr>
          <p:nvPr>
            <p:ph type="title"/>
            <p:custDataLst>
              <p:tags r:id="rId1"/>
            </p:custDataLst>
          </p:nvPr>
        </p:nvSpPr>
        <p:spPr/>
        <p:txBody>
          <a:bodyPr/>
          <a:lstStyle/>
          <a:p>
            <a:r>
              <a:rPr lang="en-US"/>
              <a:t>Click to edit Master title style</a:t>
            </a:r>
          </a:p>
        </p:txBody>
      </p:sp>
      <p:sp>
        <p:nvSpPr>
          <p:cNvPr id="3" name="btfpLayoutConfig" hidden="1"/>
          <p:cNvSpPr txBox="1"/>
          <p:nvPr userDrawn="1">
            <p:custDataLst>
              <p:tags r:id="rId2"/>
            </p:custDataLst>
          </p:nvPr>
        </p:nvSpPr>
        <p:spPr bwMode="gray">
          <a:xfrm>
            <a:off x="16934" y="12701"/>
            <a:ext cx="413600" cy="69916"/>
          </a:xfrm>
          <a:prstGeom prst="rect">
            <a:avLst/>
          </a:prstGeom>
          <a:noFill/>
        </p:spPr>
        <p:txBody>
          <a:bodyPr vert="horz" wrap="none" lIns="27000" tIns="27000" rIns="27000" bIns="27000" rtlCol="0">
            <a:spAutoFit/>
          </a:bodyPr>
          <a:lstStyle/>
          <a:p>
            <a:pPr marL="0" indent="0">
              <a:buNone/>
            </a:pPr>
            <a:r>
              <a:rPr lang="en-US" sz="100">
                <a:solidFill>
                  <a:srgbClr val="FFFFFF">
                    <a:alpha val="0"/>
                  </a:srgbClr>
                </a:solidFill>
              </a:rPr>
              <a:t>overall_0_131722476803250252 columns_1_131722476803250252 </a:t>
            </a:r>
          </a:p>
        </p:txBody>
      </p:sp>
    </p:spTree>
    <p:extLst>
      <p:ext uri="{BB962C8B-B14F-4D97-AF65-F5344CB8AC3E}">
        <p14:creationId xmlns:p14="http://schemas.microsoft.com/office/powerpoint/2010/main" val="1853229569"/>
      </p:ext>
    </p:extLst>
  </p:cSld>
  <p:clrMapOvr>
    <a:masterClrMapping/>
  </p:clrMapOvr>
  <p:transition/>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3" name="Title 2"/>
          <p:cNvSpPr>
            <a:spLocks noGrp="1"/>
          </p:cNvSpPr>
          <p:nvPr>
            <p:ph type="title"/>
            <p:custDataLst>
              <p:tags r:id="rId1"/>
            </p:custDataLst>
          </p:nvPr>
        </p:nvSpPr>
        <p:spPr/>
        <p:txBody>
          <a:bodyPr/>
          <a:lstStyle/>
          <a:p>
            <a:r>
              <a:rPr lang="en-US"/>
              <a:t>Click to edit Master title style</a:t>
            </a:r>
          </a:p>
        </p:txBody>
      </p:sp>
    </p:spTree>
    <p:extLst>
      <p:ext uri="{BB962C8B-B14F-4D97-AF65-F5344CB8AC3E}">
        <p14:creationId xmlns:p14="http://schemas.microsoft.com/office/powerpoint/2010/main" val="4178477665"/>
      </p:ext>
    </p:extLst>
  </p:cSld>
  <p:clrMapOvr>
    <a:masterClrMapping/>
  </p:clrMapOvr>
  <p:transition>
    <p:fade/>
  </p:transition>
  <p:extLst>
    <p:ext uri="{DCECCB84-F9BA-43D5-87BE-67443E8EF086}">
      <p15:sldGuideLst xmlns:p15="http://schemas.microsoft.com/office/powerpoint/2012/main">
        <p15:guide id="1">
          <p15:clr>
            <a:srgbClr val="CCCCCC"/>
          </p15:clr>
        </p15:guide>
        <p15:guide id="2" pos="7680">
          <p15:clr>
            <a:srgbClr val="CCCCCC"/>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2"/>
          <p:cNvSpPr>
            <a:spLocks noGrp="1"/>
          </p:cNvSpPr>
          <p:nvPr>
            <p:ph type="title"/>
            <p:custDataLst>
              <p:tags r:id="rId1"/>
            </p:custDataLst>
          </p:nvPr>
        </p:nvSpPr>
        <p:spPr/>
        <p:txBody>
          <a:bodyPr/>
          <a:lstStyle/>
          <a:p>
            <a:r>
              <a:rPr lang="en-US"/>
              <a:t>Click to edit Master title style</a:t>
            </a:r>
          </a:p>
        </p:txBody>
      </p:sp>
      <p:sp>
        <p:nvSpPr>
          <p:cNvPr id="5" name="Text Placeholder 5"/>
          <p:cNvSpPr>
            <a:spLocks noGrp="1"/>
          </p:cNvSpPr>
          <p:nvPr>
            <p:ph type="body" sz="quarter" idx="10"/>
            <p:custDataLst>
              <p:tags r:id="rId2"/>
            </p:custDataLst>
          </p:nvPr>
        </p:nvSpPr>
        <p:spPr>
          <a:xfrm>
            <a:off x="266701" y="5732206"/>
            <a:ext cx="11658600" cy="422532"/>
          </a:xfrm>
        </p:spPr>
        <p:txBody>
          <a:bodyPr lIns="0" tIns="0" rIns="0" bIns="0" anchor="b"/>
          <a:lstStyle>
            <a:lvl1pPr marL="0" indent="0">
              <a:buNone/>
              <a:defRPr sz="675">
                <a:solidFill>
                  <a:schemeClr val="accent5"/>
                </a:solidFill>
              </a:defRPr>
            </a:lvl1pPr>
          </a:lstStyle>
          <a:p>
            <a:pPr lvl="0"/>
            <a:endParaRPr lang="en-US"/>
          </a:p>
        </p:txBody>
      </p:sp>
    </p:spTree>
    <p:extLst>
      <p:ext uri="{BB962C8B-B14F-4D97-AF65-F5344CB8AC3E}">
        <p14:creationId xmlns:p14="http://schemas.microsoft.com/office/powerpoint/2010/main" val="2924013021"/>
      </p:ext>
    </p:extLst>
  </p:cSld>
  <p:clrMapOvr>
    <a:masterClrMapping/>
  </p:clrMapOvr>
  <p:transition>
    <p:fade/>
  </p:transition>
  <p:extLst>
    <p:ext uri="{DCECCB84-F9BA-43D5-87BE-67443E8EF086}">
      <p15:sldGuideLst xmlns:p15="http://schemas.microsoft.com/office/powerpoint/2012/main">
        <p15:guide id="1">
          <p15:clr>
            <a:srgbClr val="CCCCCC"/>
          </p15:clr>
        </p15:guide>
        <p15:guide id="2" pos="7680">
          <p15:clr>
            <a:srgbClr val="CCCCCC"/>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1_Title Slide">
    <p:bg>
      <p:bgPr>
        <a:gradFill>
          <a:gsLst>
            <a:gs pos="0">
              <a:schemeClr val="bg1"/>
            </a:gs>
            <a:gs pos="41000">
              <a:schemeClr val="bg1"/>
            </a:gs>
            <a:gs pos="63000">
              <a:schemeClr val="bg2"/>
            </a:gs>
          </a:gsLst>
          <a:lin ang="1080000" scaled="0"/>
        </a:gra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677DF418-A9B4-B748-8DE9-21DBD7EA3747}"/>
              </a:ext>
            </a:extLst>
          </p:cNvPr>
          <p:cNvPicPr>
            <a:picLocks noChangeAspect="1"/>
          </p:cNvPicPr>
          <p:nvPr userDrawn="1"/>
        </p:nvPicPr>
        <p:blipFill>
          <a:blip r:embed="rId2">
            <a:extLst>
              <a:ext uri="{28A0092B-C50C-407E-A947-70E740481C1C}">
                <a14:useLocalDpi xmlns:a14="http://schemas.microsoft.com/office/drawing/2010/main"/>
              </a:ext>
            </a:extLst>
          </a:blip>
          <a:srcRect l="2177" r="2177"/>
          <a:stretch>
            <a:fillRect/>
          </a:stretch>
        </p:blipFill>
        <p:spPr>
          <a:xfrm>
            <a:off x="5560460" y="3"/>
            <a:ext cx="6631541" cy="6857999"/>
          </a:xfrm>
          <a:custGeom>
            <a:avLst/>
            <a:gdLst>
              <a:gd name="connsiteX0" fmla="*/ 2183862 w 6631541"/>
              <a:gd name="connsiteY0" fmla="*/ 0 h 6857999"/>
              <a:gd name="connsiteX1" fmla="*/ 6631541 w 6631541"/>
              <a:gd name="connsiteY1" fmla="*/ 0 h 6857999"/>
              <a:gd name="connsiteX2" fmla="*/ 6631541 w 6631541"/>
              <a:gd name="connsiteY2" fmla="*/ 6857999 h 6857999"/>
              <a:gd name="connsiteX3" fmla="*/ 0 w 66315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6631541" h="6857999">
                <a:moveTo>
                  <a:pt x="2183862" y="0"/>
                </a:moveTo>
                <a:lnTo>
                  <a:pt x="6631541" y="0"/>
                </a:lnTo>
                <a:lnTo>
                  <a:pt x="6631541" y="6857999"/>
                </a:lnTo>
                <a:lnTo>
                  <a:pt x="0" y="6857999"/>
                </a:lnTo>
                <a:close/>
              </a:path>
            </a:pathLst>
          </a:custGeom>
        </p:spPr>
      </p:pic>
      <p:grpSp>
        <p:nvGrpSpPr>
          <p:cNvPr id="7" name="Group 6">
            <a:extLst>
              <a:ext uri="{FF2B5EF4-FFF2-40B4-BE49-F238E27FC236}">
                <a16:creationId xmlns:a16="http://schemas.microsoft.com/office/drawing/2014/main" id="{B1F511C6-A535-A245-B123-CC04435D2DAF}"/>
              </a:ext>
            </a:extLst>
          </p:cNvPr>
          <p:cNvGrpSpPr/>
          <p:nvPr userDrawn="1"/>
        </p:nvGrpSpPr>
        <p:grpSpPr>
          <a:xfrm>
            <a:off x="304801" y="0"/>
            <a:ext cx="2427682" cy="1044934"/>
            <a:chOff x="0" y="0"/>
            <a:chExt cx="2447693" cy="1053548"/>
          </a:xfrm>
        </p:grpSpPr>
        <p:sp>
          <p:nvSpPr>
            <p:cNvPr id="8" name="Parallelogram 7">
              <a:extLst>
                <a:ext uri="{FF2B5EF4-FFF2-40B4-BE49-F238E27FC236}">
                  <a16:creationId xmlns:a16="http://schemas.microsoft.com/office/drawing/2014/main" id="{6399281C-FD14-2942-9A9B-13B5E50B7517}"/>
                </a:ext>
              </a:extLst>
            </p:cNvPr>
            <p:cNvSpPr/>
            <p:nvPr userDrawn="1"/>
          </p:nvSpPr>
          <p:spPr bwMode="auto">
            <a:xfrm>
              <a:off x="0" y="0"/>
              <a:ext cx="2447693" cy="1053548"/>
            </a:xfrm>
            <a:prstGeom prst="parallelogram">
              <a:avLst>
                <a:gd name="adj" fmla="val 0"/>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685778" rtl="0" eaLnBrk="0" fontAlgn="base" latinLnBrk="0" hangingPunct="0">
                <a:lnSpc>
                  <a:spcPct val="100000"/>
                </a:lnSpc>
                <a:spcBef>
                  <a:spcPct val="0"/>
                </a:spcBef>
                <a:spcAft>
                  <a:spcPct val="0"/>
                </a:spcAft>
                <a:buClrTx/>
                <a:buSzTx/>
                <a:buFontTx/>
                <a:buNone/>
              </a:pPr>
              <a:r>
                <a:rPr lang="en-US" sz="1350">
                  <a:latin typeface="Arial" pitchFamily="124" charset="0"/>
                </a:rPr>
                <a:t>               </a:t>
              </a:r>
            </a:p>
          </p:txBody>
        </p:sp>
        <p:pic>
          <p:nvPicPr>
            <p:cNvPr id="9" name="Picture 8">
              <a:extLst>
                <a:ext uri="{FF2B5EF4-FFF2-40B4-BE49-F238E27FC236}">
                  <a16:creationId xmlns:a16="http://schemas.microsoft.com/office/drawing/2014/main" id="{7D60AD95-BD80-6049-9976-D024EC4ECDE8}"/>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35820" y="154984"/>
              <a:ext cx="2178058" cy="756021"/>
            </a:xfrm>
            <a:prstGeom prst="rect">
              <a:avLst/>
            </a:prstGeom>
          </p:spPr>
        </p:pic>
      </p:grpSp>
      <p:grpSp>
        <p:nvGrpSpPr>
          <p:cNvPr id="29" name="Group 28">
            <a:extLst>
              <a:ext uri="{FF2B5EF4-FFF2-40B4-BE49-F238E27FC236}">
                <a16:creationId xmlns:a16="http://schemas.microsoft.com/office/drawing/2014/main" id="{C22F9FBA-8765-F543-9501-7F99893993AB}"/>
              </a:ext>
            </a:extLst>
          </p:cNvPr>
          <p:cNvGrpSpPr/>
          <p:nvPr userDrawn="1"/>
        </p:nvGrpSpPr>
        <p:grpSpPr>
          <a:xfrm>
            <a:off x="283193" y="5970592"/>
            <a:ext cx="5053203" cy="441233"/>
            <a:chOff x="5155556" y="6168462"/>
            <a:chExt cx="5053203" cy="441233"/>
          </a:xfrm>
        </p:grpSpPr>
        <p:sp>
          <p:nvSpPr>
            <p:cNvPr id="30" name="TextBox 29">
              <a:extLst>
                <a:ext uri="{FF2B5EF4-FFF2-40B4-BE49-F238E27FC236}">
                  <a16:creationId xmlns:a16="http://schemas.microsoft.com/office/drawing/2014/main" id="{AA7B3D6A-876F-BF4D-9180-BC91EE9697B0}"/>
                </a:ext>
              </a:extLst>
            </p:cNvPr>
            <p:cNvSpPr txBox="1"/>
            <p:nvPr userDrawn="1"/>
          </p:nvSpPr>
          <p:spPr>
            <a:xfrm>
              <a:off x="5656050" y="6168462"/>
              <a:ext cx="4552709" cy="441233"/>
            </a:xfrm>
            <a:prstGeom prst="rect">
              <a:avLst/>
            </a:prstGeom>
            <a:noFill/>
          </p:spPr>
          <p:txBody>
            <a:bodyPr vert="horz" wrap="square" lIns="0" tIns="0" rIns="0" bIns="0" rtlCol="0" anchor="ctr" anchorCtr="0">
              <a:noAutofit/>
            </a:bodyPr>
            <a:lstStyle/>
            <a:p>
              <a:pPr marL="0" indent="0" algn="l">
                <a:spcBef>
                  <a:spcPts val="0"/>
                </a:spcBef>
                <a:buNone/>
              </a:pPr>
              <a:r>
                <a:rPr lang="en-US" sz="1500">
                  <a:solidFill>
                    <a:schemeClr val="tx1"/>
                  </a:solidFill>
                  <a:latin typeface="Arial"/>
                </a:rPr>
                <a:t>The world leader in serving science</a:t>
              </a:r>
            </a:p>
          </p:txBody>
        </p:sp>
        <p:sp>
          <p:nvSpPr>
            <p:cNvPr id="31" name="Parallelogram 30">
              <a:extLst>
                <a:ext uri="{FF2B5EF4-FFF2-40B4-BE49-F238E27FC236}">
                  <a16:creationId xmlns:a16="http://schemas.microsoft.com/office/drawing/2014/main" id="{05D00626-6EB1-244B-9ADB-13C2AE5E1907}"/>
                </a:ext>
              </a:extLst>
            </p:cNvPr>
            <p:cNvSpPr/>
            <p:nvPr userDrawn="1"/>
          </p:nvSpPr>
          <p:spPr bwMode="auto">
            <a:xfrm>
              <a:off x="5155556" y="6302295"/>
              <a:ext cx="310510" cy="188737"/>
            </a:xfrm>
            <a:prstGeom prst="parallelogram">
              <a:avLst>
                <a:gd name="adj" fmla="val 31844"/>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685778" rtl="0" eaLnBrk="0" fontAlgn="base" latinLnBrk="0" hangingPunct="0">
                <a:lnSpc>
                  <a:spcPct val="100000"/>
                </a:lnSpc>
                <a:spcBef>
                  <a:spcPct val="0"/>
                </a:spcBef>
                <a:spcAft>
                  <a:spcPct val="0"/>
                </a:spcAft>
                <a:buClrTx/>
                <a:buSzTx/>
                <a:buFontTx/>
                <a:buNone/>
              </a:pPr>
              <a:r>
                <a:rPr lang="en-US" sz="1350">
                  <a:latin typeface="Arial" pitchFamily="124" charset="0"/>
                </a:rPr>
                <a:t>               </a:t>
              </a:r>
            </a:p>
          </p:txBody>
        </p:sp>
      </p:grpSp>
      <p:sp>
        <p:nvSpPr>
          <p:cNvPr id="15" name="Text Placeholder 15">
            <a:extLst>
              <a:ext uri="{FF2B5EF4-FFF2-40B4-BE49-F238E27FC236}">
                <a16:creationId xmlns:a16="http://schemas.microsoft.com/office/drawing/2014/main" id="{8209BE38-5C75-4E48-AACA-BEDC106131D5}"/>
              </a:ext>
            </a:extLst>
          </p:cNvPr>
          <p:cNvSpPr>
            <a:spLocks noGrp="1"/>
          </p:cNvSpPr>
          <p:nvPr>
            <p:ph type="body" sz="quarter" idx="10" hasCustomPrompt="1"/>
          </p:nvPr>
        </p:nvSpPr>
        <p:spPr>
          <a:xfrm>
            <a:off x="304802" y="3903896"/>
            <a:ext cx="5791199" cy="308120"/>
          </a:xfrm>
          <a:prstGeom prst="rect">
            <a:avLst/>
          </a:prstGeom>
        </p:spPr>
        <p:txBody>
          <a:bodyPr lIns="0" tIns="0" rIns="0" bIns="0" anchor="b"/>
          <a:lstStyle>
            <a:lvl1pPr>
              <a:spcBef>
                <a:spcPct val="0"/>
              </a:spcBef>
              <a:spcAft>
                <a:spcPct val="0"/>
              </a:spcAft>
              <a:buFontTx/>
              <a:buNone/>
              <a:defRPr sz="1200" b="0" baseline="0">
                <a:solidFill>
                  <a:schemeClr val="tx2"/>
                </a:solidFill>
              </a:defRPr>
            </a:lvl1pPr>
            <a:lvl2pPr marL="85722" indent="3572">
              <a:spcAft>
                <a:spcPct val="0"/>
              </a:spcAft>
              <a:buFontTx/>
              <a:buNone/>
              <a:defRPr sz="1050" i="1" baseline="0">
                <a:solidFill>
                  <a:schemeClr val="tx1"/>
                </a:solidFill>
              </a:defRPr>
            </a:lvl2pPr>
          </a:lstStyle>
          <a:p>
            <a:pPr lvl="0"/>
            <a:r>
              <a:rPr lang="en-US"/>
              <a:t>Presenter name [16pt Arial] </a:t>
            </a:r>
          </a:p>
        </p:txBody>
      </p:sp>
      <p:sp>
        <p:nvSpPr>
          <p:cNvPr id="16" name="Title 16">
            <a:extLst>
              <a:ext uri="{FF2B5EF4-FFF2-40B4-BE49-F238E27FC236}">
                <a16:creationId xmlns:a16="http://schemas.microsoft.com/office/drawing/2014/main" id="{B2B8D3D1-6FA6-C04D-951C-FD0E7458C808}"/>
              </a:ext>
            </a:extLst>
          </p:cNvPr>
          <p:cNvSpPr>
            <a:spLocks noGrp="1"/>
          </p:cNvSpPr>
          <p:nvPr>
            <p:ph type="title" hasCustomPrompt="1"/>
          </p:nvPr>
        </p:nvSpPr>
        <p:spPr>
          <a:xfrm>
            <a:off x="304802" y="1726100"/>
            <a:ext cx="5791199" cy="2071868"/>
          </a:xfrm>
          <a:prstGeom prst="rect">
            <a:avLst/>
          </a:prstGeom>
          <a:noFill/>
        </p:spPr>
        <p:txBody>
          <a:bodyPr wrap="square" lIns="0" tIns="0" rIns="0" bIns="0" anchor="b">
            <a:noAutofit/>
          </a:bodyPr>
          <a:lstStyle>
            <a:lvl1pPr>
              <a:lnSpc>
                <a:spcPct val="110000"/>
              </a:lnSpc>
              <a:defRPr sz="2100" b="1">
                <a:solidFill>
                  <a:schemeClr val="tx1"/>
                </a:solidFill>
              </a:defRPr>
            </a:lvl1pPr>
          </a:lstStyle>
          <a:p>
            <a:r>
              <a:rPr lang="en-US"/>
              <a:t>Title [28pt Arial Bold] </a:t>
            </a:r>
          </a:p>
        </p:txBody>
      </p:sp>
      <p:sp>
        <p:nvSpPr>
          <p:cNvPr id="21" name="Text Placeholder 15">
            <a:extLst>
              <a:ext uri="{FF2B5EF4-FFF2-40B4-BE49-F238E27FC236}">
                <a16:creationId xmlns:a16="http://schemas.microsoft.com/office/drawing/2014/main" id="{046B4CC3-134E-7548-B9F5-FA5784CFD5AE}"/>
              </a:ext>
            </a:extLst>
          </p:cNvPr>
          <p:cNvSpPr>
            <a:spLocks noGrp="1"/>
          </p:cNvSpPr>
          <p:nvPr>
            <p:ph type="body" sz="quarter" idx="14" hasCustomPrompt="1"/>
          </p:nvPr>
        </p:nvSpPr>
        <p:spPr>
          <a:xfrm>
            <a:off x="304802" y="4255835"/>
            <a:ext cx="5791199" cy="1097215"/>
          </a:xfrm>
          <a:prstGeom prst="rect">
            <a:avLst/>
          </a:prstGeom>
        </p:spPr>
        <p:txBody>
          <a:bodyPr lIns="0" tIns="0" rIns="0" bIns="0" anchor="t">
            <a:normAutofit/>
          </a:bodyPr>
          <a:lstStyle>
            <a:lvl1pPr marL="134536" marR="0" indent="-134536" algn="l" defTabSz="685778" rtl="0" eaLnBrk="1" fontAlgn="auto" latinLnBrk="0" hangingPunct="1">
              <a:lnSpc>
                <a:spcPct val="120000"/>
              </a:lnSpc>
              <a:spcBef>
                <a:spcPct val="0"/>
              </a:spcBef>
              <a:spcAft>
                <a:spcPct val="0"/>
              </a:spcAft>
              <a:buClr>
                <a:schemeClr val="accent4"/>
              </a:buClr>
              <a:buSzTx/>
              <a:buFontTx/>
              <a:buNone/>
              <a:defRPr sz="1050" b="0" baseline="0">
                <a:solidFill>
                  <a:schemeClr val="tx1"/>
                </a:solidFill>
              </a:defRPr>
            </a:lvl1pPr>
            <a:lvl2pPr marL="85722" indent="3572">
              <a:spcAft>
                <a:spcPct val="0"/>
              </a:spcAft>
              <a:buFontTx/>
              <a:buNone/>
              <a:defRPr sz="1050" i="1" baseline="0">
                <a:solidFill>
                  <a:schemeClr val="tx1"/>
                </a:solidFill>
              </a:defRPr>
            </a:lvl2pPr>
          </a:lstStyle>
          <a:p>
            <a:pPr marL="308600" marR="0" lvl="0" indent="-308600" algn="l" defTabSz="685778" rtl="0" eaLnBrk="1" fontAlgn="auto" latinLnBrk="0" hangingPunct="1">
              <a:lnSpc>
                <a:spcPct val="120000"/>
              </a:lnSpc>
              <a:spcBef>
                <a:spcPct val="0"/>
              </a:spcBef>
              <a:spcAft>
                <a:spcPct val="0"/>
              </a:spcAft>
              <a:buClr>
                <a:schemeClr val="accent4"/>
              </a:buClr>
              <a:buSzTx/>
              <a:buFontTx/>
              <a:buNone/>
              <a:defRPr/>
            </a:pPr>
            <a:r>
              <a:rPr lang="en-US"/>
              <a:t>Presenter Title [14pt Arial]</a:t>
            </a:r>
            <a:br>
              <a:rPr lang="en-US"/>
            </a:br>
            <a:r>
              <a:rPr lang="en-US"/>
              <a:t>Date [14pt Arial] </a:t>
            </a:r>
          </a:p>
        </p:txBody>
      </p:sp>
      <p:sp>
        <p:nvSpPr>
          <p:cNvPr id="19" name="Footer Placeholder 1">
            <a:extLst>
              <a:ext uri="{FF2B5EF4-FFF2-40B4-BE49-F238E27FC236}">
                <a16:creationId xmlns:a16="http://schemas.microsoft.com/office/drawing/2014/main" id="{BA129332-E471-D44D-8711-996E85A9EE29}"/>
              </a:ext>
            </a:extLst>
          </p:cNvPr>
          <p:cNvSpPr txBox="1">
            <a:spLocks/>
          </p:cNvSpPr>
          <p:nvPr userDrawn="1"/>
        </p:nvSpPr>
        <p:spPr>
          <a:xfrm>
            <a:off x="6790379" y="6553202"/>
            <a:ext cx="5096820" cy="304799"/>
          </a:xfrm>
          <a:prstGeom prst="rect">
            <a:avLst/>
          </a:prstGeom>
        </p:spPr>
        <p:txBody>
          <a:bodyPr vert="horz" lIns="68580" tIns="34290" rIns="68580" bIns="34290" rtlCol="0" anchor="ctr"/>
          <a:lstStyle>
            <a:defPPr>
              <a:defRPr lang="en-US"/>
            </a:defPPr>
            <a:lvl1pPr marL="0" indent="0" algn="l" defTabSz="711200" rtl="0" eaLnBrk="1" latinLnBrk="0" hangingPunct="1">
              <a:spcBef>
                <a:spcPts val="1200"/>
              </a:spcBef>
              <a:buNone/>
              <a:defRPr lang="en-US" sz="800" kern="1200">
                <a:solidFill>
                  <a:schemeClr val="accent5"/>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algn="r"/>
            <a:r>
              <a:rPr lang="en-US" sz="600"/>
              <a:t>This information is confidential; it is not to be relied on by any 3rd party without prior written consent.</a:t>
            </a:r>
          </a:p>
        </p:txBody>
      </p:sp>
      <p:sp>
        <p:nvSpPr>
          <p:cNvPr id="4" name="btfpLayoutConfig" hidden="1"/>
          <p:cNvSpPr txBox="1"/>
          <p:nvPr userDrawn="1"/>
        </p:nvSpPr>
        <p:spPr bwMode="gray">
          <a:xfrm>
            <a:off x="12700" y="12701"/>
            <a:ext cx="413600" cy="69916"/>
          </a:xfrm>
          <a:prstGeom prst="rect">
            <a:avLst/>
          </a:prstGeom>
          <a:noFill/>
        </p:spPr>
        <p:txBody>
          <a:bodyPr vert="horz" wrap="none" lIns="27000" tIns="27000" rIns="27000" bIns="27000" rtlCol="0">
            <a:spAutoFit/>
          </a:bodyPr>
          <a:lstStyle/>
          <a:p>
            <a:pPr marL="0" indent="0">
              <a:buNone/>
            </a:pPr>
            <a:r>
              <a:rPr lang="en-US" sz="100">
                <a:solidFill>
                  <a:srgbClr val="FFFFFF">
                    <a:alpha val="0"/>
                  </a:srgbClr>
                </a:solidFill>
              </a:rPr>
              <a:t>overall_0_132430381019304322 columns_1_132430381019304322 </a:t>
            </a:r>
            <a:endParaRPr lang="en-US" sz="100" err="1">
              <a:solidFill>
                <a:srgbClr val="FFFFFF">
                  <a:alpha val="0"/>
                </a:srgbClr>
              </a:solidFill>
            </a:endParaRPr>
          </a:p>
        </p:txBody>
      </p:sp>
      <p:sp>
        <p:nvSpPr>
          <p:cNvPr id="18" name="Footer Placeholder 1">
            <a:extLst>
              <a:ext uri="{FF2B5EF4-FFF2-40B4-BE49-F238E27FC236}">
                <a16:creationId xmlns:a16="http://schemas.microsoft.com/office/drawing/2014/main" id="{BA129332-E471-D44D-8711-996E85A9EE29}"/>
              </a:ext>
            </a:extLst>
          </p:cNvPr>
          <p:cNvSpPr txBox="1">
            <a:spLocks/>
          </p:cNvSpPr>
          <p:nvPr userDrawn="1"/>
        </p:nvSpPr>
        <p:spPr>
          <a:xfrm>
            <a:off x="304800" y="6553202"/>
            <a:ext cx="3657600" cy="304799"/>
          </a:xfrm>
          <a:prstGeom prst="rect">
            <a:avLst/>
          </a:prstGeom>
        </p:spPr>
        <p:txBody>
          <a:bodyPr vert="horz" lIns="68580" tIns="34290" rIns="68580" bIns="34290" rtlCol="0" anchor="ctr"/>
          <a:lstStyle>
            <a:defPPr>
              <a:defRPr lang="en-US"/>
            </a:defPPr>
            <a:lvl1pPr marL="0" indent="0" algn="l" defTabSz="711200" rtl="0" eaLnBrk="1" latinLnBrk="0" hangingPunct="1">
              <a:spcBef>
                <a:spcPts val="1200"/>
              </a:spcBef>
              <a:buNone/>
              <a:defRPr lang="en-US" sz="800" kern="1200">
                <a:solidFill>
                  <a:schemeClr val="accent5"/>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r>
              <a:rPr lang="en-US" sz="600"/>
              <a:t>Proprietary &amp; Confidential </a:t>
            </a:r>
          </a:p>
        </p:txBody>
      </p:sp>
      <p:sp>
        <p:nvSpPr>
          <p:cNvPr id="20" name="Slide Number Placeholder 2">
            <a:extLst>
              <a:ext uri="{FF2B5EF4-FFF2-40B4-BE49-F238E27FC236}">
                <a16:creationId xmlns:a16="http://schemas.microsoft.com/office/drawing/2014/main" id="{B4F77913-5D2C-C141-AB22-388096EB8230}"/>
              </a:ext>
            </a:extLst>
          </p:cNvPr>
          <p:cNvSpPr txBox="1">
            <a:spLocks/>
          </p:cNvSpPr>
          <p:nvPr userDrawn="1"/>
        </p:nvSpPr>
        <p:spPr>
          <a:xfrm>
            <a:off x="2" y="6553202"/>
            <a:ext cx="304799" cy="304799"/>
          </a:xfrm>
          <a:prstGeom prst="rect">
            <a:avLst/>
          </a:prstGeom>
        </p:spPr>
        <p:txBody>
          <a:bodyPr vert="horz" lIns="0" tIns="0" rIns="0" bIns="0" rtlCol="0" anchor="ctr"/>
          <a:lstStyle>
            <a:defPPr>
              <a:defRPr lang="en-US"/>
            </a:defPPr>
            <a:lvl1pPr marL="0" indent="0" algn="ctr" defTabSz="711200" rtl="0" eaLnBrk="1" latinLnBrk="0" hangingPunct="1">
              <a:spcBef>
                <a:spcPts val="0"/>
              </a:spcBef>
              <a:buNone/>
              <a:defRPr sz="1000" kern="1200">
                <a:solidFill>
                  <a:schemeClr val="accent5"/>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fld id="{89006F1E-66CD-4A4B-9370-B4A3080F0E6C}" type="slidenum">
              <a:rPr lang="en-US" sz="750" smtClean="0"/>
              <a:pPr/>
              <a:t>‹#›</a:t>
            </a:fld>
            <a:endParaRPr lang="en-US" sz="750"/>
          </a:p>
        </p:txBody>
      </p:sp>
    </p:spTree>
    <p:extLst>
      <p:ext uri="{BB962C8B-B14F-4D97-AF65-F5344CB8AC3E}">
        <p14:creationId xmlns:p14="http://schemas.microsoft.com/office/powerpoint/2010/main" val="24146021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pos="192">
          <p15:clr>
            <a:srgbClr val="CCCCCC"/>
          </p15:clr>
        </p15:guide>
        <p15:guide id="2" pos="7488">
          <p15:clr>
            <a:srgbClr val="CCCCCC"/>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23852" y="1065215"/>
            <a:ext cx="11569700" cy="4833937"/>
          </a:xfrm>
        </p:spPr>
        <p:txBody>
          <a:bodyPr/>
          <a:lstStyle>
            <a:lvl1pPr>
              <a:defRPr/>
            </a:lvl1pPr>
            <a:lvl2pPr>
              <a:defRPr baseline="0"/>
            </a:lvl2pPr>
            <a:lvl3pPr>
              <a:buClr>
                <a:schemeClr val="accent5">
                  <a:lumMod val="75000"/>
                </a:schemeClr>
              </a:buClr>
              <a:defRPr/>
            </a:lvl3pPr>
          </a:lstStyle>
          <a:p>
            <a:pPr lvl="0"/>
            <a:r>
              <a:rPr lang="en-US"/>
              <a:t>First level: Arial 20pt</a:t>
            </a:r>
          </a:p>
          <a:p>
            <a:pPr lvl="1"/>
            <a:r>
              <a:rPr lang="en-US"/>
              <a:t>Second level: Arial 18pt</a:t>
            </a:r>
          </a:p>
          <a:p>
            <a:pPr lvl="2"/>
            <a:r>
              <a:rPr lang="en-US"/>
              <a:t>Third level: Arial 16pt</a:t>
            </a: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8500263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pos="192">
          <p15:clr>
            <a:srgbClr val="CCCCCC"/>
          </p15:clr>
        </p15:guide>
        <p15:guide id="2" pos="3728">
          <p15:clr>
            <a:srgbClr val="CCCCCC"/>
          </p15:clr>
        </p15:guide>
        <p15:guide id="3" pos="3952">
          <p15:clr>
            <a:srgbClr val="CCCCCC"/>
          </p15:clr>
        </p15:guide>
        <p15:guide id="4" pos="7488">
          <p15:clr>
            <a:srgbClr val="CCCCCC"/>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cSld name="Custom_1">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FCD351-FB49-4649-BD51-7F2228F8A180}"/>
              </a:ext>
            </a:extLst>
          </p:cNvPr>
          <p:cNvSpPr>
            <a:spLocks noGrp="1"/>
          </p:cNvSpPr>
          <p:nvPr>
            <p:ph type="title"/>
          </p:nvPr>
        </p:nvSpPr>
        <p:spPr>
          <a:xfrm>
            <a:off x="1364929" y="250319"/>
            <a:ext cx="8686801" cy="895029"/>
          </a:xfrm>
        </p:spPr>
        <p:txBody>
          <a:bodyPr anchor="ctr" anchorCtr="0"/>
          <a:lstStyle>
            <a:lvl1pPr>
              <a:defRPr>
                <a:solidFill>
                  <a:schemeClr val="tx2"/>
                </a:solidFill>
              </a:defRPr>
            </a:lvl1pPr>
          </a:lstStyle>
          <a:p>
            <a:r>
              <a:rPr lang="en-US"/>
              <a:t>Click to edit Master title style</a:t>
            </a:r>
          </a:p>
        </p:txBody>
      </p:sp>
      <p:sp>
        <p:nvSpPr>
          <p:cNvPr id="6" name="Text Placeholder 7">
            <a:extLst>
              <a:ext uri="{FF2B5EF4-FFF2-40B4-BE49-F238E27FC236}">
                <a16:creationId xmlns:a16="http://schemas.microsoft.com/office/drawing/2014/main" id="{AC6D37E8-5E1B-4025-9CB6-9AADD0B2F568}"/>
              </a:ext>
            </a:extLst>
          </p:cNvPr>
          <p:cNvSpPr>
            <a:spLocks noGrp="1"/>
          </p:cNvSpPr>
          <p:nvPr>
            <p:ph type="body" sz="quarter" idx="11" hasCustomPrompt="1"/>
          </p:nvPr>
        </p:nvSpPr>
        <p:spPr>
          <a:xfrm>
            <a:off x="304798" y="1268439"/>
            <a:ext cx="11591546" cy="381001"/>
          </a:xfrm>
          <a:prstGeom prst="rect">
            <a:avLst/>
          </a:prstGeom>
        </p:spPr>
        <p:txBody>
          <a:bodyPr lIns="0" tIns="0" rIns="0" bIns="0" anchor="t">
            <a:noAutofit/>
          </a:bodyPr>
          <a:lstStyle>
            <a:lvl1pPr marL="0" indent="0">
              <a:buNone/>
              <a:defRPr sz="1500">
                <a:solidFill>
                  <a:schemeClr val="tx1"/>
                </a:solidFill>
              </a:defRPr>
            </a:lvl1pPr>
          </a:lstStyle>
          <a:p>
            <a:pPr lvl="0"/>
            <a:r>
              <a:rPr lang="en-US"/>
              <a:t>Click to add </a:t>
            </a:r>
            <a:r>
              <a:rPr lang="en-US" err="1"/>
              <a:t>subheader</a:t>
            </a:r>
            <a:endParaRPr lang="en-US"/>
          </a:p>
        </p:txBody>
      </p:sp>
      <p:sp>
        <p:nvSpPr>
          <p:cNvPr id="7" name="Text Placeholder 7">
            <a:extLst>
              <a:ext uri="{FF2B5EF4-FFF2-40B4-BE49-F238E27FC236}">
                <a16:creationId xmlns:a16="http://schemas.microsoft.com/office/drawing/2014/main" id="{C1053C4D-3245-41E9-BC79-2133D6EFE62D}"/>
              </a:ext>
            </a:extLst>
          </p:cNvPr>
          <p:cNvSpPr>
            <a:spLocks noGrp="1"/>
          </p:cNvSpPr>
          <p:nvPr>
            <p:ph type="body" sz="quarter" idx="12" hasCustomPrompt="1"/>
          </p:nvPr>
        </p:nvSpPr>
        <p:spPr>
          <a:xfrm>
            <a:off x="304798" y="6055756"/>
            <a:ext cx="11582401" cy="489204"/>
          </a:xfrm>
          <a:prstGeom prst="rect">
            <a:avLst/>
          </a:prstGeom>
        </p:spPr>
        <p:txBody>
          <a:bodyPr anchor="b">
            <a:normAutofit/>
          </a:bodyPr>
          <a:lstStyle>
            <a:lvl1pPr marL="0" indent="0">
              <a:spcBef>
                <a:spcPts val="75"/>
              </a:spcBef>
              <a:buNone/>
              <a:defRPr sz="750">
                <a:solidFill>
                  <a:schemeClr val="accent5"/>
                </a:solidFill>
              </a:defRPr>
            </a:lvl1pPr>
          </a:lstStyle>
          <a:p>
            <a:pPr lvl="0"/>
            <a:r>
              <a:rPr lang="en-US"/>
              <a:t>Source notes</a:t>
            </a:r>
          </a:p>
        </p:txBody>
      </p:sp>
      <p:sp>
        <p:nvSpPr>
          <p:cNvPr id="8" name="Slide Number Placeholder 11">
            <a:extLst>
              <a:ext uri="{FF2B5EF4-FFF2-40B4-BE49-F238E27FC236}">
                <a16:creationId xmlns:a16="http://schemas.microsoft.com/office/drawing/2014/main" id="{43FDEDB6-CE04-F84B-AAD3-991730DCA9C0}"/>
              </a:ext>
            </a:extLst>
          </p:cNvPr>
          <p:cNvSpPr>
            <a:spLocks noGrp="1"/>
          </p:cNvSpPr>
          <p:nvPr>
            <p:ph type="sldNum" sz="quarter" idx="10"/>
          </p:nvPr>
        </p:nvSpPr>
        <p:spPr>
          <a:xfrm>
            <a:off x="2" y="6553202"/>
            <a:ext cx="304799" cy="304799"/>
          </a:xfrm>
        </p:spPr>
        <p:txBody>
          <a:bodyPr lIns="0" tIns="0" rIns="0" bIns="0"/>
          <a:lstStyle/>
          <a:p>
            <a:fld id="{89006F1E-66CD-4A4B-9370-B4A3080F0E6C}" type="slidenum">
              <a:rPr lang="en-US" smtClean="0"/>
              <a:pPr/>
              <a:t>‹#›</a:t>
            </a:fld>
            <a:endParaRPr lang="en-US"/>
          </a:p>
        </p:txBody>
      </p:sp>
      <p:sp>
        <p:nvSpPr>
          <p:cNvPr id="9" name="Footer Placeholder 1">
            <a:extLst>
              <a:ext uri="{FF2B5EF4-FFF2-40B4-BE49-F238E27FC236}">
                <a16:creationId xmlns:a16="http://schemas.microsoft.com/office/drawing/2014/main" id="{D91B50C1-7025-B243-9430-602CDE810AAB}"/>
              </a:ext>
            </a:extLst>
          </p:cNvPr>
          <p:cNvSpPr>
            <a:spLocks noGrp="1"/>
          </p:cNvSpPr>
          <p:nvPr>
            <p:ph type="ftr" sz="quarter" idx="13"/>
          </p:nvPr>
        </p:nvSpPr>
        <p:spPr>
          <a:xfrm>
            <a:off x="304802" y="6553201"/>
            <a:ext cx="11582399" cy="304800"/>
          </a:xfrm>
          <a:prstGeom prst="rect">
            <a:avLst/>
          </a:prstGeom>
        </p:spPr>
        <p:txBody>
          <a:bodyPr/>
          <a:lstStyle>
            <a:lvl1pPr>
              <a:defRPr>
                <a:solidFill>
                  <a:schemeClr val="accent5"/>
                </a:solidFill>
              </a:defRPr>
            </a:lvl1pPr>
          </a:lstStyle>
          <a:p>
            <a:r>
              <a:rPr lang="en-US"/>
              <a:t>Q4 2020</a:t>
            </a:r>
          </a:p>
        </p:txBody>
      </p:sp>
      <p:grpSp>
        <p:nvGrpSpPr>
          <p:cNvPr id="10" name="Group 9">
            <a:extLst>
              <a:ext uri="{FF2B5EF4-FFF2-40B4-BE49-F238E27FC236}">
                <a16:creationId xmlns:a16="http://schemas.microsoft.com/office/drawing/2014/main" id="{99CBBF46-F419-BB41-A2D1-3AD6DCE78E51}"/>
              </a:ext>
            </a:extLst>
          </p:cNvPr>
          <p:cNvGrpSpPr/>
          <p:nvPr userDrawn="1"/>
        </p:nvGrpSpPr>
        <p:grpSpPr>
          <a:xfrm>
            <a:off x="304802" y="250319"/>
            <a:ext cx="895028" cy="895029"/>
            <a:chOff x="5671729" y="2603136"/>
            <a:chExt cx="901737" cy="901737"/>
          </a:xfrm>
        </p:grpSpPr>
        <p:grpSp>
          <p:nvGrpSpPr>
            <p:cNvPr id="11" name="Group 10">
              <a:extLst>
                <a:ext uri="{FF2B5EF4-FFF2-40B4-BE49-F238E27FC236}">
                  <a16:creationId xmlns:a16="http://schemas.microsoft.com/office/drawing/2014/main" id="{1D8109F2-522D-104F-9818-62A4DD2D51E5}"/>
                </a:ext>
              </a:extLst>
            </p:cNvPr>
            <p:cNvGrpSpPr/>
            <p:nvPr/>
          </p:nvGrpSpPr>
          <p:grpSpPr>
            <a:xfrm>
              <a:off x="5671729" y="2603136"/>
              <a:ext cx="901737" cy="901737"/>
              <a:chOff x="5665478" y="2350982"/>
              <a:chExt cx="901737" cy="901737"/>
            </a:xfrm>
          </p:grpSpPr>
          <p:sp>
            <p:nvSpPr>
              <p:cNvPr id="13" name="Oval 12">
                <a:extLst>
                  <a:ext uri="{FF2B5EF4-FFF2-40B4-BE49-F238E27FC236}">
                    <a16:creationId xmlns:a16="http://schemas.microsoft.com/office/drawing/2014/main" id="{2AF323B1-A96A-8442-B8C1-D92F18F2AC8E}"/>
                  </a:ext>
                </a:extLst>
              </p:cNvPr>
              <p:cNvSpPr>
                <a:spLocks noChangeAspect="1"/>
              </p:cNvSpPr>
              <p:nvPr/>
            </p:nvSpPr>
            <p:spPr bwMode="auto">
              <a:xfrm>
                <a:off x="5665478" y="2350982"/>
                <a:ext cx="901737" cy="901737"/>
              </a:xfrm>
              <a:prstGeom prst="ellipse">
                <a:avLst/>
              </a:prstGeom>
              <a:solidFill>
                <a:schemeClr val="bg2"/>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685778"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222222"/>
                  </a:solidFill>
                  <a:effectLst/>
                  <a:uLnTx/>
                  <a:uFillTx/>
                  <a:latin typeface="Arial" pitchFamily="124" charset="0"/>
                  <a:ea typeface="+mn-ea"/>
                  <a:cs typeface="+mn-cs"/>
                </a:endParaRPr>
              </a:p>
            </p:txBody>
          </p:sp>
          <p:sp>
            <p:nvSpPr>
              <p:cNvPr id="14" name="Oval 13">
                <a:extLst>
                  <a:ext uri="{FF2B5EF4-FFF2-40B4-BE49-F238E27FC236}">
                    <a16:creationId xmlns:a16="http://schemas.microsoft.com/office/drawing/2014/main" id="{69204685-3B9C-584A-80DB-A0B92919E5C6}"/>
                  </a:ext>
                </a:extLst>
              </p:cNvPr>
              <p:cNvSpPr>
                <a:spLocks noChangeAspect="1"/>
              </p:cNvSpPr>
              <p:nvPr/>
            </p:nvSpPr>
            <p:spPr bwMode="auto">
              <a:xfrm>
                <a:off x="5734842" y="2420346"/>
                <a:ext cx="763008" cy="763008"/>
              </a:xfrm>
              <a:prstGeom prst="ellipse">
                <a:avLst/>
              </a:prstGeom>
              <a:solidFill>
                <a:schemeClr val="bg1"/>
              </a:solidFill>
              <a:ln w="31750"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685778"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222222"/>
                  </a:solidFill>
                  <a:effectLst/>
                  <a:uLnTx/>
                  <a:uFillTx/>
                  <a:latin typeface="Arial" pitchFamily="124" charset="0"/>
                  <a:ea typeface="+mn-ea"/>
                  <a:cs typeface="+mn-cs"/>
                </a:endParaRPr>
              </a:p>
            </p:txBody>
          </p:sp>
        </p:grpSp>
        <p:pic>
          <p:nvPicPr>
            <p:cNvPr id="12" name="Graphic 11" descr="DNA with solid fill">
              <a:extLst>
                <a:ext uri="{FF2B5EF4-FFF2-40B4-BE49-F238E27FC236}">
                  <a16:creationId xmlns:a16="http://schemas.microsoft.com/office/drawing/2014/main" id="{F73DED58-A75B-7340-9E49-5FDFC5E31A30}"/>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2431836">
              <a:off x="5852352" y="2783759"/>
              <a:ext cx="540490" cy="540490"/>
            </a:xfrm>
            <a:prstGeom prst="rect">
              <a:avLst/>
            </a:prstGeom>
          </p:spPr>
        </p:pic>
      </p:grpSp>
    </p:spTree>
    <p:extLst>
      <p:ext uri="{BB962C8B-B14F-4D97-AF65-F5344CB8AC3E}">
        <p14:creationId xmlns:p14="http://schemas.microsoft.com/office/powerpoint/2010/main" val="2094697771"/>
      </p:ext>
    </p:extLst>
  </p:cSld>
  <p:clrMapOvr>
    <a:masterClrMapping/>
  </p:clrMapOvr>
  <mc:AlternateContent xmlns:mc="http://schemas.openxmlformats.org/markup-compatibility/2006" xmlns:p14="http://schemas.microsoft.com/office/powerpoint/2010/main">
    <mc:Choice Requires="p14">
      <p:transition p14:dur="0">
        <p:fade/>
      </p:transition>
    </mc:Choice>
    <mc:Fallback xmlns="">
      <p:transition>
        <p:fade/>
      </p:transition>
    </mc:Fallback>
  </mc:AlternateContent>
  <p:hf hdr="0" dt="0"/>
  <p:extLst>
    <p:ext uri="{DCECCB84-F9BA-43D5-87BE-67443E8EF086}">
      <p15:sldGuideLst xmlns:p15="http://schemas.microsoft.com/office/powerpoint/2012/main">
        <p15:guide id="2" pos="3744">
          <p15:clr>
            <a:srgbClr val="FBAE40"/>
          </p15:clr>
        </p15:guide>
        <p15:guide id="3" pos="3936">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cSld name="Custom_2">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FCD351-FB49-4649-BD51-7F2228F8A180}"/>
              </a:ext>
            </a:extLst>
          </p:cNvPr>
          <p:cNvSpPr>
            <a:spLocks noGrp="1"/>
          </p:cNvSpPr>
          <p:nvPr>
            <p:ph type="title"/>
          </p:nvPr>
        </p:nvSpPr>
        <p:spPr>
          <a:xfrm>
            <a:off x="1364929" y="250319"/>
            <a:ext cx="8686801" cy="895029"/>
          </a:xfrm>
        </p:spPr>
        <p:txBody>
          <a:bodyPr anchor="ctr" anchorCtr="0"/>
          <a:lstStyle>
            <a:lvl1pPr>
              <a:defRPr>
                <a:solidFill>
                  <a:schemeClr val="tx2"/>
                </a:solidFill>
              </a:defRPr>
            </a:lvl1pPr>
          </a:lstStyle>
          <a:p>
            <a:r>
              <a:rPr lang="en-US"/>
              <a:t>Click to edit Master title style</a:t>
            </a:r>
          </a:p>
        </p:txBody>
      </p:sp>
      <p:sp>
        <p:nvSpPr>
          <p:cNvPr id="6" name="Text Placeholder 7">
            <a:extLst>
              <a:ext uri="{FF2B5EF4-FFF2-40B4-BE49-F238E27FC236}">
                <a16:creationId xmlns:a16="http://schemas.microsoft.com/office/drawing/2014/main" id="{AC6D37E8-5E1B-4025-9CB6-9AADD0B2F568}"/>
              </a:ext>
            </a:extLst>
          </p:cNvPr>
          <p:cNvSpPr>
            <a:spLocks noGrp="1"/>
          </p:cNvSpPr>
          <p:nvPr>
            <p:ph type="body" sz="quarter" idx="11" hasCustomPrompt="1"/>
          </p:nvPr>
        </p:nvSpPr>
        <p:spPr>
          <a:xfrm>
            <a:off x="304798" y="1268439"/>
            <a:ext cx="11591546" cy="381001"/>
          </a:xfrm>
          <a:prstGeom prst="rect">
            <a:avLst/>
          </a:prstGeom>
        </p:spPr>
        <p:txBody>
          <a:bodyPr lIns="0" tIns="0" rIns="0" bIns="0" anchor="t">
            <a:noAutofit/>
          </a:bodyPr>
          <a:lstStyle>
            <a:lvl1pPr marL="0" indent="0">
              <a:buNone/>
              <a:defRPr sz="1500">
                <a:solidFill>
                  <a:schemeClr val="tx1"/>
                </a:solidFill>
              </a:defRPr>
            </a:lvl1pPr>
          </a:lstStyle>
          <a:p>
            <a:pPr lvl="0"/>
            <a:r>
              <a:rPr lang="en-US"/>
              <a:t>Click to add </a:t>
            </a:r>
            <a:r>
              <a:rPr lang="en-US" err="1"/>
              <a:t>subheader</a:t>
            </a:r>
            <a:endParaRPr lang="en-US"/>
          </a:p>
        </p:txBody>
      </p:sp>
      <p:sp>
        <p:nvSpPr>
          <p:cNvPr id="7" name="Text Placeholder 7">
            <a:extLst>
              <a:ext uri="{FF2B5EF4-FFF2-40B4-BE49-F238E27FC236}">
                <a16:creationId xmlns:a16="http://schemas.microsoft.com/office/drawing/2014/main" id="{C1053C4D-3245-41E9-BC79-2133D6EFE62D}"/>
              </a:ext>
            </a:extLst>
          </p:cNvPr>
          <p:cNvSpPr>
            <a:spLocks noGrp="1"/>
          </p:cNvSpPr>
          <p:nvPr>
            <p:ph type="body" sz="quarter" idx="12" hasCustomPrompt="1"/>
          </p:nvPr>
        </p:nvSpPr>
        <p:spPr>
          <a:xfrm>
            <a:off x="304798" y="6055756"/>
            <a:ext cx="11582401" cy="489204"/>
          </a:xfrm>
          <a:prstGeom prst="rect">
            <a:avLst/>
          </a:prstGeom>
        </p:spPr>
        <p:txBody>
          <a:bodyPr anchor="b">
            <a:normAutofit/>
          </a:bodyPr>
          <a:lstStyle>
            <a:lvl1pPr marL="0" indent="0">
              <a:spcBef>
                <a:spcPts val="75"/>
              </a:spcBef>
              <a:buNone/>
              <a:defRPr sz="750">
                <a:solidFill>
                  <a:schemeClr val="accent5"/>
                </a:solidFill>
              </a:defRPr>
            </a:lvl1pPr>
          </a:lstStyle>
          <a:p>
            <a:pPr lvl="0"/>
            <a:r>
              <a:rPr lang="en-US"/>
              <a:t>Source notes</a:t>
            </a:r>
          </a:p>
        </p:txBody>
      </p:sp>
      <p:sp>
        <p:nvSpPr>
          <p:cNvPr id="8" name="Slide Number Placeholder 11">
            <a:extLst>
              <a:ext uri="{FF2B5EF4-FFF2-40B4-BE49-F238E27FC236}">
                <a16:creationId xmlns:a16="http://schemas.microsoft.com/office/drawing/2014/main" id="{43FDEDB6-CE04-F84B-AAD3-991730DCA9C0}"/>
              </a:ext>
            </a:extLst>
          </p:cNvPr>
          <p:cNvSpPr>
            <a:spLocks noGrp="1"/>
          </p:cNvSpPr>
          <p:nvPr>
            <p:ph type="sldNum" sz="quarter" idx="10"/>
          </p:nvPr>
        </p:nvSpPr>
        <p:spPr>
          <a:xfrm>
            <a:off x="2" y="6553202"/>
            <a:ext cx="304799" cy="304799"/>
          </a:xfrm>
        </p:spPr>
        <p:txBody>
          <a:bodyPr lIns="0" tIns="0" rIns="0" bIns="0"/>
          <a:lstStyle/>
          <a:p>
            <a:fld id="{89006F1E-66CD-4A4B-9370-B4A3080F0E6C}" type="slidenum">
              <a:rPr lang="en-US" smtClean="0"/>
              <a:pPr/>
              <a:t>‹#›</a:t>
            </a:fld>
            <a:endParaRPr lang="en-US"/>
          </a:p>
        </p:txBody>
      </p:sp>
      <p:sp>
        <p:nvSpPr>
          <p:cNvPr id="9" name="Footer Placeholder 1">
            <a:extLst>
              <a:ext uri="{FF2B5EF4-FFF2-40B4-BE49-F238E27FC236}">
                <a16:creationId xmlns:a16="http://schemas.microsoft.com/office/drawing/2014/main" id="{D91B50C1-7025-B243-9430-602CDE810AAB}"/>
              </a:ext>
            </a:extLst>
          </p:cNvPr>
          <p:cNvSpPr>
            <a:spLocks noGrp="1"/>
          </p:cNvSpPr>
          <p:nvPr>
            <p:ph type="ftr" sz="quarter" idx="13"/>
          </p:nvPr>
        </p:nvSpPr>
        <p:spPr>
          <a:xfrm>
            <a:off x="304802" y="6553201"/>
            <a:ext cx="11582399" cy="304800"/>
          </a:xfrm>
          <a:prstGeom prst="rect">
            <a:avLst/>
          </a:prstGeom>
        </p:spPr>
        <p:txBody>
          <a:bodyPr/>
          <a:lstStyle>
            <a:lvl1pPr>
              <a:defRPr>
                <a:solidFill>
                  <a:schemeClr val="accent5"/>
                </a:solidFill>
              </a:defRPr>
            </a:lvl1pPr>
          </a:lstStyle>
          <a:p>
            <a:r>
              <a:rPr lang="en-US"/>
              <a:t>Q4 2020</a:t>
            </a:r>
          </a:p>
        </p:txBody>
      </p:sp>
      <p:grpSp>
        <p:nvGrpSpPr>
          <p:cNvPr id="15" name="Group 14">
            <a:extLst>
              <a:ext uri="{FF2B5EF4-FFF2-40B4-BE49-F238E27FC236}">
                <a16:creationId xmlns:a16="http://schemas.microsoft.com/office/drawing/2014/main" id="{E84454C3-BF29-7744-B6E1-7F316FE4E581}"/>
              </a:ext>
            </a:extLst>
          </p:cNvPr>
          <p:cNvGrpSpPr>
            <a:grpSpLocks noChangeAspect="1"/>
          </p:cNvGrpSpPr>
          <p:nvPr userDrawn="1"/>
        </p:nvGrpSpPr>
        <p:grpSpPr>
          <a:xfrm>
            <a:off x="304798" y="241674"/>
            <a:ext cx="912315" cy="912315"/>
            <a:chOff x="7172412" y="4753265"/>
            <a:chExt cx="901737" cy="901737"/>
          </a:xfrm>
        </p:grpSpPr>
        <p:grpSp>
          <p:nvGrpSpPr>
            <p:cNvPr id="16" name="Group 15">
              <a:extLst>
                <a:ext uri="{FF2B5EF4-FFF2-40B4-BE49-F238E27FC236}">
                  <a16:creationId xmlns:a16="http://schemas.microsoft.com/office/drawing/2014/main" id="{48A5F06E-1D52-E240-860E-B5EE08EA7A09}"/>
                </a:ext>
              </a:extLst>
            </p:cNvPr>
            <p:cNvGrpSpPr/>
            <p:nvPr/>
          </p:nvGrpSpPr>
          <p:grpSpPr>
            <a:xfrm>
              <a:off x="7172412" y="4753265"/>
              <a:ext cx="901737" cy="901737"/>
              <a:chOff x="7170315" y="4501111"/>
              <a:chExt cx="901737" cy="901737"/>
            </a:xfrm>
          </p:grpSpPr>
          <p:sp>
            <p:nvSpPr>
              <p:cNvPr id="18" name="Oval 17">
                <a:extLst>
                  <a:ext uri="{FF2B5EF4-FFF2-40B4-BE49-F238E27FC236}">
                    <a16:creationId xmlns:a16="http://schemas.microsoft.com/office/drawing/2014/main" id="{9484C7E7-4EA1-554C-83F5-640B22C92BBC}"/>
                  </a:ext>
                </a:extLst>
              </p:cNvPr>
              <p:cNvSpPr>
                <a:spLocks noChangeAspect="1"/>
              </p:cNvSpPr>
              <p:nvPr/>
            </p:nvSpPr>
            <p:spPr bwMode="auto">
              <a:xfrm>
                <a:off x="7170315" y="4501111"/>
                <a:ext cx="901737" cy="901737"/>
              </a:xfrm>
              <a:prstGeom prst="ellipse">
                <a:avLst/>
              </a:prstGeom>
              <a:solidFill>
                <a:schemeClr val="bg2"/>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685778"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222222"/>
                  </a:solidFill>
                  <a:effectLst/>
                  <a:uLnTx/>
                  <a:uFillTx/>
                  <a:latin typeface="Arial" pitchFamily="124" charset="0"/>
                  <a:ea typeface="+mn-ea"/>
                  <a:cs typeface="+mn-cs"/>
                </a:endParaRPr>
              </a:p>
            </p:txBody>
          </p:sp>
          <p:sp>
            <p:nvSpPr>
              <p:cNvPr id="19" name="Oval 18">
                <a:extLst>
                  <a:ext uri="{FF2B5EF4-FFF2-40B4-BE49-F238E27FC236}">
                    <a16:creationId xmlns:a16="http://schemas.microsoft.com/office/drawing/2014/main" id="{645FD66B-0057-454D-8B86-8A3B7E0E943F}"/>
                  </a:ext>
                </a:extLst>
              </p:cNvPr>
              <p:cNvSpPr>
                <a:spLocks noChangeAspect="1"/>
              </p:cNvSpPr>
              <p:nvPr/>
            </p:nvSpPr>
            <p:spPr bwMode="auto">
              <a:xfrm>
                <a:off x="7239679" y="4570475"/>
                <a:ext cx="763008" cy="763008"/>
              </a:xfrm>
              <a:prstGeom prst="ellipse">
                <a:avLst/>
              </a:prstGeom>
              <a:solidFill>
                <a:schemeClr val="bg1"/>
              </a:solidFill>
              <a:ln w="31750" cap="flat" cmpd="sng" algn="ctr">
                <a:solidFill>
                  <a:schemeClr val="accent3"/>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685778"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222222"/>
                  </a:solidFill>
                  <a:effectLst/>
                  <a:uLnTx/>
                  <a:uFillTx/>
                  <a:latin typeface="Arial" pitchFamily="124" charset="0"/>
                  <a:ea typeface="+mn-ea"/>
                  <a:cs typeface="+mn-cs"/>
                </a:endParaRPr>
              </a:p>
            </p:txBody>
          </p:sp>
        </p:grpSp>
        <p:pic>
          <p:nvPicPr>
            <p:cNvPr id="17" name="Graphic 16" descr="Hierarchy with solid fill">
              <a:extLst>
                <a:ext uri="{FF2B5EF4-FFF2-40B4-BE49-F238E27FC236}">
                  <a16:creationId xmlns:a16="http://schemas.microsoft.com/office/drawing/2014/main" id="{001FDF98-89CC-BB41-AF81-D5B2DA17C28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335573" y="4916426"/>
              <a:ext cx="575414" cy="575414"/>
            </a:xfrm>
            <a:prstGeom prst="rect">
              <a:avLst/>
            </a:prstGeom>
          </p:spPr>
        </p:pic>
      </p:grpSp>
    </p:spTree>
    <p:extLst>
      <p:ext uri="{BB962C8B-B14F-4D97-AF65-F5344CB8AC3E}">
        <p14:creationId xmlns:p14="http://schemas.microsoft.com/office/powerpoint/2010/main" val="3435701668"/>
      </p:ext>
    </p:extLst>
  </p:cSld>
  <p:clrMapOvr>
    <a:masterClrMapping/>
  </p:clrMapOvr>
  <mc:AlternateContent xmlns:mc="http://schemas.openxmlformats.org/markup-compatibility/2006" xmlns:p14="http://schemas.microsoft.com/office/powerpoint/2010/main">
    <mc:Choice Requires="p14">
      <p:transition p14:dur="0">
        <p:fade/>
      </p:transition>
    </mc:Choice>
    <mc:Fallback xmlns="">
      <p:transition>
        <p:fade/>
      </p:transition>
    </mc:Fallback>
  </mc:AlternateContent>
  <p:hf hdr="0" dt="0"/>
  <p:extLst>
    <p:ext uri="{DCECCB84-F9BA-43D5-87BE-67443E8EF086}">
      <p15:sldGuideLst xmlns:p15="http://schemas.microsoft.com/office/powerpoint/2012/main">
        <p15:guide id="2" pos="3744">
          <p15:clr>
            <a:srgbClr val="FBAE40"/>
          </p15:clr>
        </p15:guide>
        <p15:guide id="3" pos="3936">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userDrawn="1">
  <p:cSld name="Module Header">
    <p:bg>
      <p:bgPr>
        <a:gradFill>
          <a:gsLst>
            <a:gs pos="0">
              <a:schemeClr val="bg1"/>
            </a:gs>
            <a:gs pos="45000">
              <a:schemeClr val="bg1"/>
            </a:gs>
            <a:gs pos="66000">
              <a:schemeClr val="bg2"/>
            </a:gs>
          </a:gsLst>
          <a:lin ang="1080000" scaled="0"/>
        </a:gra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2DF2EB01-DB3A-564C-8485-CADA3C9CF3AF}"/>
              </a:ext>
            </a:extLst>
          </p:cNvPr>
          <p:cNvSpPr>
            <a:spLocks noGrp="1"/>
          </p:cNvSpPr>
          <p:nvPr>
            <p:ph type="pic" sz="quarter" idx="11" hasCustomPrompt="1"/>
          </p:nvPr>
        </p:nvSpPr>
        <p:spPr>
          <a:xfrm>
            <a:off x="5560460" y="3"/>
            <a:ext cx="6631541" cy="6857999"/>
          </a:xfrm>
          <a:custGeom>
            <a:avLst/>
            <a:gdLst>
              <a:gd name="connsiteX0" fmla="*/ 2183862 w 6631541"/>
              <a:gd name="connsiteY0" fmla="*/ 0 h 6857999"/>
              <a:gd name="connsiteX1" fmla="*/ 6631541 w 6631541"/>
              <a:gd name="connsiteY1" fmla="*/ 0 h 6857999"/>
              <a:gd name="connsiteX2" fmla="*/ 6631541 w 6631541"/>
              <a:gd name="connsiteY2" fmla="*/ 6857999 h 6857999"/>
              <a:gd name="connsiteX3" fmla="*/ 0 w 66315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6631541" h="6857999">
                <a:moveTo>
                  <a:pt x="2183862" y="0"/>
                </a:moveTo>
                <a:lnTo>
                  <a:pt x="6631541" y="0"/>
                </a:lnTo>
                <a:lnTo>
                  <a:pt x="6631541" y="6857999"/>
                </a:lnTo>
                <a:lnTo>
                  <a:pt x="0" y="6857999"/>
                </a:lnTo>
                <a:close/>
              </a:path>
            </a:pathLst>
          </a:custGeom>
          <a:pattFill prst="pct5">
            <a:fgClr>
              <a:schemeClr val="bg1"/>
            </a:fgClr>
            <a:bgClr>
              <a:schemeClr val="bg2"/>
            </a:bgClr>
          </a:pattFill>
        </p:spPr>
        <p:txBody>
          <a:bodyPr vert="horz" wrap="square" lIns="0" tIns="0" rIns="0" bIns="0" rtlCol="0" anchor="ctr">
            <a:noAutofit/>
          </a:bodyPr>
          <a:lstStyle>
            <a:lvl1pPr marL="0" indent="0" algn="ctr">
              <a:buFontTx/>
              <a:buNone/>
              <a:defRPr lang="en-US" sz="1050" dirty="0"/>
            </a:lvl1pPr>
          </a:lstStyle>
          <a:p>
            <a:pPr marR="0" lvl="0" algn="ctr" fontAlgn="auto">
              <a:spcAft>
                <a:spcPts val="0"/>
              </a:spcAft>
              <a:buClrTx/>
              <a:buSzTx/>
              <a:buNone/>
              <a:tabLst/>
            </a:pPr>
            <a:r>
              <a:rPr lang="en-US"/>
              <a:t>Add photo</a:t>
            </a:r>
          </a:p>
        </p:txBody>
      </p:sp>
      <p:grpSp>
        <p:nvGrpSpPr>
          <p:cNvPr id="7" name="Group 6">
            <a:extLst>
              <a:ext uri="{FF2B5EF4-FFF2-40B4-BE49-F238E27FC236}">
                <a16:creationId xmlns:a16="http://schemas.microsoft.com/office/drawing/2014/main" id="{B1F511C6-A535-A245-B123-CC04435D2DAF}"/>
              </a:ext>
            </a:extLst>
          </p:cNvPr>
          <p:cNvGrpSpPr/>
          <p:nvPr userDrawn="1"/>
        </p:nvGrpSpPr>
        <p:grpSpPr>
          <a:xfrm>
            <a:off x="304801" y="0"/>
            <a:ext cx="2427682" cy="1044934"/>
            <a:chOff x="0" y="0"/>
            <a:chExt cx="2447693" cy="1053548"/>
          </a:xfrm>
        </p:grpSpPr>
        <p:sp>
          <p:nvSpPr>
            <p:cNvPr id="8" name="Parallelogram 7">
              <a:extLst>
                <a:ext uri="{FF2B5EF4-FFF2-40B4-BE49-F238E27FC236}">
                  <a16:creationId xmlns:a16="http://schemas.microsoft.com/office/drawing/2014/main" id="{6399281C-FD14-2942-9A9B-13B5E50B7517}"/>
                </a:ext>
              </a:extLst>
            </p:cNvPr>
            <p:cNvSpPr/>
            <p:nvPr userDrawn="1"/>
          </p:nvSpPr>
          <p:spPr bwMode="auto">
            <a:xfrm>
              <a:off x="0" y="0"/>
              <a:ext cx="2447693" cy="1053548"/>
            </a:xfrm>
            <a:prstGeom prst="parallelogram">
              <a:avLst>
                <a:gd name="adj" fmla="val 0"/>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685778" rtl="0" eaLnBrk="0" fontAlgn="base" latinLnBrk="0" hangingPunct="0">
                <a:lnSpc>
                  <a:spcPct val="100000"/>
                </a:lnSpc>
                <a:spcBef>
                  <a:spcPct val="0"/>
                </a:spcBef>
                <a:spcAft>
                  <a:spcPct val="0"/>
                </a:spcAft>
                <a:buClrTx/>
                <a:buSzTx/>
                <a:buFontTx/>
                <a:buNone/>
                <a:tabLst/>
              </a:pPr>
              <a:r>
                <a:rPr lang="en-US" sz="1350">
                  <a:latin typeface="Arial" pitchFamily="124" charset="0"/>
                </a:rPr>
                <a:t>               </a:t>
              </a:r>
            </a:p>
          </p:txBody>
        </p:sp>
        <p:pic>
          <p:nvPicPr>
            <p:cNvPr id="9" name="Picture 8">
              <a:extLst>
                <a:ext uri="{FF2B5EF4-FFF2-40B4-BE49-F238E27FC236}">
                  <a16:creationId xmlns:a16="http://schemas.microsoft.com/office/drawing/2014/main" id="{7D60AD95-BD80-6049-9976-D024EC4ECDE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5820" y="154984"/>
              <a:ext cx="2178058" cy="756021"/>
            </a:xfrm>
            <a:prstGeom prst="rect">
              <a:avLst/>
            </a:prstGeom>
          </p:spPr>
        </p:pic>
      </p:grpSp>
      <p:grpSp>
        <p:nvGrpSpPr>
          <p:cNvPr id="11" name="Group 10">
            <a:extLst>
              <a:ext uri="{FF2B5EF4-FFF2-40B4-BE49-F238E27FC236}">
                <a16:creationId xmlns:a16="http://schemas.microsoft.com/office/drawing/2014/main" id="{BD8A84AE-AF33-DF45-94CF-C3F25C5B3C5F}"/>
              </a:ext>
            </a:extLst>
          </p:cNvPr>
          <p:cNvGrpSpPr/>
          <p:nvPr userDrawn="1"/>
        </p:nvGrpSpPr>
        <p:grpSpPr>
          <a:xfrm>
            <a:off x="283193" y="5970592"/>
            <a:ext cx="5053203" cy="441233"/>
            <a:chOff x="5155556" y="6168462"/>
            <a:chExt cx="5053203" cy="441233"/>
          </a:xfrm>
        </p:grpSpPr>
        <p:sp>
          <p:nvSpPr>
            <p:cNvPr id="12" name="TextBox 11">
              <a:extLst>
                <a:ext uri="{FF2B5EF4-FFF2-40B4-BE49-F238E27FC236}">
                  <a16:creationId xmlns:a16="http://schemas.microsoft.com/office/drawing/2014/main" id="{5DF5D896-302C-C647-8B84-3EA145C1337B}"/>
                </a:ext>
              </a:extLst>
            </p:cNvPr>
            <p:cNvSpPr txBox="1"/>
            <p:nvPr userDrawn="1"/>
          </p:nvSpPr>
          <p:spPr>
            <a:xfrm>
              <a:off x="5656050" y="6168462"/>
              <a:ext cx="4552709" cy="441233"/>
            </a:xfrm>
            <a:prstGeom prst="rect">
              <a:avLst/>
            </a:prstGeom>
            <a:noFill/>
          </p:spPr>
          <p:txBody>
            <a:bodyPr vert="horz" wrap="square" lIns="0" tIns="0" rIns="0" bIns="0" rtlCol="0" anchor="ctr" anchorCtr="0">
              <a:noAutofit/>
            </a:bodyPr>
            <a:lstStyle/>
            <a:p>
              <a:pPr algn="l"/>
              <a:r>
                <a:rPr lang="en-US" sz="1500">
                  <a:solidFill>
                    <a:schemeClr val="tx1"/>
                  </a:solidFill>
                  <a:latin typeface="Arial"/>
                </a:rPr>
                <a:t>The world leader in serving science</a:t>
              </a:r>
            </a:p>
          </p:txBody>
        </p:sp>
        <p:sp>
          <p:nvSpPr>
            <p:cNvPr id="13" name="Parallelogram 12">
              <a:extLst>
                <a:ext uri="{FF2B5EF4-FFF2-40B4-BE49-F238E27FC236}">
                  <a16:creationId xmlns:a16="http://schemas.microsoft.com/office/drawing/2014/main" id="{9BC00B89-C038-314A-AC65-15CF9FEFA67A}"/>
                </a:ext>
              </a:extLst>
            </p:cNvPr>
            <p:cNvSpPr/>
            <p:nvPr userDrawn="1"/>
          </p:nvSpPr>
          <p:spPr bwMode="auto">
            <a:xfrm>
              <a:off x="5155556" y="6302295"/>
              <a:ext cx="310510" cy="188737"/>
            </a:xfrm>
            <a:prstGeom prst="parallelogram">
              <a:avLst>
                <a:gd name="adj" fmla="val 31844"/>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685778" rtl="0" eaLnBrk="0" fontAlgn="base" latinLnBrk="0" hangingPunct="0">
                <a:lnSpc>
                  <a:spcPct val="100000"/>
                </a:lnSpc>
                <a:spcBef>
                  <a:spcPct val="0"/>
                </a:spcBef>
                <a:spcAft>
                  <a:spcPct val="0"/>
                </a:spcAft>
                <a:buClrTx/>
                <a:buSzTx/>
                <a:buFontTx/>
                <a:buNone/>
                <a:tabLst/>
              </a:pPr>
              <a:r>
                <a:rPr lang="en-US" sz="1350">
                  <a:latin typeface="Arial" pitchFamily="124" charset="0"/>
                </a:rPr>
                <a:t>               </a:t>
              </a:r>
            </a:p>
          </p:txBody>
        </p:sp>
      </p:grpSp>
      <p:sp>
        <p:nvSpPr>
          <p:cNvPr id="21" name="Footer Placeholder 1">
            <a:extLst>
              <a:ext uri="{FF2B5EF4-FFF2-40B4-BE49-F238E27FC236}">
                <a16:creationId xmlns:a16="http://schemas.microsoft.com/office/drawing/2014/main" id="{0417725A-1D63-8B41-B75E-4A7C276235C4}"/>
              </a:ext>
            </a:extLst>
          </p:cNvPr>
          <p:cNvSpPr>
            <a:spLocks noGrp="1"/>
          </p:cNvSpPr>
          <p:nvPr>
            <p:ph type="ftr" sz="quarter" idx="15"/>
          </p:nvPr>
        </p:nvSpPr>
        <p:spPr>
          <a:xfrm>
            <a:off x="304800" y="6553202"/>
            <a:ext cx="3657600" cy="304799"/>
          </a:xfrm>
        </p:spPr>
        <p:txBody>
          <a:bodyPr/>
          <a:lstStyle/>
          <a:p>
            <a:endParaRPr lang="en-US"/>
          </a:p>
        </p:txBody>
      </p:sp>
      <p:sp>
        <p:nvSpPr>
          <p:cNvPr id="22" name="Slide Number Placeholder 2">
            <a:extLst>
              <a:ext uri="{FF2B5EF4-FFF2-40B4-BE49-F238E27FC236}">
                <a16:creationId xmlns:a16="http://schemas.microsoft.com/office/drawing/2014/main" id="{2EFD93CC-9AAB-B446-8966-4FFCA1CA2633}"/>
              </a:ext>
            </a:extLst>
          </p:cNvPr>
          <p:cNvSpPr>
            <a:spLocks noGrp="1"/>
          </p:cNvSpPr>
          <p:nvPr>
            <p:ph type="sldNum" sz="quarter" idx="12"/>
          </p:nvPr>
        </p:nvSpPr>
        <p:spPr>
          <a:xfrm>
            <a:off x="2" y="6553202"/>
            <a:ext cx="304799" cy="304799"/>
          </a:xfrm>
        </p:spPr>
        <p:txBody>
          <a:bodyPr/>
          <a:lstStyle/>
          <a:p>
            <a:fld id="{89006F1E-66CD-4A4B-9370-B4A3080F0E6C}" type="slidenum">
              <a:rPr lang="en-US" smtClean="0"/>
              <a:pPr/>
              <a:t>‹#›</a:t>
            </a:fld>
            <a:endParaRPr lang="en-US"/>
          </a:p>
        </p:txBody>
      </p:sp>
      <p:sp>
        <p:nvSpPr>
          <p:cNvPr id="23" name="Text Placeholder 15">
            <a:extLst>
              <a:ext uri="{FF2B5EF4-FFF2-40B4-BE49-F238E27FC236}">
                <a16:creationId xmlns:a16="http://schemas.microsoft.com/office/drawing/2014/main" id="{99467BBC-17A6-8041-A1C1-FD69EC6CD242}"/>
              </a:ext>
            </a:extLst>
          </p:cNvPr>
          <p:cNvSpPr>
            <a:spLocks noGrp="1"/>
          </p:cNvSpPr>
          <p:nvPr>
            <p:ph type="body" sz="quarter" idx="10" hasCustomPrompt="1"/>
          </p:nvPr>
        </p:nvSpPr>
        <p:spPr>
          <a:xfrm>
            <a:off x="304802" y="2475596"/>
            <a:ext cx="5791199" cy="308120"/>
          </a:xfrm>
          <a:prstGeom prst="rect">
            <a:avLst/>
          </a:prstGeom>
        </p:spPr>
        <p:txBody>
          <a:bodyPr lIns="0" tIns="0" rIns="0" bIns="0" anchor="ctr"/>
          <a:lstStyle>
            <a:lvl1pPr>
              <a:spcBef>
                <a:spcPts val="0"/>
              </a:spcBef>
              <a:spcAft>
                <a:spcPts val="0"/>
              </a:spcAft>
              <a:buFontTx/>
              <a:buNone/>
              <a:defRPr sz="1200" b="1" baseline="0">
                <a:solidFill>
                  <a:schemeClr val="tx2"/>
                </a:solidFill>
              </a:defRPr>
            </a:lvl1pPr>
            <a:lvl2pPr marL="85722" indent="3572">
              <a:spcAft>
                <a:spcPts val="0"/>
              </a:spcAft>
              <a:buFontTx/>
              <a:buNone/>
              <a:defRPr sz="1050" i="1" baseline="0">
                <a:solidFill>
                  <a:schemeClr val="tx1"/>
                </a:solidFill>
              </a:defRPr>
            </a:lvl2pPr>
          </a:lstStyle>
          <a:p>
            <a:pPr lvl="0"/>
            <a:r>
              <a:rPr lang="en-US"/>
              <a:t>MODULE #</a:t>
            </a:r>
          </a:p>
        </p:txBody>
      </p:sp>
      <p:sp>
        <p:nvSpPr>
          <p:cNvPr id="24" name="Title 16">
            <a:extLst>
              <a:ext uri="{FF2B5EF4-FFF2-40B4-BE49-F238E27FC236}">
                <a16:creationId xmlns:a16="http://schemas.microsoft.com/office/drawing/2014/main" id="{6806B91E-3B5D-0E41-A30A-D6D42F25EA93}"/>
              </a:ext>
            </a:extLst>
          </p:cNvPr>
          <p:cNvSpPr>
            <a:spLocks noGrp="1"/>
          </p:cNvSpPr>
          <p:nvPr>
            <p:ph type="title" hasCustomPrompt="1"/>
          </p:nvPr>
        </p:nvSpPr>
        <p:spPr>
          <a:xfrm>
            <a:off x="304802" y="3043756"/>
            <a:ext cx="5791199" cy="754212"/>
          </a:xfrm>
          <a:prstGeom prst="rect">
            <a:avLst/>
          </a:prstGeom>
          <a:noFill/>
        </p:spPr>
        <p:txBody>
          <a:bodyPr wrap="square" lIns="0" tIns="0" rIns="0" bIns="0" anchor="t">
            <a:noAutofit/>
          </a:bodyPr>
          <a:lstStyle>
            <a:lvl1pPr>
              <a:lnSpc>
                <a:spcPct val="90000"/>
              </a:lnSpc>
              <a:defRPr sz="2100" b="1">
                <a:solidFill>
                  <a:schemeClr val="tx1"/>
                </a:solidFill>
              </a:defRPr>
            </a:lvl1pPr>
          </a:lstStyle>
          <a:p>
            <a:r>
              <a:rPr lang="en-US"/>
              <a:t>Title [28pt Arial Bold] </a:t>
            </a:r>
          </a:p>
        </p:txBody>
      </p:sp>
      <p:sp>
        <p:nvSpPr>
          <p:cNvPr id="25" name="Text Placeholder 15">
            <a:extLst>
              <a:ext uri="{FF2B5EF4-FFF2-40B4-BE49-F238E27FC236}">
                <a16:creationId xmlns:a16="http://schemas.microsoft.com/office/drawing/2014/main" id="{6EE786C2-B5ED-A14E-81B6-1B21DF5EEEC9}"/>
              </a:ext>
            </a:extLst>
          </p:cNvPr>
          <p:cNvSpPr>
            <a:spLocks noGrp="1"/>
          </p:cNvSpPr>
          <p:nvPr>
            <p:ph type="body" sz="quarter" idx="14" hasCustomPrompt="1"/>
          </p:nvPr>
        </p:nvSpPr>
        <p:spPr>
          <a:xfrm>
            <a:off x="304801" y="1683027"/>
            <a:ext cx="5791200" cy="528744"/>
          </a:xfrm>
          <a:prstGeom prst="rect">
            <a:avLst/>
          </a:prstGeom>
        </p:spPr>
        <p:txBody>
          <a:bodyPr lIns="0" tIns="0" rIns="0" bIns="0" anchor="b">
            <a:normAutofit/>
          </a:bodyPr>
          <a:lstStyle>
            <a:lvl1pPr marL="0" marR="0" indent="0" algn="l" defTabSz="685778" rtl="0" eaLnBrk="1" fontAlgn="auto" latinLnBrk="0" hangingPunct="1">
              <a:lnSpc>
                <a:spcPct val="120000"/>
              </a:lnSpc>
              <a:spcBef>
                <a:spcPts val="0"/>
              </a:spcBef>
              <a:spcAft>
                <a:spcPts val="0"/>
              </a:spcAft>
              <a:buClr>
                <a:schemeClr val="accent4"/>
              </a:buClr>
              <a:buSzPct val="100000"/>
              <a:buFontTx/>
              <a:buNone/>
              <a:tabLst/>
              <a:defRPr sz="1200" b="0" baseline="0">
                <a:solidFill>
                  <a:schemeClr val="tx1"/>
                </a:solidFill>
              </a:defRPr>
            </a:lvl1pPr>
            <a:lvl2pPr marL="85722" indent="3572">
              <a:spcAft>
                <a:spcPts val="0"/>
              </a:spcAft>
              <a:buFontTx/>
              <a:buNone/>
              <a:defRPr sz="1050" i="1" baseline="0">
                <a:solidFill>
                  <a:schemeClr val="tx1"/>
                </a:solidFill>
              </a:defRPr>
            </a:lvl2pPr>
          </a:lstStyle>
          <a:p>
            <a:pPr marL="308600" marR="0" lvl="0" indent="-308600" algn="l" defTabSz="685778" rtl="0" eaLnBrk="1" fontAlgn="auto" latinLnBrk="0" hangingPunct="1">
              <a:lnSpc>
                <a:spcPct val="120000"/>
              </a:lnSpc>
              <a:spcBef>
                <a:spcPts val="0"/>
              </a:spcBef>
              <a:spcAft>
                <a:spcPts val="0"/>
              </a:spcAft>
              <a:buClr>
                <a:schemeClr val="accent4"/>
              </a:buClr>
              <a:buSzPct val="100000"/>
              <a:buFontTx/>
              <a:buNone/>
              <a:tabLst/>
              <a:defRPr/>
            </a:pPr>
            <a:r>
              <a:rPr lang="en-US"/>
              <a:t>Product</a:t>
            </a:r>
          </a:p>
        </p:txBody>
      </p:sp>
    </p:spTree>
    <p:extLst>
      <p:ext uri="{BB962C8B-B14F-4D97-AF65-F5344CB8AC3E}">
        <p14:creationId xmlns:p14="http://schemas.microsoft.com/office/powerpoint/2010/main" val="261264383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Title (No Content)">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FCD351-FB49-4649-BD51-7F2228F8A180}"/>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6" name="Text Placeholder 7">
            <a:extLst>
              <a:ext uri="{FF2B5EF4-FFF2-40B4-BE49-F238E27FC236}">
                <a16:creationId xmlns:a16="http://schemas.microsoft.com/office/drawing/2014/main" id="{AC6D37E8-5E1B-4025-9CB6-9AADD0B2F568}"/>
              </a:ext>
            </a:extLst>
          </p:cNvPr>
          <p:cNvSpPr>
            <a:spLocks noGrp="1"/>
          </p:cNvSpPr>
          <p:nvPr>
            <p:ph type="body" sz="quarter" idx="11" hasCustomPrompt="1"/>
          </p:nvPr>
        </p:nvSpPr>
        <p:spPr>
          <a:xfrm>
            <a:off x="300227" y="893065"/>
            <a:ext cx="11591546" cy="381001"/>
          </a:xfrm>
          <a:prstGeom prst="rect">
            <a:avLst/>
          </a:prstGeom>
        </p:spPr>
        <p:txBody>
          <a:bodyPr lIns="0" tIns="0" rIns="0" bIns="0" anchor="t">
            <a:noAutofit/>
          </a:bodyPr>
          <a:lstStyle>
            <a:lvl1pPr marL="0" indent="0">
              <a:buNone/>
              <a:defRPr sz="1500">
                <a:solidFill>
                  <a:schemeClr val="tx1"/>
                </a:solidFill>
              </a:defRPr>
            </a:lvl1pPr>
          </a:lstStyle>
          <a:p>
            <a:pPr lvl="0"/>
            <a:r>
              <a:rPr lang="en-US"/>
              <a:t>Click to add </a:t>
            </a:r>
            <a:r>
              <a:rPr lang="en-US" err="1"/>
              <a:t>subheader</a:t>
            </a:r>
            <a:endParaRPr lang="en-US"/>
          </a:p>
        </p:txBody>
      </p:sp>
      <p:sp>
        <p:nvSpPr>
          <p:cNvPr id="7" name="Text Placeholder 7">
            <a:extLst>
              <a:ext uri="{FF2B5EF4-FFF2-40B4-BE49-F238E27FC236}">
                <a16:creationId xmlns:a16="http://schemas.microsoft.com/office/drawing/2014/main" id="{C1053C4D-3245-41E9-BC79-2133D6EFE62D}"/>
              </a:ext>
            </a:extLst>
          </p:cNvPr>
          <p:cNvSpPr>
            <a:spLocks noGrp="1"/>
          </p:cNvSpPr>
          <p:nvPr>
            <p:ph type="body" sz="quarter" idx="12" hasCustomPrompt="1"/>
          </p:nvPr>
        </p:nvSpPr>
        <p:spPr>
          <a:xfrm>
            <a:off x="304798" y="6055756"/>
            <a:ext cx="11582401" cy="489204"/>
          </a:xfrm>
          <a:prstGeom prst="rect">
            <a:avLst/>
          </a:prstGeom>
        </p:spPr>
        <p:txBody>
          <a:bodyPr anchor="b">
            <a:normAutofit/>
          </a:bodyPr>
          <a:lstStyle>
            <a:lvl1pPr marL="0" indent="0">
              <a:spcBef>
                <a:spcPts val="75"/>
              </a:spcBef>
              <a:buNone/>
              <a:defRPr sz="750">
                <a:solidFill>
                  <a:schemeClr val="accent5"/>
                </a:solidFill>
              </a:defRPr>
            </a:lvl1pPr>
          </a:lstStyle>
          <a:p>
            <a:pPr lvl="0"/>
            <a:r>
              <a:rPr lang="en-US"/>
              <a:t>Source notes</a:t>
            </a:r>
          </a:p>
        </p:txBody>
      </p:sp>
      <p:sp>
        <p:nvSpPr>
          <p:cNvPr id="8" name="Slide Number Placeholder 11">
            <a:extLst>
              <a:ext uri="{FF2B5EF4-FFF2-40B4-BE49-F238E27FC236}">
                <a16:creationId xmlns:a16="http://schemas.microsoft.com/office/drawing/2014/main" id="{43FDEDB6-CE04-F84B-AAD3-991730DCA9C0}"/>
              </a:ext>
            </a:extLst>
          </p:cNvPr>
          <p:cNvSpPr>
            <a:spLocks noGrp="1"/>
          </p:cNvSpPr>
          <p:nvPr>
            <p:ph type="sldNum" sz="quarter" idx="10"/>
          </p:nvPr>
        </p:nvSpPr>
        <p:spPr>
          <a:xfrm>
            <a:off x="2" y="6553202"/>
            <a:ext cx="304799" cy="304799"/>
          </a:xfrm>
        </p:spPr>
        <p:txBody>
          <a:bodyPr lIns="0" tIns="0" rIns="0" bIns="0"/>
          <a:lstStyle/>
          <a:p>
            <a:fld id="{89006F1E-66CD-4A4B-9370-B4A3080F0E6C}" type="slidenum">
              <a:rPr lang="en-US" smtClean="0"/>
              <a:pPr/>
              <a:t>‹#›</a:t>
            </a:fld>
            <a:endParaRPr lang="en-US"/>
          </a:p>
        </p:txBody>
      </p:sp>
      <p:sp>
        <p:nvSpPr>
          <p:cNvPr id="9" name="Footer Placeholder 1">
            <a:extLst>
              <a:ext uri="{FF2B5EF4-FFF2-40B4-BE49-F238E27FC236}">
                <a16:creationId xmlns:a16="http://schemas.microsoft.com/office/drawing/2014/main" id="{D91B50C1-7025-B243-9430-602CDE810AAB}"/>
              </a:ext>
            </a:extLst>
          </p:cNvPr>
          <p:cNvSpPr>
            <a:spLocks noGrp="1"/>
          </p:cNvSpPr>
          <p:nvPr>
            <p:ph type="ftr" sz="quarter" idx="13"/>
          </p:nvPr>
        </p:nvSpPr>
        <p:spPr>
          <a:xfrm>
            <a:off x="304802" y="6553201"/>
            <a:ext cx="11582399" cy="304800"/>
          </a:xfrm>
          <a:prstGeom prst="rect">
            <a:avLst/>
          </a:prstGeom>
        </p:spPr>
        <p:txBody>
          <a:bodyPr/>
          <a:lstStyle>
            <a:lvl1pPr>
              <a:defRPr>
                <a:solidFill>
                  <a:schemeClr val="accent5"/>
                </a:solidFill>
              </a:defRPr>
            </a:lvl1pPr>
          </a:lstStyle>
          <a:p>
            <a:r>
              <a:rPr lang="en-US">
                <a:ea typeface="MS PGothic" panose="020B0600070205080204" pitchFamily="34" charset="-128"/>
              </a:rPr>
              <a:t>Proprietary &amp; Confidential |  authoremail@thermofisher.com | 5-August-2020</a:t>
            </a:r>
          </a:p>
        </p:txBody>
      </p:sp>
    </p:spTree>
    <p:extLst>
      <p:ext uri="{BB962C8B-B14F-4D97-AF65-F5344CB8AC3E}">
        <p14:creationId xmlns:p14="http://schemas.microsoft.com/office/powerpoint/2010/main" val="652755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744">
          <p15:clr>
            <a:srgbClr val="FBAE40"/>
          </p15:clr>
        </p15:guide>
        <p15:guide id="3" pos="3936">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cSld name="1_Title (No Content)">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FCD351-FB49-4649-BD51-7F2228F8A180}"/>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7" name="Takeaway Placeholder">
            <a:extLst>
              <a:ext uri="{FF2B5EF4-FFF2-40B4-BE49-F238E27FC236}">
                <a16:creationId xmlns:a16="http://schemas.microsoft.com/office/drawing/2014/main" id="{C1053C4D-3245-41E9-BC79-2133D6EFE62D}"/>
              </a:ext>
            </a:extLst>
          </p:cNvPr>
          <p:cNvSpPr>
            <a:spLocks noGrp="1"/>
          </p:cNvSpPr>
          <p:nvPr>
            <p:ph type="body" sz="quarter" idx="12" hasCustomPrompt="1"/>
          </p:nvPr>
        </p:nvSpPr>
        <p:spPr>
          <a:xfrm>
            <a:off x="304796" y="6055756"/>
            <a:ext cx="11586977" cy="489204"/>
          </a:xfrm>
          <a:prstGeom prst="parallelogram">
            <a:avLst/>
          </a:prstGeom>
          <a:solidFill>
            <a:schemeClr val="tx2"/>
          </a:solidFill>
        </p:spPr>
        <p:txBody>
          <a:bodyPr wrap="none" lIns="91440" rIns="91440" anchor="ctr" anchorCtr="1">
            <a:noAutofit/>
          </a:bodyPr>
          <a:lstStyle>
            <a:lvl1pPr marL="0" indent="0">
              <a:lnSpc>
                <a:spcPct val="100000"/>
              </a:lnSpc>
              <a:spcBef>
                <a:spcPts val="0"/>
              </a:spcBef>
              <a:buNone/>
              <a:defRPr sz="1500" b="1">
                <a:solidFill>
                  <a:schemeClr val="bg1"/>
                </a:solidFill>
              </a:defRPr>
            </a:lvl1pPr>
          </a:lstStyle>
          <a:p>
            <a:pPr lvl="0"/>
            <a:r>
              <a:rPr lang="en-US"/>
              <a:t>takeaway option</a:t>
            </a:r>
          </a:p>
        </p:txBody>
      </p:sp>
      <p:sp>
        <p:nvSpPr>
          <p:cNvPr id="6" name="Text Placeholder 7">
            <a:extLst>
              <a:ext uri="{FF2B5EF4-FFF2-40B4-BE49-F238E27FC236}">
                <a16:creationId xmlns:a16="http://schemas.microsoft.com/office/drawing/2014/main" id="{AC6D37E8-5E1B-4025-9CB6-9AADD0B2F568}"/>
              </a:ext>
            </a:extLst>
          </p:cNvPr>
          <p:cNvSpPr>
            <a:spLocks noGrp="1"/>
          </p:cNvSpPr>
          <p:nvPr>
            <p:ph type="body" sz="quarter" idx="11" hasCustomPrompt="1"/>
          </p:nvPr>
        </p:nvSpPr>
        <p:spPr>
          <a:xfrm>
            <a:off x="300227" y="893065"/>
            <a:ext cx="11591546" cy="381001"/>
          </a:xfrm>
          <a:prstGeom prst="rect">
            <a:avLst/>
          </a:prstGeom>
        </p:spPr>
        <p:txBody>
          <a:bodyPr lIns="0" tIns="0" rIns="0" bIns="0" anchor="t">
            <a:noAutofit/>
          </a:bodyPr>
          <a:lstStyle>
            <a:lvl1pPr marL="0" indent="0">
              <a:buNone/>
              <a:defRPr sz="1500">
                <a:solidFill>
                  <a:schemeClr val="tx1"/>
                </a:solidFill>
              </a:defRPr>
            </a:lvl1pPr>
          </a:lstStyle>
          <a:p>
            <a:pPr lvl="0"/>
            <a:r>
              <a:rPr lang="en-US"/>
              <a:t>Click to add </a:t>
            </a:r>
            <a:r>
              <a:rPr lang="en-US" err="1"/>
              <a:t>subheader</a:t>
            </a:r>
            <a:endParaRPr lang="en-US"/>
          </a:p>
        </p:txBody>
      </p:sp>
      <p:sp>
        <p:nvSpPr>
          <p:cNvPr id="8" name="Slide Number Placeholder 11">
            <a:extLst>
              <a:ext uri="{FF2B5EF4-FFF2-40B4-BE49-F238E27FC236}">
                <a16:creationId xmlns:a16="http://schemas.microsoft.com/office/drawing/2014/main" id="{43FDEDB6-CE04-F84B-AAD3-991730DCA9C0}"/>
              </a:ext>
            </a:extLst>
          </p:cNvPr>
          <p:cNvSpPr>
            <a:spLocks noGrp="1"/>
          </p:cNvSpPr>
          <p:nvPr>
            <p:ph type="sldNum" sz="quarter" idx="10"/>
          </p:nvPr>
        </p:nvSpPr>
        <p:spPr>
          <a:xfrm>
            <a:off x="2" y="6553202"/>
            <a:ext cx="304799" cy="304799"/>
          </a:xfrm>
        </p:spPr>
        <p:txBody>
          <a:bodyPr lIns="0" tIns="0" rIns="0" bIns="0"/>
          <a:lstStyle/>
          <a:p>
            <a:fld id="{89006F1E-66CD-4A4B-9370-B4A3080F0E6C}" type="slidenum">
              <a:rPr lang="en-US" smtClean="0"/>
              <a:pPr/>
              <a:t>‹#›</a:t>
            </a:fld>
            <a:endParaRPr lang="en-US"/>
          </a:p>
        </p:txBody>
      </p:sp>
      <p:sp>
        <p:nvSpPr>
          <p:cNvPr id="9" name="Footer Placeholder 1">
            <a:extLst>
              <a:ext uri="{FF2B5EF4-FFF2-40B4-BE49-F238E27FC236}">
                <a16:creationId xmlns:a16="http://schemas.microsoft.com/office/drawing/2014/main" id="{D91B50C1-7025-B243-9430-602CDE810AAB}"/>
              </a:ext>
            </a:extLst>
          </p:cNvPr>
          <p:cNvSpPr>
            <a:spLocks noGrp="1"/>
          </p:cNvSpPr>
          <p:nvPr>
            <p:ph type="ftr" sz="quarter" idx="13"/>
          </p:nvPr>
        </p:nvSpPr>
        <p:spPr>
          <a:xfrm>
            <a:off x="304801" y="6553201"/>
            <a:ext cx="5791201" cy="304800"/>
          </a:xfrm>
          <a:prstGeom prst="rect">
            <a:avLst/>
          </a:prstGeom>
        </p:spPr>
        <p:txBody>
          <a:bodyPr/>
          <a:lstStyle>
            <a:lvl1pPr>
              <a:defRPr>
                <a:solidFill>
                  <a:schemeClr val="accent5"/>
                </a:solidFill>
              </a:defRPr>
            </a:lvl1pPr>
          </a:lstStyle>
          <a:p>
            <a:r>
              <a:rPr lang="en-US">
                <a:ea typeface="MS PGothic" panose="020B0600070205080204" pitchFamily="34" charset="-128"/>
              </a:rPr>
              <a:t>Proprietary &amp; Confidential |  28-Sept-2020</a:t>
            </a:r>
          </a:p>
        </p:txBody>
      </p:sp>
    </p:spTree>
    <p:extLst>
      <p:ext uri="{BB962C8B-B14F-4D97-AF65-F5344CB8AC3E}">
        <p14:creationId xmlns:p14="http://schemas.microsoft.com/office/powerpoint/2010/main" val="1405583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744">
          <p15:clr>
            <a:srgbClr val="FBAE40"/>
          </p15:clr>
        </p15:guide>
        <p15:guide id="3" pos="3936">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1.xml"/><Relationship Id="rId3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image" Target="../media/image20.png"/><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image" Target="../media/image2.emf"/><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theme" Target="../theme/theme3.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57.xml"/><Relationship Id="rId7" Type="http://schemas.openxmlformats.org/officeDocument/2006/relationships/image" Target="../media/image23.png"/><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theme" Target="../theme/theme4.xml"/><Relationship Id="rId5" Type="http://schemas.openxmlformats.org/officeDocument/2006/relationships/slideLayout" Target="../slideLayouts/slideLayout59.xml"/><Relationship Id="rId4" Type="http://schemas.openxmlformats.org/officeDocument/2006/relationships/slideLayout" Target="../slideLayouts/slideLayout5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theme" Target="../theme/theme5.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86.xml"/><Relationship Id="rId18" Type="http://schemas.openxmlformats.org/officeDocument/2006/relationships/slideLayout" Target="../slideLayouts/slideLayout91.xml"/><Relationship Id="rId26" Type="http://schemas.openxmlformats.org/officeDocument/2006/relationships/slideLayout" Target="../slideLayouts/slideLayout99.xml"/><Relationship Id="rId3" Type="http://schemas.openxmlformats.org/officeDocument/2006/relationships/slideLayout" Target="../slideLayouts/slideLayout76.xml"/><Relationship Id="rId21" Type="http://schemas.openxmlformats.org/officeDocument/2006/relationships/slideLayout" Target="../slideLayouts/slideLayout94.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5" Type="http://schemas.openxmlformats.org/officeDocument/2006/relationships/slideLayout" Target="../slideLayouts/slideLayout98.xml"/><Relationship Id="rId33" Type="http://schemas.openxmlformats.org/officeDocument/2006/relationships/image" Target="../media/image2.emf"/><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slideLayout" Target="../slideLayouts/slideLayout93.xml"/><Relationship Id="rId29" Type="http://schemas.openxmlformats.org/officeDocument/2006/relationships/tags" Target="../tags/tag7.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24" Type="http://schemas.openxmlformats.org/officeDocument/2006/relationships/slideLayout" Target="../slideLayouts/slideLayout97.xml"/><Relationship Id="rId32" Type="http://schemas.openxmlformats.org/officeDocument/2006/relationships/image" Target="../media/image1.emf"/><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slideLayout" Target="../slideLayouts/slideLayout96.xml"/><Relationship Id="rId28" Type="http://schemas.openxmlformats.org/officeDocument/2006/relationships/theme" Target="../theme/theme6.xml"/><Relationship Id="rId10" Type="http://schemas.openxmlformats.org/officeDocument/2006/relationships/slideLayout" Target="../slideLayouts/slideLayout83.xml"/><Relationship Id="rId19" Type="http://schemas.openxmlformats.org/officeDocument/2006/relationships/slideLayout" Target="../slideLayouts/slideLayout92.xml"/><Relationship Id="rId31" Type="http://schemas.openxmlformats.org/officeDocument/2006/relationships/oleObject" Target="../embeddings/oleObject1.bin"/><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slideLayout" Target="../slideLayouts/slideLayout95.xml"/><Relationship Id="rId27" Type="http://schemas.openxmlformats.org/officeDocument/2006/relationships/slideLayout" Target="../slideLayouts/slideLayout100.xml"/><Relationship Id="rId30" Type="http://schemas.openxmlformats.org/officeDocument/2006/relationships/tags" Target="../tags/tag8.xml"/><Relationship Id="rId8" Type="http://schemas.openxmlformats.org/officeDocument/2006/relationships/slideLayout" Target="../slideLayouts/slideLayout8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theme" Target="../theme/theme7.xml"/><Relationship Id="rId3" Type="http://schemas.openxmlformats.org/officeDocument/2006/relationships/slideLayout" Target="../slideLayouts/slideLayout103.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2" Type="http://schemas.openxmlformats.org/officeDocument/2006/relationships/slideLayout" Target="../slideLayouts/slideLayout102.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5" Type="http://schemas.openxmlformats.org/officeDocument/2006/relationships/slideLayout" Target="../slideLayouts/slideLayout105.xml"/><Relationship Id="rId10" Type="http://schemas.openxmlformats.org/officeDocument/2006/relationships/slideLayout" Target="../slideLayouts/slideLayout110.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image" Target="../media/image20.png"/></Relationships>
</file>

<file path=ppt/slideMasters/_rels/slideMaster8.xml.rels><?xml version="1.0" encoding="UTF-8" standalone="yes"?>
<Relationships xmlns="http://schemas.openxmlformats.org/package/2006/relationships"><Relationship Id="rId2" Type="http://schemas.openxmlformats.org/officeDocument/2006/relationships/theme" Target="../theme/theme8.xml"/><Relationship Id="rId1" Type="http://schemas.openxmlformats.org/officeDocument/2006/relationships/slideLayout" Target="../slideLayouts/slideLayout11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6AB1148-5B8E-4138-A999-134E755A72DF}"/>
              </a:ext>
            </a:extLst>
          </p:cNvPr>
          <p:cNvGraphicFramePr>
            <a:graphicFrameLocks noChangeAspect="1"/>
          </p:cNvGraphicFramePr>
          <p:nvPr userDrawn="1">
            <p:custDataLst>
              <p:tags r:id="rId27"/>
            </p:custDataLst>
            <p:extLst>
              <p:ext uri="{D42A27DB-BD31-4B8C-83A1-F6EECF244321}">
                <p14:modId xmlns:p14="http://schemas.microsoft.com/office/powerpoint/2010/main" val="99940967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29" imgW="444" imgH="443" progId="TCLayout.ActiveDocument.1">
                  <p:embed/>
                </p:oleObj>
              </mc:Choice>
              <mc:Fallback>
                <p:oleObj name="think-cell Slide" r:id="rId29" imgW="444" imgH="443" progId="TCLayout.ActiveDocument.1">
                  <p:embed/>
                  <p:pic>
                    <p:nvPicPr>
                      <p:cNvPr id="6" name="Object 5" hidden="1">
                        <a:extLst>
                          <a:ext uri="{FF2B5EF4-FFF2-40B4-BE49-F238E27FC236}">
                            <a16:creationId xmlns:a16="http://schemas.microsoft.com/office/drawing/2014/main" id="{A6AB1148-5B8E-4138-A999-134E755A72DF}"/>
                          </a:ext>
                        </a:extLst>
                      </p:cNvPr>
                      <p:cNvPicPr/>
                      <p:nvPr/>
                    </p:nvPicPr>
                    <p:blipFill>
                      <a:blip r:embed="rId30"/>
                      <a:stretch>
                        <a:fillRect/>
                      </a:stretch>
                    </p:blipFill>
                    <p:spPr>
                      <a:xfrm>
                        <a:off x="1589" y="1589"/>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B8B1DF8-88DB-4F6A-BB87-ECACC068F7D0}"/>
              </a:ext>
            </a:extLst>
          </p:cNvPr>
          <p:cNvSpPr/>
          <p:nvPr userDrawn="1">
            <p:custDataLst>
              <p:tags r:id="rId28"/>
            </p:custDataLst>
          </p:nvPr>
        </p:nvSpPr>
        <p:spPr bwMode="auto">
          <a:xfrm>
            <a:off x="0" y="0"/>
            <a:ext cx="158751" cy="158750"/>
          </a:xfrm>
          <a:prstGeom prst="rect">
            <a:avLst/>
          </a:prstGeom>
          <a:solidFill>
            <a:schemeClr val="tx2"/>
          </a:solidFill>
          <a:ln w="3175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lvl="0" indent="0" algn="ctr" defTabSz="685778" eaLnBrk="0" fontAlgn="base" hangingPunct="0">
              <a:spcBef>
                <a:spcPct val="0"/>
              </a:spcBef>
              <a:spcAft>
                <a:spcPct val="0"/>
              </a:spcAft>
            </a:pPr>
            <a:endParaRPr lang="en-US" sz="2100" b="1" i="0" baseline="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304801" y="304800"/>
            <a:ext cx="9753600" cy="381001"/>
          </a:xfrm>
          <a:prstGeom prst="rect">
            <a:avLst/>
          </a:prstGeom>
        </p:spPr>
        <p:txBody>
          <a:bodyPr vert="horz" wrap="square" lIns="0" tIns="0" rIns="0" bIns="0" rtlCol="0" anchor="t" anchorCtr="0">
            <a:noAutofit/>
          </a:bodyPr>
          <a:lstStyle/>
          <a:p>
            <a:r>
              <a:rPr lang="en-US"/>
              <a:t>Slide title [28pt Arial Bold]</a:t>
            </a:r>
          </a:p>
        </p:txBody>
      </p:sp>
      <p:grpSp>
        <p:nvGrpSpPr>
          <p:cNvPr id="7" name="Group 6">
            <a:extLst>
              <a:ext uri="{FF2B5EF4-FFF2-40B4-BE49-F238E27FC236}">
                <a16:creationId xmlns:a16="http://schemas.microsoft.com/office/drawing/2014/main" id="{C54DB860-41E2-E04B-ABD0-6BA4D570E7A0}"/>
              </a:ext>
            </a:extLst>
          </p:cNvPr>
          <p:cNvGrpSpPr/>
          <p:nvPr userDrawn="1"/>
        </p:nvGrpSpPr>
        <p:grpSpPr>
          <a:xfrm>
            <a:off x="10295372" y="1"/>
            <a:ext cx="1591827" cy="694426"/>
            <a:chOff x="-20628" y="0"/>
            <a:chExt cx="2488951" cy="1085792"/>
          </a:xfrm>
        </p:grpSpPr>
        <p:sp>
          <p:nvSpPr>
            <p:cNvPr id="8" name="Parallelogram 7">
              <a:extLst>
                <a:ext uri="{FF2B5EF4-FFF2-40B4-BE49-F238E27FC236}">
                  <a16:creationId xmlns:a16="http://schemas.microsoft.com/office/drawing/2014/main" id="{A441B466-B52D-0443-BF86-D267F733A465}"/>
                </a:ext>
              </a:extLst>
            </p:cNvPr>
            <p:cNvSpPr/>
            <p:nvPr userDrawn="1"/>
          </p:nvSpPr>
          <p:spPr bwMode="auto">
            <a:xfrm>
              <a:off x="-20628" y="0"/>
              <a:ext cx="2488951" cy="1085792"/>
            </a:xfrm>
            <a:prstGeom prst="parallelogram">
              <a:avLst>
                <a:gd name="adj" fmla="val 0"/>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685778" rtl="0" eaLnBrk="0" fontAlgn="base" latinLnBrk="0" hangingPunct="0">
                <a:lnSpc>
                  <a:spcPct val="100000"/>
                </a:lnSpc>
                <a:spcBef>
                  <a:spcPct val="0"/>
                </a:spcBef>
                <a:spcAft>
                  <a:spcPct val="0"/>
                </a:spcAft>
                <a:buClrTx/>
                <a:buSzTx/>
                <a:buFontTx/>
                <a:buNone/>
                <a:tabLst/>
              </a:pPr>
              <a:r>
                <a:rPr lang="en-US" sz="1350">
                  <a:latin typeface="Arial" pitchFamily="124" charset="0"/>
                </a:rPr>
                <a:t>               </a:t>
              </a:r>
            </a:p>
          </p:txBody>
        </p:sp>
        <p:pic>
          <p:nvPicPr>
            <p:cNvPr id="9" name="Picture 8">
              <a:extLst>
                <a:ext uri="{FF2B5EF4-FFF2-40B4-BE49-F238E27FC236}">
                  <a16:creationId xmlns:a16="http://schemas.microsoft.com/office/drawing/2014/main" id="{2CE94B44-7208-0848-80E7-7165E7D106A8}"/>
                </a:ext>
              </a:extLst>
            </p:cNvPr>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a:off x="135820" y="154984"/>
              <a:ext cx="2178058" cy="756021"/>
            </a:xfrm>
            <a:prstGeom prst="rect">
              <a:avLst/>
            </a:prstGeom>
          </p:spPr>
        </p:pic>
      </p:grpSp>
      <p:sp>
        <p:nvSpPr>
          <p:cNvPr id="17" name="Slide Number Placeholder 16">
            <a:extLst>
              <a:ext uri="{FF2B5EF4-FFF2-40B4-BE49-F238E27FC236}">
                <a16:creationId xmlns:a16="http://schemas.microsoft.com/office/drawing/2014/main" id="{F0B13DE1-DE5F-D844-BE5C-AEBBEC35CBB8}"/>
              </a:ext>
            </a:extLst>
          </p:cNvPr>
          <p:cNvSpPr>
            <a:spLocks noGrp="1"/>
          </p:cNvSpPr>
          <p:nvPr>
            <p:ph type="sldNum" sz="quarter" idx="4"/>
          </p:nvPr>
        </p:nvSpPr>
        <p:spPr>
          <a:xfrm>
            <a:off x="2" y="6553202"/>
            <a:ext cx="304799" cy="304799"/>
          </a:xfrm>
          <a:prstGeom prst="rect">
            <a:avLst/>
          </a:prstGeom>
        </p:spPr>
        <p:txBody>
          <a:bodyPr vert="horz" lIns="0" tIns="0" rIns="0" bIns="0" rtlCol="0" anchor="ctr"/>
          <a:lstStyle>
            <a:lvl1pPr algn="ctr">
              <a:defRPr sz="750">
                <a:solidFill>
                  <a:schemeClr val="accent5"/>
                </a:solidFill>
              </a:defRPr>
            </a:lvl1pPr>
          </a:lstStyle>
          <a:p>
            <a:fld id="{89006F1E-66CD-4A4B-9370-B4A3080F0E6C}" type="slidenum">
              <a:rPr lang="en-US" smtClean="0"/>
              <a:pPr/>
              <a:t>‹#›</a:t>
            </a:fld>
            <a:endParaRPr lang="en-US"/>
          </a:p>
        </p:txBody>
      </p:sp>
      <p:sp>
        <p:nvSpPr>
          <p:cNvPr id="3" name="Footer Placeholder 2">
            <a:extLst>
              <a:ext uri="{FF2B5EF4-FFF2-40B4-BE49-F238E27FC236}">
                <a16:creationId xmlns:a16="http://schemas.microsoft.com/office/drawing/2014/main" id="{586EC55D-6678-BB4B-BDDC-58D10FF57EC3}"/>
              </a:ext>
            </a:extLst>
          </p:cNvPr>
          <p:cNvSpPr>
            <a:spLocks noGrp="1"/>
          </p:cNvSpPr>
          <p:nvPr>
            <p:ph type="ftr" sz="quarter" idx="3"/>
          </p:nvPr>
        </p:nvSpPr>
        <p:spPr>
          <a:xfrm>
            <a:off x="304800" y="6553202"/>
            <a:ext cx="3657600" cy="304799"/>
          </a:xfrm>
          <a:prstGeom prst="rect">
            <a:avLst/>
          </a:prstGeom>
        </p:spPr>
        <p:txBody>
          <a:bodyPr vert="horz" lIns="91440" tIns="45720" rIns="91440" bIns="45720" rtlCol="0" anchor="ctr"/>
          <a:lstStyle>
            <a:lvl1pPr algn="l">
              <a:defRPr lang="en-US" sz="600" kern="1200">
                <a:solidFill>
                  <a:schemeClr val="accent5"/>
                </a:solidFill>
                <a:latin typeface="+mn-lt"/>
                <a:ea typeface="+mn-ea"/>
                <a:cs typeface="+mn-cs"/>
              </a:defRPr>
            </a:lvl1pPr>
          </a:lstStyle>
          <a:p>
            <a:r>
              <a:rPr lang="en-US"/>
              <a:t>Proprietary &amp; Confidential |  authoremail@thermofisher.com | 5-August-2020</a:t>
            </a:r>
          </a:p>
        </p:txBody>
      </p:sp>
      <p:sp>
        <p:nvSpPr>
          <p:cNvPr id="4" name="Text Placeholder 3">
            <a:extLst>
              <a:ext uri="{FF2B5EF4-FFF2-40B4-BE49-F238E27FC236}">
                <a16:creationId xmlns:a16="http://schemas.microsoft.com/office/drawing/2014/main" id="{F00A9AC8-05E2-9846-9B67-40D61264EC3C}"/>
              </a:ext>
            </a:extLst>
          </p:cNvPr>
          <p:cNvSpPr>
            <a:spLocks noGrp="1"/>
          </p:cNvSpPr>
          <p:nvPr>
            <p:ph type="body" idx="1"/>
          </p:nvPr>
        </p:nvSpPr>
        <p:spPr>
          <a:xfrm>
            <a:off x="304802" y="876302"/>
            <a:ext cx="11582399" cy="53006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 </a:t>
            </a:r>
          </a:p>
          <a:p>
            <a:pPr lvl="3"/>
            <a:r>
              <a:rPr lang="en-US"/>
              <a:t>Fourth level</a:t>
            </a:r>
          </a:p>
          <a:p>
            <a:pPr lvl="4"/>
            <a:r>
              <a:rPr lang="en-US"/>
              <a:t>Fifth level</a:t>
            </a:r>
          </a:p>
        </p:txBody>
      </p:sp>
    </p:spTree>
    <p:extLst>
      <p:ext uri="{BB962C8B-B14F-4D97-AF65-F5344CB8AC3E}">
        <p14:creationId xmlns:p14="http://schemas.microsoft.com/office/powerpoint/2010/main" val="2619608697"/>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 id="2147483677" r:id="rId15"/>
    <p:sldLayoutId id="2147483678" r:id="rId16"/>
    <p:sldLayoutId id="2147483679" r:id="rId17"/>
    <p:sldLayoutId id="2147483681" r:id="rId18"/>
    <p:sldLayoutId id="2147483682" r:id="rId19"/>
    <p:sldLayoutId id="2147483683" r:id="rId20"/>
    <p:sldLayoutId id="2147483684" r:id="rId21"/>
    <p:sldLayoutId id="2147483685" r:id="rId22"/>
    <p:sldLayoutId id="2147483686" r:id="rId23"/>
    <p:sldLayoutId id="2147483687" r:id="rId24"/>
    <p:sldLayoutId id="2147483688" r:id="rId25"/>
  </p:sldLayoutIdLst>
  <p:hf hdr="0" ftr="0" dt="0"/>
  <p:txStyles>
    <p:titleStyle>
      <a:lvl1pPr algn="l" defTabSz="685778" rtl="0" eaLnBrk="1" latinLnBrk="0" hangingPunct="1">
        <a:lnSpc>
          <a:spcPct val="90000"/>
        </a:lnSpc>
        <a:spcBef>
          <a:spcPct val="0"/>
        </a:spcBef>
        <a:buNone/>
        <a:defRPr sz="2100" b="1" kern="1200">
          <a:solidFill>
            <a:schemeClr val="tx2"/>
          </a:solidFill>
          <a:latin typeface="+mj-lt"/>
          <a:ea typeface="+mj-ea"/>
          <a:cs typeface="+mj-cs"/>
        </a:defRPr>
      </a:lvl1pPr>
    </p:titleStyle>
    <p:bodyStyle>
      <a:lvl1pPr marL="215497" indent="-215497" algn="l" defTabSz="685778" rtl="0" eaLnBrk="1" latinLnBrk="0" hangingPunct="1">
        <a:lnSpc>
          <a:spcPct val="120000"/>
        </a:lnSpc>
        <a:spcBef>
          <a:spcPts val="150"/>
        </a:spcBef>
        <a:buClr>
          <a:schemeClr val="tx2"/>
        </a:buClr>
        <a:buSzPct val="100000"/>
        <a:buFont typeface="Arial" panose="020B0604020202020204" pitchFamily="34" charset="0"/>
        <a:buChar char="•"/>
        <a:tabLst/>
        <a:defRPr sz="1500" b="0" kern="1200">
          <a:solidFill>
            <a:schemeClr val="tx1"/>
          </a:solidFill>
          <a:latin typeface="+mn-lt"/>
          <a:ea typeface="+mn-ea"/>
          <a:cs typeface="+mn-cs"/>
        </a:defRPr>
      </a:lvl1pPr>
      <a:lvl2pPr marL="389322" marR="0" indent="-213115" algn="l" defTabSz="685778" rtl="0" eaLnBrk="1" fontAlgn="auto" latinLnBrk="0" hangingPunct="1">
        <a:lnSpc>
          <a:spcPct val="120000"/>
        </a:lnSpc>
        <a:spcBef>
          <a:spcPts val="150"/>
        </a:spcBef>
        <a:spcAft>
          <a:spcPts val="0"/>
        </a:spcAft>
        <a:buClrTx/>
        <a:buSzPct val="76000"/>
        <a:buFont typeface="Arial" panose="020B0604020202020204" pitchFamily="34" charset="0"/>
        <a:buChar char="•"/>
        <a:tabLst/>
        <a:defRPr sz="1350" b="0" kern="1200">
          <a:solidFill>
            <a:schemeClr val="tx1"/>
          </a:solidFill>
          <a:latin typeface="+mn-lt"/>
          <a:ea typeface="+mn-ea"/>
          <a:cs typeface="+mn-cs"/>
        </a:defRPr>
      </a:lvl2pPr>
      <a:lvl3pPr marL="519096" marR="0" indent="-171445" algn="l" defTabSz="685778" rtl="0" eaLnBrk="1" fontAlgn="auto" latinLnBrk="0" hangingPunct="1">
        <a:lnSpc>
          <a:spcPct val="120000"/>
        </a:lnSpc>
        <a:spcBef>
          <a:spcPts val="150"/>
        </a:spcBef>
        <a:spcAft>
          <a:spcPts val="0"/>
        </a:spcAft>
        <a:buClrTx/>
        <a:buSzPct val="80000"/>
        <a:buFont typeface="Arial" panose="020B0604020202020204" pitchFamily="34" charset="0"/>
        <a:buChar char="•"/>
        <a:tabLst/>
        <a:defRPr sz="1050" b="0" kern="1200">
          <a:solidFill>
            <a:schemeClr val="tx1"/>
          </a:solidFill>
          <a:latin typeface="+mn-lt"/>
          <a:ea typeface="+mn-ea"/>
          <a:cs typeface="+mn-cs"/>
        </a:defRPr>
      </a:lvl3pPr>
      <a:lvl4pPr marL="646489" marR="0" indent="-128584" algn="l" defTabSz="685778" rtl="0" eaLnBrk="1" fontAlgn="auto" latinLnBrk="0" hangingPunct="1">
        <a:lnSpc>
          <a:spcPct val="120000"/>
        </a:lnSpc>
        <a:spcBef>
          <a:spcPts val="150"/>
        </a:spcBef>
        <a:spcAft>
          <a:spcPts val="0"/>
        </a:spcAft>
        <a:buClrTx/>
        <a:buSzPct val="80000"/>
        <a:buFont typeface="Arial" panose="020B0604020202020204" pitchFamily="34" charset="0"/>
        <a:buChar char="•"/>
        <a:tabLst/>
        <a:defRPr sz="900" b="0" kern="1200">
          <a:solidFill>
            <a:schemeClr val="tx1"/>
          </a:solidFill>
          <a:latin typeface="+mn-lt"/>
          <a:ea typeface="+mn-ea"/>
          <a:cs typeface="+mn-cs"/>
        </a:defRPr>
      </a:lvl4pPr>
      <a:lvl5pPr marL="809599" marR="0" indent="-117868" algn="l" defTabSz="685778" rtl="0" eaLnBrk="1" fontAlgn="auto" latinLnBrk="0" hangingPunct="1">
        <a:lnSpc>
          <a:spcPct val="120000"/>
        </a:lnSpc>
        <a:spcBef>
          <a:spcPts val="150"/>
        </a:spcBef>
        <a:spcAft>
          <a:spcPts val="0"/>
        </a:spcAft>
        <a:buClrTx/>
        <a:buSzPct val="80000"/>
        <a:buFont typeface="Arial" panose="020B0604020202020204" pitchFamily="34" charset="0"/>
        <a:buChar char="•"/>
        <a:tabLst/>
        <a:defRPr sz="825" b="0" kern="1200">
          <a:solidFill>
            <a:schemeClr val="tx1"/>
          </a:solidFill>
          <a:latin typeface="+mn-lt"/>
          <a:ea typeface="+mn-ea"/>
          <a:cs typeface="+mn-cs"/>
        </a:defRPr>
      </a:lvl5pPr>
      <a:lvl6pPr marL="1885889" indent="-171445" algn="l" defTabSz="68577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77" indent="-171445" algn="l" defTabSz="68577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66" indent="-171445" algn="l" defTabSz="68577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56" indent="-171445" algn="l" defTabSz="68577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78" rtl="0" eaLnBrk="1" latinLnBrk="0" hangingPunct="1">
        <a:defRPr sz="1350" kern="1200">
          <a:solidFill>
            <a:schemeClr val="tx1"/>
          </a:solidFill>
          <a:latin typeface="+mn-lt"/>
          <a:ea typeface="+mn-ea"/>
          <a:cs typeface="+mn-cs"/>
        </a:defRPr>
      </a:lvl1pPr>
      <a:lvl2pPr marL="342889" algn="l" defTabSz="685778" rtl="0" eaLnBrk="1" latinLnBrk="0" hangingPunct="1">
        <a:defRPr sz="1350" kern="1200">
          <a:solidFill>
            <a:schemeClr val="tx1"/>
          </a:solidFill>
          <a:latin typeface="+mn-lt"/>
          <a:ea typeface="+mn-ea"/>
          <a:cs typeface="+mn-cs"/>
        </a:defRPr>
      </a:lvl2pPr>
      <a:lvl3pPr marL="685778" algn="l" defTabSz="685778" rtl="0" eaLnBrk="1" latinLnBrk="0" hangingPunct="1">
        <a:defRPr sz="1350" kern="1200">
          <a:solidFill>
            <a:schemeClr val="tx1"/>
          </a:solidFill>
          <a:latin typeface="+mn-lt"/>
          <a:ea typeface="+mn-ea"/>
          <a:cs typeface="+mn-cs"/>
        </a:defRPr>
      </a:lvl3pPr>
      <a:lvl4pPr marL="1028667" algn="l" defTabSz="685778" rtl="0" eaLnBrk="1" latinLnBrk="0" hangingPunct="1">
        <a:defRPr sz="1350" kern="1200">
          <a:solidFill>
            <a:schemeClr val="tx1"/>
          </a:solidFill>
          <a:latin typeface="+mn-lt"/>
          <a:ea typeface="+mn-ea"/>
          <a:cs typeface="+mn-cs"/>
        </a:defRPr>
      </a:lvl4pPr>
      <a:lvl5pPr marL="1371555" algn="l" defTabSz="685778" rtl="0" eaLnBrk="1" latinLnBrk="0" hangingPunct="1">
        <a:defRPr sz="1350" kern="1200">
          <a:solidFill>
            <a:schemeClr val="tx1"/>
          </a:solidFill>
          <a:latin typeface="+mn-lt"/>
          <a:ea typeface="+mn-ea"/>
          <a:cs typeface="+mn-cs"/>
        </a:defRPr>
      </a:lvl5pPr>
      <a:lvl6pPr marL="1714444" algn="l" defTabSz="685778" rtl="0" eaLnBrk="1" latinLnBrk="0" hangingPunct="1">
        <a:defRPr sz="1350" kern="1200">
          <a:solidFill>
            <a:schemeClr val="tx1"/>
          </a:solidFill>
          <a:latin typeface="+mn-lt"/>
          <a:ea typeface="+mn-ea"/>
          <a:cs typeface="+mn-cs"/>
        </a:defRPr>
      </a:lvl6pPr>
      <a:lvl7pPr marL="2057334" algn="l" defTabSz="685778" rtl="0" eaLnBrk="1" latinLnBrk="0" hangingPunct="1">
        <a:defRPr sz="1350" kern="1200">
          <a:solidFill>
            <a:schemeClr val="tx1"/>
          </a:solidFill>
          <a:latin typeface="+mn-lt"/>
          <a:ea typeface="+mn-ea"/>
          <a:cs typeface="+mn-cs"/>
        </a:defRPr>
      </a:lvl7pPr>
      <a:lvl8pPr marL="2400222" algn="l" defTabSz="685778" rtl="0" eaLnBrk="1" latinLnBrk="0" hangingPunct="1">
        <a:defRPr sz="1350" kern="1200">
          <a:solidFill>
            <a:schemeClr val="tx1"/>
          </a:solidFill>
          <a:latin typeface="+mn-lt"/>
          <a:ea typeface="+mn-ea"/>
          <a:cs typeface="+mn-cs"/>
        </a:defRPr>
      </a:lvl8pPr>
      <a:lvl9pPr marL="2743111" algn="l" defTabSz="685778"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15:clr>
            <a:srgbClr val="F26B43"/>
          </p15:clr>
        </p15:guide>
        <p15:guide id="4" pos="7488">
          <p15:clr>
            <a:srgbClr val="F26B43"/>
          </p15:clr>
        </p15:guide>
        <p15:guide id="7" pos="5184">
          <p15:clr>
            <a:srgbClr val="F26B43"/>
          </p15:clr>
        </p15:guide>
        <p15:guide id="8" pos="2496">
          <p15:clr>
            <a:srgbClr val="F26B43"/>
          </p15:clr>
        </p15:guide>
        <p15:guide id="9" pos="192">
          <p15:clr>
            <a:srgbClr val="F26B43"/>
          </p15:clr>
        </p15:guide>
        <p15:guide id="10" pos="2688">
          <p15:clr>
            <a:srgbClr val="F26B43"/>
          </p15:clr>
        </p15:guide>
        <p15:guide id="11" orient="horz" pos="4128">
          <p15:clr>
            <a:srgbClr val="F26B43"/>
          </p15:clr>
        </p15:guide>
        <p15:guide id="12" pos="3840">
          <p15:clr>
            <a:srgbClr val="F26B43"/>
          </p15:clr>
        </p15:guide>
        <p15:guide id="13" pos="4992">
          <p15:clr>
            <a:srgbClr val="F26B43"/>
          </p15:clr>
        </p15:guide>
        <p15:guide id="14" orient="horz" pos="432">
          <p15:clr>
            <a:srgbClr val="F26B43"/>
          </p15:clr>
        </p15:guide>
        <p15:guide id="15" orient="horz" pos="552">
          <p15:clr>
            <a:srgbClr val="F26B43"/>
          </p15:clr>
        </p15:guide>
        <p15:guide id="16" orient="horz" pos="792">
          <p15:clr>
            <a:srgbClr val="F26B43"/>
          </p15:clr>
        </p15:guide>
        <p15:guide id="17" orient="horz" pos="91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2">
        <a:schemeClr val="bg2"/>
      </p:bgRef>
    </p:bg>
    <p:spTree>
      <p:nvGrpSpPr>
        <p:cNvPr id="1" name=""/>
        <p:cNvGrpSpPr/>
        <p:nvPr/>
      </p:nvGrpSpPr>
      <p:grpSpPr>
        <a:xfrm>
          <a:off x="0" y="0"/>
          <a:ext cx="0" cy="0"/>
          <a:chOff x="0" y="0"/>
          <a:chExt cx="0" cy="0"/>
        </a:xfrm>
      </p:grpSpPr>
      <p:grpSp>
        <p:nvGrpSpPr>
          <p:cNvPr id="1026" name="Group 41"/>
          <p:cNvGrpSpPr>
            <a:grpSpLocks/>
          </p:cNvGrpSpPr>
          <p:nvPr/>
        </p:nvGrpSpPr>
        <p:grpSpPr bwMode="auto">
          <a:xfrm>
            <a:off x="-407245" y="0"/>
            <a:ext cx="13243597" cy="6858000"/>
            <a:chOff x="-382404" y="0"/>
            <a:chExt cx="9932332" cy="6858000"/>
          </a:xfrm>
        </p:grpSpPr>
        <p:grpSp>
          <p:nvGrpSpPr>
            <p:cNvPr id="1036" name="Group 44"/>
            <p:cNvGrpSpPr>
              <a:grpSpLocks/>
            </p:cNvGrpSpPr>
            <p:nvPr/>
          </p:nvGrpSpPr>
          <p:grpSpPr bwMode="auto">
            <a:xfrm>
              <a:off x="0" y="0"/>
              <a:ext cx="9144000" cy="6858000"/>
              <a:chOff x="0" y="0"/>
              <a:chExt cx="9144000" cy="6858000"/>
            </a:xfrm>
          </p:grpSpPr>
          <p:grpSp>
            <p:nvGrpSpPr>
              <p:cNvPr id="1059" name="Group 4"/>
              <p:cNvGrpSpPr>
                <a:grpSpLocks/>
              </p:cNvGrpSpPr>
              <p:nvPr/>
            </p:nvGrpSpPr>
            <p:grpSpPr bwMode="auto">
              <a:xfrm>
                <a:off x="0" y="0"/>
                <a:ext cx="2514600" cy="6858000"/>
                <a:chOff x="0" y="0"/>
                <a:chExt cx="2514600" cy="6858000"/>
              </a:xfrm>
            </p:grpSpPr>
            <p:sp>
              <p:nvSpPr>
                <p:cNvPr id="113" name="Rectangle 112"/>
                <p:cNvSpPr/>
                <p:nvPr/>
              </p:nvSpPr>
              <p:spPr>
                <a:xfrm>
                  <a:off x="913944" y="0"/>
                  <a:ext cx="1600413"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114" name="Rectangle 2"/>
                <p:cNvSpPr/>
                <p:nvPr/>
              </p:nvSpPr>
              <p:spPr>
                <a:xfrm>
                  <a:off x="392" y="0"/>
                  <a:ext cx="457454"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115" name="Rectangle 3"/>
                <p:cNvSpPr/>
                <p:nvPr/>
              </p:nvSpPr>
              <p:spPr>
                <a:xfrm>
                  <a:off x="228441" y="0"/>
                  <a:ext cx="762877"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grpSp>
          <p:grpSp>
            <p:nvGrpSpPr>
              <p:cNvPr id="1060" name="Group 5"/>
              <p:cNvGrpSpPr>
                <a:grpSpLocks/>
              </p:cNvGrpSpPr>
              <p:nvPr/>
            </p:nvGrpSpPr>
            <p:grpSpPr bwMode="auto">
              <a:xfrm>
                <a:off x="422910" y="0"/>
                <a:ext cx="2514600" cy="6858000"/>
                <a:chOff x="0" y="0"/>
                <a:chExt cx="2514600" cy="6858000"/>
              </a:xfrm>
            </p:grpSpPr>
            <p:sp>
              <p:nvSpPr>
                <p:cNvPr id="110" name="Rectangle 109"/>
                <p:cNvSpPr/>
                <p:nvPr/>
              </p:nvSpPr>
              <p:spPr>
                <a:xfrm>
                  <a:off x="921340" y="0"/>
                  <a:ext cx="1593626"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111" name="Rectangle 110"/>
                <p:cNvSpPr/>
                <p:nvPr/>
              </p:nvSpPr>
              <p:spPr>
                <a:xfrm>
                  <a:off x="7788" y="0"/>
                  <a:ext cx="457455"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112" name="Rectangle 111"/>
                <p:cNvSpPr/>
                <p:nvPr/>
              </p:nvSpPr>
              <p:spPr>
                <a:xfrm>
                  <a:off x="235837" y="0"/>
                  <a:ext cx="762877"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grpSp>
          <p:grpSp>
            <p:nvGrpSpPr>
              <p:cNvPr id="1061" name="Group 9"/>
              <p:cNvGrpSpPr>
                <a:grpSpLocks/>
              </p:cNvGrpSpPr>
              <p:nvPr/>
            </p:nvGrpSpPr>
            <p:grpSpPr bwMode="auto">
              <a:xfrm rot="10800000">
                <a:off x="6629400" y="0"/>
                <a:ext cx="2514600" cy="6858000"/>
                <a:chOff x="0" y="0"/>
                <a:chExt cx="2514600" cy="6858000"/>
              </a:xfrm>
            </p:grpSpPr>
            <p:sp>
              <p:nvSpPr>
                <p:cNvPr id="107" name="Rectangle 106"/>
                <p:cNvSpPr/>
                <p:nvPr/>
              </p:nvSpPr>
              <p:spPr>
                <a:xfrm>
                  <a:off x="917569" y="0"/>
                  <a:ext cx="1593626"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108" name="Rectangle 107"/>
                <p:cNvSpPr/>
                <p:nvPr/>
              </p:nvSpPr>
              <p:spPr>
                <a:xfrm>
                  <a:off x="8089" y="8639"/>
                  <a:ext cx="457455"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109" name="Rectangle 108"/>
                <p:cNvSpPr/>
                <p:nvPr/>
              </p:nvSpPr>
              <p:spPr>
                <a:xfrm>
                  <a:off x="227993" y="8639"/>
                  <a:ext cx="762877"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grpSp>
          <p:sp>
            <p:nvSpPr>
              <p:cNvPr id="104" name="Rectangle 103"/>
              <p:cNvSpPr/>
              <p:nvPr/>
            </p:nvSpPr>
            <p:spPr>
              <a:xfrm>
                <a:off x="3810704" y="0"/>
                <a:ext cx="2819387"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105" name="Rectangle 104"/>
              <p:cNvSpPr/>
              <p:nvPr/>
            </p:nvSpPr>
            <p:spPr>
              <a:xfrm>
                <a:off x="2895795" y="0"/>
                <a:ext cx="457455"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106" name="Rectangle 105"/>
              <p:cNvSpPr/>
              <p:nvPr/>
            </p:nvSpPr>
            <p:spPr>
              <a:xfrm>
                <a:off x="3123843" y="0"/>
                <a:ext cx="762877"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grpSp>
        <p:sp>
          <p:nvSpPr>
            <p:cNvPr id="44" name="Freeform 43"/>
            <p:cNvSpPr/>
            <p:nvPr/>
          </p:nvSpPr>
          <p:spPr>
            <a:xfrm>
              <a:off x="-11825" y="5035151"/>
              <a:ext cx="9143663" cy="1176356"/>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33"/>
            </a:p>
          </p:txBody>
        </p:sp>
        <p:sp>
          <p:nvSpPr>
            <p:cNvPr id="45" name="Freeform 44"/>
            <p:cNvSpPr/>
            <p:nvPr/>
          </p:nvSpPr>
          <p:spPr>
            <a:xfrm>
              <a:off x="-11825" y="3467156"/>
              <a:ext cx="9143663" cy="891267"/>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33"/>
            </a:p>
          </p:txBody>
        </p:sp>
        <p:sp>
          <p:nvSpPr>
            <p:cNvPr id="46" name="Freeform 45"/>
            <p:cNvSpPr/>
            <p:nvPr/>
          </p:nvSpPr>
          <p:spPr>
            <a:xfrm>
              <a:off x="-24041" y="5641327"/>
              <a:ext cx="3005355" cy="121091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33"/>
            </a:p>
          </p:txBody>
        </p:sp>
        <p:sp>
          <p:nvSpPr>
            <p:cNvPr id="47" name="Freeform 46"/>
            <p:cNvSpPr/>
            <p:nvPr/>
          </p:nvSpPr>
          <p:spPr>
            <a:xfrm>
              <a:off x="-11825" y="5284245"/>
              <a:ext cx="9143663" cy="1478725"/>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33"/>
            </a:p>
          </p:txBody>
        </p:sp>
        <p:sp>
          <p:nvSpPr>
            <p:cNvPr id="49" name="Freeform 48"/>
            <p:cNvSpPr/>
            <p:nvPr/>
          </p:nvSpPr>
          <p:spPr>
            <a:xfrm>
              <a:off x="2136991" y="5131621"/>
              <a:ext cx="6982631" cy="1720620"/>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33"/>
            </a:p>
          </p:txBody>
        </p:sp>
        <p:sp>
          <p:nvSpPr>
            <p:cNvPr id="50" name="Hexagon 49"/>
            <p:cNvSpPr/>
            <p:nvPr/>
          </p:nvSpPr>
          <p:spPr>
            <a:xfrm rot="1800000">
              <a:off x="2996245" y="2859540"/>
              <a:ext cx="1601770" cy="1388014"/>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51" name="Hexagon 50"/>
            <p:cNvSpPr/>
            <p:nvPr/>
          </p:nvSpPr>
          <p:spPr>
            <a:xfrm rot="1800000">
              <a:off x="3719757" y="4126606"/>
              <a:ext cx="1601770" cy="1388014"/>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52" name="Hexagon 51"/>
            <p:cNvSpPr/>
            <p:nvPr/>
          </p:nvSpPr>
          <p:spPr>
            <a:xfrm rot="1800000">
              <a:off x="3729259" y="1592473"/>
              <a:ext cx="1601770" cy="1388014"/>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53" name="Hexagon 52"/>
            <p:cNvSpPr/>
            <p:nvPr/>
          </p:nvSpPr>
          <p:spPr>
            <a:xfrm rot="1800000">
              <a:off x="2977241" y="325406"/>
              <a:ext cx="1601770" cy="1388014"/>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54" name="Hexagon 53"/>
            <p:cNvSpPr/>
            <p:nvPr/>
          </p:nvSpPr>
          <p:spPr>
            <a:xfrm rot="1800000">
              <a:off x="4463630" y="5383595"/>
              <a:ext cx="1600412" cy="1388014"/>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55" name="Freeform 54"/>
            <p:cNvSpPr/>
            <p:nvPr/>
          </p:nvSpPr>
          <p:spPr>
            <a:xfrm rot="1800000">
              <a:off x="-382404" y="4201479"/>
              <a:ext cx="1261055" cy="1388014"/>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56" name="Hexagon 55"/>
            <p:cNvSpPr/>
            <p:nvPr/>
          </p:nvSpPr>
          <p:spPr>
            <a:xfrm rot="1800000">
              <a:off x="24827" y="5402312"/>
              <a:ext cx="1600412" cy="1388014"/>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57" name="Hexagon 56"/>
            <p:cNvSpPr/>
            <p:nvPr/>
          </p:nvSpPr>
          <p:spPr>
            <a:xfrm rot="1800000">
              <a:off x="53332" y="2849461"/>
              <a:ext cx="1600413" cy="1388014"/>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58" name="Hexagon 57"/>
            <p:cNvSpPr/>
            <p:nvPr/>
          </p:nvSpPr>
          <p:spPr>
            <a:xfrm rot="1800000">
              <a:off x="776844" y="4126606"/>
              <a:ext cx="1601770" cy="1388014"/>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59" name="Hexagon 58"/>
            <p:cNvSpPr/>
            <p:nvPr/>
          </p:nvSpPr>
          <p:spPr>
            <a:xfrm rot="1800000">
              <a:off x="1509857" y="5412392"/>
              <a:ext cx="1601770" cy="1388014"/>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60" name="Hexagon 59"/>
            <p:cNvSpPr/>
            <p:nvPr/>
          </p:nvSpPr>
          <p:spPr>
            <a:xfrm rot="1800000">
              <a:off x="1528861" y="2859540"/>
              <a:ext cx="1601770" cy="1388014"/>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95" name="Hexagon 94"/>
            <p:cNvSpPr/>
            <p:nvPr/>
          </p:nvSpPr>
          <p:spPr>
            <a:xfrm rot="1800000">
              <a:off x="795848" y="1563676"/>
              <a:ext cx="1601770" cy="1388014"/>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96" name="Hexagon 95"/>
            <p:cNvSpPr/>
            <p:nvPr/>
          </p:nvSpPr>
          <p:spPr>
            <a:xfrm rot="1800000">
              <a:off x="6806558" y="4145325"/>
              <a:ext cx="1600412" cy="1388014"/>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97" name="Hexagon 96"/>
            <p:cNvSpPr/>
            <p:nvPr/>
          </p:nvSpPr>
          <p:spPr>
            <a:xfrm rot="1800000">
              <a:off x="7549073" y="5421031"/>
              <a:ext cx="1601770" cy="1388014"/>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98" name="Hexagon 97"/>
            <p:cNvSpPr/>
            <p:nvPr/>
          </p:nvSpPr>
          <p:spPr>
            <a:xfrm rot="1800000">
              <a:off x="7549073" y="2868179"/>
              <a:ext cx="1601770" cy="1389454"/>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99" name="Freeform 98"/>
            <p:cNvSpPr/>
            <p:nvPr/>
          </p:nvSpPr>
          <p:spPr>
            <a:xfrm rot="1800000">
              <a:off x="8306520" y="4056054"/>
              <a:ext cx="1243408" cy="1388014"/>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100" name="Freeform 99"/>
            <p:cNvSpPr/>
            <p:nvPr/>
          </p:nvSpPr>
          <p:spPr>
            <a:xfrm rot="1800000">
              <a:off x="8306520" y="1511841"/>
              <a:ext cx="1242051" cy="1388014"/>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grpSp>
      <p:sp>
        <p:nvSpPr>
          <p:cNvPr id="66" name="Rectangle 65"/>
          <p:cNvSpPr/>
          <p:nvPr/>
        </p:nvSpPr>
        <p:spPr>
          <a:xfrm>
            <a:off x="609963" y="334045"/>
            <a:ext cx="10972076" cy="6185590"/>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4605" tIns="47302" rIns="94605" bIns="47302" anchor="ctr"/>
          <a:lstStyle/>
          <a:p>
            <a:pPr algn="ctr">
              <a:defRPr/>
            </a:pPr>
            <a:endParaRPr lang="en-US" sz="1633"/>
          </a:p>
        </p:txBody>
      </p:sp>
      <p:sp>
        <p:nvSpPr>
          <p:cNvPr id="70" name="Rectangle 69"/>
          <p:cNvSpPr/>
          <p:nvPr/>
        </p:nvSpPr>
        <p:spPr>
          <a:xfrm>
            <a:off x="6081521" y="-21598"/>
            <a:ext cx="4905036" cy="699767"/>
          </a:xfrm>
          <a:prstGeom prst="rect">
            <a:avLst/>
          </a:prstGeom>
          <a:solidFill>
            <a:srgbClr val="F5F5F5"/>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4605" tIns="47302" rIns="94605" bIns="47302" anchor="ctr"/>
          <a:lstStyle/>
          <a:p>
            <a:pPr algn="ctr">
              <a:defRPr/>
            </a:pPr>
            <a:endParaRPr lang="en-US" sz="1633"/>
          </a:p>
        </p:txBody>
      </p:sp>
      <p:sp>
        <p:nvSpPr>
          <p:cNvPr id="71" name="Rectangle 70"/>
          <p:cNvSpPr/>
          <p:nvPr/>
        </p:nvSpPr>
        <p:spPr>
          <a:xfrm>
            <a:off x="6199170" y="-21598"/>
            <a:ext cx="4673359" cy="6234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4605" tIns="47302" rIns="94605" bIns="47302" anchor="ctr"/>
          <a:lstStyle/>
          <a:p>
            <a:pPr algn="ctr">
              <a:defRPr/>
            </a:pPr>
            <a:endParaRPr lang="en-US" sz="1633"/>
          </a:p>
        </p:txBody>
      </p:sp>
      <p:sp>
        <p:nvSpPr>
          <p:cNvPr id="1030" name="Title Placeholder 1"/>
          <p:cNvSpPr>
            <a:spLocks noGrp="1"/>
          </p:cNvSpPr>
          <p:nvPr>
            <p:ph type="title"/>
          </p:nvPr>
        </p:nvSpPr>
        <p:spPr bwMode="auto">
          <a:xfrm>
            <a:off x="1391872" y="1028052"/>
            <a:ext cx="9366627" cy="1143240"/>
          </a:xfrm>
          <a:prstGeom prst="rect">
            <a:avLst/>
          </a:prstGeom>
          <a:noFill/>
          <a:ln w="9525">
            <a:noFill/>
            <a:miter lim="800000"/>
            <a:headEnd/>
            <a:tailEnd/>
          </a:ln>
        </p:spPr>
        <p:txBody>
          <a:bodyPr vert="horz" wrap="square" lIns="104306" tIns="52153" rIns="104306" bIns="52153" numCol="1" anchor="b" anchorCtr="0" compatLnSpc="1">
            <a:prstTxWarp prst="textNoShape">
              <a:avLst/>
            </a:prstTxWarp>
          </a:bodyPr>
          <a:lstStyle/>
          <a:p>
            <a:pPr lvl="0"/>
            <a:r>
              <a:rPr lang="en-US"/>
              <a:t>Click to edit Master title style</a:t>
            </a:r>
          </a:p>
        </p:txBody>
      </p:sp>
      <p:sp>
        <p:nvSpPr>
          <p:cNvPr id="1031" name="Text Placeholder 2"/>
          <p:cNvSpPr>
            <a:spLocks noGrp="1"/>
          </p:cNvSpPr>
          <p:nvPr>
            <p:ph type="body" idx="1"/>
          </p:nvPr>
        </p:nvSpPr>
        <p:spPr bwMode="auto">
          <a:xfrm>
            <a:off x="1391873" y="2323916"/>
            <a:ext cx="9035401" cy="3508912"/>
          </a:xfrm>
          <a:prstGeom prst="rect">
            <a:avLst/>
          </a:prstGeom>
          <a:noFill/>
          <a:ln w="9525">
            <a:noFill/>
            <a:miter lim="800000"/>
            <a:headEnd/>
            <a:tailEnd/>
          </a:ln>
        </p:spPr>
        <p:txBody>
          <a:bodyPr vert="horz" wrap="square" lIns="104306" tIns="52153" rIns="104306" bIns="52153"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7996475" y="224616"/>
            <a:ext cx="2845283" cy="364282"/>
          </a:xfrm>
          <a:prstGeom prst="rect">
            <a:avLst/>
          </a:prstGeom>
        </p:spPr>
        <p:txBody>
          <a:bodyPr vert="horz" lIns="104306" tIns="52153" rIns="104306" bIns="52153" rtlCol="0" anchor="ctr"/>
          <a:lstStyle>
            <a:lvl1pPr algn="r">
              <a:defRPr sz="1270">
                <a:solidFill>
                  <a:srgbClr val="FEFEFE"/>
                </a:solidFill>
              </a:defRPr>
            </a:lvl1pPr>
          </a:lstStyle>
          <a:p>
            <a:pPr>
              <a:defRPr/>
            </a:pPr>
            <a:fld id="{1DA1C0C6-A5B3-4B21-BE85-69E00465FE27}" type="datetimeFigureOut">
              <a:rPr lang="vi-VN"/>
              <a:pPr>
                <a:defRPr/>
              </a:pPr>
              <a:t>17/08/2023</a:t>
            </a:fld>
            <a:endParaRPr lang="vi-VN"/>
          </a:p>
        </p:txBody>
      </p:sp>
      <p:sp>
        <p:nvSpPr>
          <p:cNvPr id="5" name="Footer Placeholder 4"/>
          <p:cNvSpPr>
            <a:spLocks noGrp="1"/>
          </p:cNvSpPr>
          <p:nvPr>
            <p:ph type="ftr" sz="quarter" idx="3"/>
          </p:nvPr>
        </p:nvSpPr>
        <p:spPr>
          <a:xfrm>
            <a:off x="6188309" y="5851546"/>
            <a:ext cx="4669739" cy="365722"/>
          </a:xfrm>
          <a:prstGeom prst="rect">
            <a:avLst/>
          </a:prstGeom>
        </p:spPr>
        <p:txBody>
          <a:bodyPr vert="horz" lIns="104306" tIns="52153" rIns="104306" bIns="52153" rtlCol="0" anchor="ctr"/>
          <a:lstStyle>
            <a:lvl1pPr algn="r">
              <a:defRPr sz="1270">
                <a:solidFill>
                  <a:schemeClr val="accent1"/>
                </a:solidFill>
              </a:defRPr>
            </a:lvl1pPr>
          </a:lstStyle>
          <a:p>
            <a:pPr>
              <a:defRPr/>
            </a:pPr>
            <a:endParaRPr lang="vi-VN"/>
          </a:p>
        </p:txBody>
      </p:sp>
      <p:sp>
        <p:nvSpPr>
          <p:cNvPr id="6" name="Slide Number Placeholder 5"/>
          <p:cNvSpPr>
            <a:spLocks noGrp="1"/>
          </p:cNvSpPr>
          <p:nvPr>
            <p:ph type="sldNum" sz="quarter" idx="4"/>
          </p:nvPr>
        </p:nvSpPr>
        <p:spPr>
          <a:xfrm>
            <a:off x="6199170" y="224616"/>
            <a:ext cx="1775586" cy="364282"/>
          </a:xfrm>
          <a:prstGeom prst="rect">
            <a:avLst/>
          </a:prstGeom>
        </p:spPr>
        <p:txBody>
          <a:bodyPr vert="horz" lIns="104306" tIns="52153" rIns="104306" bIns="52153" rtlCol="0" anchor="ctr"/>
          <a:lstStyle>
            <a:lvl1pPr algn="l">
              <a:defRPr sz="1270">
                <a:solidFill>
                  <a:srgbClr val="FEFEFE"/>
                </a:solidFill>
              </a:defRPr>
            </a:lvl1pPr>
          </a:lstStyle>
          <a:p>
            <a:pPr>
              <a:defRPr/>
            </a:pPr>
            <a:fld id="{843A4594-739C-4986-B892-F602FB9BBEC5}" type="slidenum">
              <a:rPr lang="vi-VN"/>
              <a:pPr>
                <a:defRPr/>
              </a:pPr>
              <a:t>‹#›</a:t>
            </a:fld>
            <a:endParaRPr lang="vi-VN"/>
          </a:p>
        </p:txBody>
      </p:sp>
      <p:pic>
        <p:nvPicPr>
          <p:cNvPr id="1035" name="Picture 7"/>
          <p:cNvPicPr>
            <a:picLocks noChangeAspect="1" noChangeArrowheads="1"/>
          </p:cNvPicPr>
          <p:nvPr/>
        </p:nvPicPr>
        <p:blipFill>
          <a:blip r:embed="rId15"/>
          <a:srcRect/>
          <a:stretch>
            <a:fillRect/>
          </a:stretch>
        </p:blipFill>
        <p:spPr bwMode="auto">
          <a:xfrm>
            <a:off x="3620" y="-1440"/>
            <a:ext cx="12192000" cy="6862320"/>
          </a:xfrm>
          <a:prstGeom prst="rect">
            <a:avLst/>
          </a:prstGeom>
          <a:noFill/>
          <a:ln w="9525">
            <a:noFill/>
            <a:miter lim="800000"/>
            <a:headEnd/>
            <a:tailEnd/>
          </a:ln>
        </p:spPr>
      </p:pic>
    </p:spTree>
    <p:extLst>
      <p:ext uri="{BB962C8B-B14F-4D97-AF65-F5344CB8AC3E}">
        <p14:creationId xmlns:p14="http://schemas.microsoft.com/office/powerpoint/2010/main" val="2526154309"/>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833" r:id="rId13"/>
  </p:sldLayoutIdLst>
  <p:txStyles>
    <p:titleStyle>
      <a:lvl1pPr algn="l" defTabSz="945990" rtl="0" eaLnBrk="0" fontAlgn="base" hangingPunct="0">
        <a:spcBef>
          <a:spcPct val="0"/>
        </a:spcBef>
        <a:spcAft>
          <a:spcPct val="0"/>
        </a:spcAft>
        <a:defRPr sz="4172" kern="1200">
          <a:solidFill>
            <a:schemeClr val="accent1"/>
          </a:solidFill>
          <a:latin typeface="+mj-lt"/>
          <a:ea typeface="+mj-ea"/>
          <a:cs typeface="+mj-cs"/>
        </a:defRPr>
      </a:lvl1pPr>
      <a:lvl2pPr algn="l" defTabSz="945990" rtl="0" eaLnBrk="0" fontAlgn="base" hangingPunct="0">
        <a:spcBef>
          <a:spcPct val="0"/>
        </a:spcBef>
        <a:spcAft>
          <a:spcPct val="0"/>
        </a:spcAft>
        <a:defRPr sz="4172">
          <a:solidFill>
            <a:schemeClr val="accent1"/>
          </a:solidFill>
          <a:latin typeface="Tahoma" pitchFamily="34" charset="0"/>
        </a:defRPr>
      </a:lvl2pPr>
      <a:lvl3pPr algn="l" defTabSz="945990" rtl="0" eaLnBrk="0" fontAlgn="base" hangingPunct="0">
        <a:spcBef>
          <a:spcPct val="0"/>
        </a:spcBef>
        <a:spcAft>
          <a:spcPct val="0"/>
        </a:spcAft>
        <a:defRPr sz="4172">
          <a:solidFill>
            <a:schemeClr val="accent1"/>
          </a:solidFill>
          <a:latin typeface="Tahoma" pitchFamily="34" charset="0"/>
        </a:defRPr>
      </a:lvl3pPr>
      <a:lvl4pPr algn="l" defTabSz="945990" rtl="0" eaLnBrk="0" fontAlgn="base" hangingPunct="0">
        <a:spcBef>
          <a:spcPct val="0"/>
        </a:spcBef>
        <a:spcAft>
          <a:spcPct val="0"/>
        </a:spcAft>
        <a:defRPr sz="4172">
          <a:solidFill>
            <a:schemeClr val="accent1"/>
          </a:solidFill>
          <a:latin typeface="Tahoma" pitchFamily="34" charset="0"/>
        </a:defRPr>
      </a:lvl4pPr>
      <a:lvl5pPr algn="l" defTabSz="945990" rtl="0" eaLnBrk="0" fontAlgn="base" hangingPunct="0">
        <a:spcBef>
          <a:spcPct val="0"/>
        </a:spcBef>
        <a:spcAft>
          <a:spcPct val="0"/>
        </a:spcAft>
        <a:defRPr sz="4172">
          <a:solidFill>
            <a:schemeClr val="accent1"/>
          </a:solidFill>
          <a:latin typeface="Tahoma" pitchFamily="34" charset="0"/>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54206" indent="-283653" algn="l" defTabSz="945990" rtl="0" eaLnBrk="0" fontAlgn="base" hangingPunct="0">
        <a:spcBef>
          <a:spcPct val="20000"/>
        </a:spcBef>
        <a:spcAft>
          <a:spcPct val="0"/>
        </a:spcAft>
        <a:buClr>
          <a:schemeClr val="accent1"/>
        </a:buClr>
        <a:buSzPct val="76000"/>
        <a:buFont typeface="Wingdings 2" pitchFamily="18" charset="2"/>
        <a:buChar char=""/>
        <a:defRPr sz="2449" kern="1200">
          <a:solidFill>
            <a:schemeClr val="tx2"/>
          </a:solidFill>
          <a:latin typeface="+mn-lt"/>
          <a:ea typeface="+mn-ea"/>
          <a:cs typeface="+mn-cs"/>
        </a:defRPr>
      </a:lvl1pPr>
      <a:lvl2pPr marL="660897" indent="-283653" algn="l" defTabSz="945990" rtl="0" eaLnBrk="0" fontAlgn="base" hangingPunct="0">
        <a:spcBef>
          <a:spcPct val="20000"/>
        </a:spcBef>
        <a:spcAft>
          <a:spcPct val="0"/>
        </a:spcAft>
        <a:buClr>
          <a:schemeClr val="accent1"/>
        </a:buClr>
        <a:buSzPct val="76000"/>
        <a:buFont typeface="Wingdings 2" pitchFamily="18" charset="2"/>
        <a:buChar char=""/>
        <a:defRPr sz="2268" kern="1200">
          <a:solidFill>
            <a:schemeClr val="tx2"/>
          </a:solidFill>
          <a:latin typeface="+mn-lt"/>
          <a:ea typeface="+mn-ea"/>
          <a:cs typeface="+mn-cs"/>
        </a:defRPr>
      </a:lvl2pPr>
      <a:lvl3pPr marL="945990" indent="-236137" algn="l" defTabSz="945990" rtl="0" eaLnBrk="0" fontAlgn="base" hangingPunct="0">
        <a:spcBef>
          <a:spcPct val="20000"/>
        </a:spcBef>
        <a:spcAft>
          <a:spcPct val="0"/>
        </a:spcAft>
        <a:buClr>
          <a:schemeClr val="accent1"/>
        </a:buClr>
        <a:buSzPct val="76000"/>
        <a:buFont typeface="Wingdings 2" pitchFamily="18" charset="2"/>
        <a:buChar char=""/>
        <a:defRPr sz="2086" kern="1200">
          <a:solidFill>
            <a:schemeClr val="tx2"/>
          </a:solidFill>
          <a:latin typeface="+mn-lt"/>
          <a:ea typeface="+mn-ea"/>
          <a:cs typeface="+mn-cs"/>
        </a:defRPr>
      </a:lvl3pPr>
      <a:lvl4pPr marL="1163409" indent="-236137" algn="l" defTabSz="945990" rtl="0" eaLnBrk="0" fontAlgn="base" hangingPunct="0">
        <a:spcBef>
          <a:spcPct val="20000"/>
        </a:spcBef>
        <a:spcAft>
          <a:spcPct val="0"/>
        </a:spcAft>
        <a:buClr>
          <a:schemeClr val="accent1"/>
        </a:buClr>
        <a:buSzPct val="76000"/>
        <a:buFont typeface="Wingdings 2" pitchFamily="18" charset="2"/>
        <a:buChar char=""/>
        <a:defRPr sz="1905" kern="1200">
          <a:solidFill>
            <a:schemeClr val="tx2"/>
          </a:solidFill>
          <a:latin typeface="+mn-lt"/>
          <a:ea typeface="+mn-ea"/>
          <a:cs typeface="+mn-cs"/>
        </a:defRPr>
      </a:lvl4pPr>
      <a:lvl5pPr marL="1370749" indent="-236137" algn="l" defTabSz="945990" rtl="0" eaLnBrk="0" fontAlgn="base" hangingPunct="0">
        <a:spcBef>
          <a:spcPct val="20000"/>
        </a:spcBef>
        <a:spcAft>
          <a:spcPct val="0"/>
        </a:spcAft>
        <a:buClr>
          <a:schemeClr val="accent1"/>
        </a:buClr>
        <a:buSzPct val="76000"/>
        <a:buFont typeface="Wingdings 2" pitchFamily="18" charset="2"/>
        <a:buChar char=""/>
        <a:defRPr kern="1200">
          <a:solidFill>
            <a:schemeClr val="tx2"/>
          </a:solidFill>
          <a:latin typeface="+mn-lt"/>
          <a:ea typeface="+mn-ea"/>
          <a:cs typeface="+mn-cs"/>
        </a:defRPr>
      </a:lvl5pPr>
      <a:lvl6pPr marL="1570446" indent="-236513" algn="l" defTabSz="946052" rtl="0" eaLnBrk="1" latinLnBrk="0" hangingPunct="1">
        <a:spcBef>
          <a:spcPct val="20000"/>
        </a:spcBef>
        <a:buClr>
          <a:schemeClr val="accent1"/>
        </a:buClr>
        <a:buSzPct val="76000"/>
        <a:buFont typeface="Wingdings 2" pitchFamily="18" charset="2"/>
        <a:buChar char=""/>
        <a:defRPr sz="1451" kern="1200">
          <a:solidFill>
            <a:schemeClr val="tx2"/>
          </a:solidFill>
          <a:latin typeface="+mn-lt"/>
          <a:ea typeface="+mn-ea"/>
          <a:cs typeface="+mn-cs"/>
        </a:defRPr>
      </a:lvl6pPr>
      <a:lvl7pPr marL="1778577" indent="-236513" algn="l" defTabSz="946052" rtl="0" eaLnBrk="1" latinLnBrk="0" hangingPunct="1">
        <a:spcBef>
          <a:spcPct val="20000"/>
        </a:spcBef>
        <a:buClr>
          <a:schemeClr val="accent1"/>
        </a:buClr>
        <a:buSzPct val="76000"/>
        <a:buFont typeface="Wingdings 2" pitchFamily="18" charset="2"/>
        <a:buChar char=""/>
        <a:defRPr sz="1451" kern="1200">
          <a:solidFill>
            <a:schemeClr val="tx2"/>
          </a:solidFill>
          <a:latin typeface="+mn-lt"/>
          <a:ea typeface="+mn-ea"/>
          <a:cs typeface="+mn-cs"/>
        </a:defRPr>
      </a:lvl7pPr>
      <a:lvl8pPr marL="1986709" indent="-236513" algn="l" defTabSz="946052" rtl="0" eaLnBrk="1" latinLnBrk="0" hangingPunct="1">
        <a:spcBef>
          <a:spcPct val="20000"/>
        </a:spcBef>
        <a:buClr>
          <a:schemeClr val="accent1"/>
        </a:buClr>
        <a:buSzPct val="76000"/>
        <a:buFont typeface="Wingdings 2" pitchFamily="18" charset="2"/>
        <a:buChar char=""/>
        <a:defRPr sz="1451" kern="1200">
          <a:solidFill>
            <a:schemeClr val="tx2"/>
          </a:solidFill>
          <a:latin typeface="+mn-lt"/>
          <a:ea typeface="+mn-ea"/>
          <a:cs typeface="+mn-cs"/>
        </a:defRPr>
      </a:lvl8pPr>
      <a:lvl9pPr marL="2194840" indent="-236513" algn="l" defTabSz="946052" rtl="0" eaLnBrk="1" latinLnBrk="0" hangingPunct="1">
        <a:spcBef>
          <a:spcPct val="20000"/>
        </a:spcBef>
        <a:buClr>
          <a:schemeClr val="accent1"/>
        </a:buClr>
        <a:buSzPct val="76000"/>
        <a:buFont typeface="Wingdings 2" pitchFamily="18" charset="2"/>
        <a:buChar char=""/>
        <a:defRPr sz="1451" kern="1200">
          <a:solidFill>
            <a:schemeClr val="tx2"/>
          </a:solidFill>
          <a:latin typeface="+mn-lt"/>
          <a:ea typeface="+mn-ea"/>
          <a:cs typeface="+mn-cs"/>
        </a:defRPr>
      </a:lvl9pPr>
    </p:bodyStyle>
    <p:otherStyle>
      <a:defPPr>
        <a:defRPr lang="en-US"/>
      </a:defPPr>
      <a:lvl1pPr marL="0" algn="l" defTabSz="946052" rtl="0" eaLnBrk="1" latinLnBrk="0" hangingPunct="1">
        <a:defRPr sz="1905" kern="1200">
          <a:solidFill>
            <a:schemeClr val="tx1"/>
          </a:solidFill>
          <a:latin typeface="+mn-lt"/>
          <a:ea typeface="+mn-ea"/>
          <a:cs typeface="+mn-cs"/>
        </a:defRPr>
      </a:lvl1pPr>
      <a:lvl2pPr marL="473026" algn="l" defTabSz="946052" rtl="0" eaLnBrk="1" latinLnBrk="0" hangingPunct="1">
        <a:defRPr sz="1905" kern="1200">
          <a:solidFill>
            <a:schemeClr val="tx1"/>
          </a:solidFill>
          <a:latin typeface="+mn-lt"/>
          <a:ea typeface="+mn-ea"/>
          <a:cs typeface="+mn-cs"/>
        </a:defRPr>
      </a:lvl2pPr>
      <a:lvl3pPr marL="946052" algn="l" defTabSz="946052" rtl="0" eaLnBrk="1" latinLnBrk="0" hangingPunct="1">
        <a:defRPr sz="1905" kern="1200">
          <a:solidFill>
            <a:schemeClr val="tx1"/>
          </a:solidFill>
          <a:latin typeface="+mn-lt"/>
          <a:ea typeface="+mn-ea"/>
          <a:cs typeface="+mn-cs"/>
        </a:defRPr>
      </a:lvl3pPr>
      <a:lvl4pPr marL="1419078" algn="l" defTabSz="946052" rtl="0" eaLnBrk="1" latinLnBrk="0" hangingPunct="1">
        <a:defRPr sz="1905" kern="1200">
          <a:solidFill>
            <a:schemeClr val="tx1"/>
          </a:solidFill>
          <a:latin typeface="+mn-lt"/>
          <a:ea typeface="+mn-ea"/>
          <a:cs typeface="+mn-cs"/>
        </a:defRPr>
      </a:lvl4pPr>
      <a:lvl5pPr marL="1892104" algn="l" defTabSz="946052" rtl="0" eaLnBrk="1" latinLnBrk="0" hangingPunct="1">
        <a:defRPr sz="1905" kern="1200">
          <a:solidFill>
            <a:schemeClr val="tx1"/>
          </a:solidFill>
          <a:latin typeface="+mn-lt"/>
          <a:ea typeface="+mn-ea"/>
          <a:cs typeface="+mn-cs"/>
        </a:defRPr>
      </a:lvl5pPr>
      <a:lvl6pPr marL="2365129" algn="l" defTabSz="946052" rtl="0" eaLnBrk="1" latinLnBrk="0" hangingPunct="1">
        <a:defRPr sz="1905" kern="1200">
          <a:solidFill>
            <a:schemeClr val="tx1"/>
          </a:solidFill>
          <a:latin typeface="+mn-lt"/>
          <a:ea typeface="+mn-ea"/>
          <a:cs typeface="+mn-cs"/>
        </a:defRPr>
      </a:lvl6pPr>
      <a:lvl7pPr marL="2838155" algn="l" defTabSz="946052" rtl="0" eaLnBrk="1" latinLnBrk="0" hangingPunct="1">
        <a:defRPr sz="1905" kern="1200">
          <a:solidFill>
            <a:schemeClr val="tx1"/>
          </a:solidFill>
          <a:latin typeface="+mn-lt"/>
          <a:ea typeface="+mn-ea"/>
          <a:cs typeface="+mn-cs"/>
        </a:defRPr>
      </a:lvl7pPr>
      <a:lvl8pPr marL="3311181" algn="l" defTabSz="946052" rtl="0" eaLnBrk="1" latinLnBrk="0" hangingPunct="1">
        <a:defRPr sz="1905" kern="1200">
          <a:solidFill>
            <a:schemeClr val="tx1"/>
          </a:solidFill>
          <a:latin typeface="+mn-lt"/>
          <a:ea typeface="+mn-ea"/>
          <a:cs typeface="+mn-cs"/>
        </a:defRPr>
      </a:lvl8pPr>
      <a:lvl9pPr marL="3784207" algn="l" defTabSz="946052" rtl="0" eaLnBrk="1" latinLnBrk="0" hangingPunct="1">
        <a:defRPr sz="190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1" y="304799"/>
            <a:ext cx="9753600" cy="381001"/>
          </a:xfrm>
          <a:prstGeom prst="rect">
            <a:avLst/>
          </a:prstGeom>
        </p:spPr>
        <p:txBody>
          <a:bodyPr vert="horz" wrap="square" lIns="0" tIns="0" rIns="0" bIns="0" rtlCol="0" anchor="t" anchorCtr="0">
            <a:noAutofit/>
          </a:bodyPr>
          <a:lstStyle/>
          <a:p>
            <a:r>
              <a:rPr lang="en-US" dirty="0"/>
              <a:t>Slide title [28pt Arial Bold]</a:t>
            </a:r>
          </a:p>
        </p:txBody>
      </p:sp>
      <p:grpSp>
        <p:nvGrpSpPr>
          <p:cNvPr id="7" name="Group 6">
            <a:extLst>
              <a:ext uri="{FF2B5EF4-FFF2-40B4-BE49-F238E27FC236}">
                <a16:creationId xmlns:a16="http://schemas.microsoft.com/office/drawing/2014/main" id="{C54DB860-41E2-E04B-ABD0-6BA4D570E7A0}"/>
              </a:ext>
            </a:extLst>
          </p:cNvPr>
          <p:cNvGrpSpPr/>
          <p:nvPr userDrawn="1"/>
        </p:nvGrpSpPr>
        <p:grpSpPr>
          <a:xfrm>
            <a:off x="10295372" y="0"/>
            <a:ext cx="1591826" cy="694426"/>
            <a:chOff x="-20628" y="0"/>
            <a:chExt cx="2488951" cy="1085792"/>
          </a:xfrm>
        </p:grpSpPr>
        <p:sp>
          <p:nvSpPr>
            <p:cNvPr id="8" name="Parallelogram 7">
              <a:extLst>
                <a:ext uri="{FF2B5EF4-FFF2-40B4-BE49-F238E27FC236}">
                  <a16:creationId xmlns:a16="http://schemas.microsoft.com/office/drawing/2014/main" id="{A441B466-B52D-0443-BF86-D267F733A465}"/>
                </a:ext>
              </a:extLst>
            </p:cNvPr>
            <p:cNvSpPr/>
            <p:nvPr userDrawn="1"/>
          </p:nvSpPr>
          <p:spPr bwMode="auto">
            <a:xfrm>
              <a:off x="-20628" y="0"/>
              <a:ext cx="2488951" cy="1085792"/>
            </a:xfrm>
            <a:prstGeom prst="parallelogram">
              <a:avLst>
                <a:gd name="adj" fmla="val 0"/>
              </a:avLst>
            </a:prstGeom>
            <a:solidFill>
              <a:srgbClr val="E7131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800" dirty="0">
                  <a:latin typeface="Arial" pitchFamily="124" charset="0"/>
                </a:rPr>
                <a:t> </a:t>
              </a:r>
            </a:p>
          </p:txBody>
        </p:sp>
        <p:pic>
          <p:nvPicPr>
            <p:cNvPr id="9" name="Picture 8">
              <a:extLst>
                <a:ext uri="{FF2B5EF4-FFF2-40B4-BE49-F238E27FC236}">
                  <a16:creationId xmlns:a16="http://schemas.microsoft.com/office/drawing/2014/main" id="{2CE94B44-7208-0848-80E7-7165E7D106A8}"/>
                </a:ext>
              </a:extLst>
            </p:cNvPr>
            <p:cNvPicPr>
              <a:picLocks noChangeAspect="1"/>
            </p:cNvPicPr>
            <p:nvPr userDrawn="1"/>
          </p:nvPicPr>
          <p:blipFill>
            <a:blip r:embed="rId18" cstate="screen">
              <a:extLst>
                <a:ext uri="{28A0092B-C50C-407E-A947-70E740481C1C}">
                  <a14:useLocalDpi xmlns:a14="http://schemas.microsoft.com/office/drawing/2010/main"/>
                </a:ext>
              </a:extLst>
            </a:blip>
            <a:stretch>
              <a:fillRect/>
            </a:stretch>
          </p:blipFill>
          <p:spPr>
            <a:xfrm>
              <a:off x="135820" y="154984"/>
              <a:ext cx="2178058" cy="756021"/>
            </a:xfrm>
            <a:prstGeom prst="rect">
              <a:avLst/>
            </a:prstGeom>
          </p:spPr>
        </p:pic>
      </p:grpSp>
      <p:sp>
        <p:nvSpPr>
          <p:cNvPr id="17" name="Slide Number Placeholder 16">
            <a:extLst>
              <a:ext uri="{FF2B5EF4-FFF2-40B4-BE49-F238E27FC236}">
                <a16:creationId xmlns:a16="http://schemas.microsoft.com/office/drawing/2014/main" id="{F0B13DE1-DE5F-D844-BE5C-AEBBEC35CBB8}"/>
              </a:ext>
            </a:extLst>
          </p:cNvPr>
          <p:cNvSpPr>
            <a:spLocks noGrp="1"/>
          </p:cNvSpPr>
          <p:nvPr>
            <p:ph type="sldNum" sz="quarter" idx="4"/>
          </p:nvPr>
        </p:nvSpPr>
        <p:spPr>
          <a:xfrm>
            <a:off x="1" y="6553200"/>
            <a:ext cx="304799" cy="304799"/>
          </a:xfrm>
          <a:prstGeom prst="rect">
            <a:avLst/>
          </a:prstGeom>
        </p:spPr>
        <p:txBody>
          <a:bodyPr vert="horz" lIns="0" tIns="0" rIns="0" bIns="0" rtlCol="0" anchor="ctr"/>
          <a:lstStyle>
            <a:lvl1pPr algn="ctr">
              <a:defRPr sz="1000">
                <a:solidFill>
                  <a:schemeClr val="accent5"/>
                </a:solidFill>
              </a:defRPr>
            </a:lvl1pPr>
          </a:lstStyle>
          <a:p>
            <a:fld id="{89006F1E-66CD-4A4B-9370-B4A3080F0E6C}" type="slidenum">
              <a:rPr lang="en-US" smtClean="0"/>
              <a:pPr/>
              <a:t>‹#›</a:t>
            </a:fld>
            <a:endParaRPr lang="en-US" dirty="0"/>
          </a:p>
        </p:txBody>
      </p:sp>
      <p:sp>
        <p:nvSpPr>
          <p:cNvPr id="3" name="Footer Placeholder 2">
            <a:extLst>
              <a:ext uri="{FF2B5EF4-FFF2-40B4-BE49-F238E27FC236}">
                <a16:creationId xmlns:a16="http://schemas.microsoft.com/office/drawing/2014/main" id="{586EC55D-6678-BB4B-BDDC-58D10FF57EC3}"/>
              </a:ext>
            </a:extLst>
          </p:cNvPr>
          <p:cNvSpPr>
            <a:spLocks noGrp="1"/>
          </p:cNvSpPr>
          <p:nvPr>
            <p:ph type="ftr" sz="quarter" idx="3"/>
          </p:nvPr>
        </p:nvSpPr>
        <p:spPr>
          <a:xfrm>
            <a:off x="304799" y="6553200"/>
            <a:ext cx="7620001" cy="304799"/>
          </a:xfrm>
          <a:prstGeom prst="rect">
            <a:avLst/>
          </a:prstGeom>
        </p:spPr>
        <p:txBody>
          <a:bodyPr vert="horz" lIns="91440" tIns="45720" rIns="91440" bIns="45720" rtlCol="0" anchor="ctr"/>
          <a:lstStyle>
            <a:lvl1pPr algn="l">
              <a:defRPr lang="en-US" sz="800" kern="1200">
                <a:solidFill>
                  <a:schemeClr val="accent5"/>
                </a:solidFill>
                <a:latin typeface="+mn-lt"/>
                <a:ea typeface="+mn-ea"/>
                <a:cs typeface="+mn-cs"/>
              </a:defRPr>
            </a:lvl1pPr>
          </a:lstStyle>
          <a:p>
            <a:endParaRPr lang="en-US" dirty="0"/>
          </a:p>
        </p:txBody>
      </p:sp>
      <p:sp>
        <p:nvSpPr>
          <p:cNvPr id="4" name="Text Placeholder 3">
            <a:extLst>
              <a:ext uri="{FF2B5EF4-FFF2-40B4-BE49-F238E27FC236}">
                <a16:creationId xmlns:a16="http://schemas.microsoft.com/office/drawing/2014/main" id="{F00A9AC8-05E2-9846-9B67-40D61264EC3C}"/>
              </a:ext>
            </a:extLst>
          </p:cNvPr>
          <p:cNvSpPr>
            <a:spLocks noGrp="1"/>
          </p:cNvSpPr>
          <p:nvPr>
            <p:ph type="body" idx="1"/>
          </p:nvPr>
        </p:nvSpPr>
        <p:spPr>
          <a:xfrm>
            <a:off x="304800" y="876300"/>
            <a:ext cx="11582398" cy="5300663"/>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 </a:t>
            </a:r>
          </a:p>
          <a:p>
            <a:pPr lvl="3"/>
            <a:r>
              <a:rPr lang="en-US" dirty="0"/>
              <a:t>Fourth level</a:t>
            </a:r>
          </a:p>
          <a:p>
            <a:pPr lvl="4"/>
            <a:r>
              <a:rPr lang="en-US" dirty="0"/>
              <a:t>Fifth level</a:t>
            </a:r>
          </a:p>
        </p:txBody>
      </p:sp>
    </p:spTree>
    <p:extLst>
      <p:ext uri="{BB962C8B-B14F-4D97-AF65-F5344CB8AC3E}">
        <p14:creationId xmlns:p14="http://schemas.microsoft.com/office/powerpoint/2010/main" val="2005534441"/>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 id="2147483758" r:id="rId12"/>
    <p:sldLayoutId id="2147483759" r:id="rId13"/>
    <p:sldLayoutId id="2147483760" r:id="rId14"/>
    <p:sldLayoutId id="2147483761" r:id="rId15"/>
    <p:sldLayoutId id="2147483762" r:id="rId16"/>
  </p:sldLayoutIdLst>
  <p:hf hdr="0" dt="0"/>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342900" indent="-342900" algn="l" defTabSz="914400" rtl="0" eaLnBrk="1" latinLnBrk="0" hangingPunct="1">
        <a:lnSpc>
          <a:spcPct val="120000"/>
        </a:lnSpc>
        <a:spcBef>
          <a:spcPts val="200"/>
        </a:spcBef>
        <a:buClr>
          <a:schemeClr val="tx2"/>
        </a:buClr>
        <a:buSzPct val="100000"/>
        <a:buFont typeface="Arial" panose="020B0604020202020204" pitchFamily="34" charset="0"/>
        <a:buChar char="•"/>
        <a:tabLst/>
        <a:defRPr sz="2000" b="0" kern="1200">
          <a:solidFill>
            <a:schemeClr val="tx1"/>
          </a:solidFill>
          <a:latin typeface="+mn-lt"/>
          <a:ea typeface="+mn-ea"/>
          <a:cs typeface="+mn-cs"/>
        </a:defRPr>
      </a:lvl1pPr>
      <a:lvl2pPr marL="520700" marR="0" indent="-285750" algn="l" defTabSz="914400" rtl="0" eaLnBrk="1" fontAlgn="auto" latinLnBrk="0" hangingPunct="1">
        <a:lnSpc>
          <a:spcPct val="120000"/>
        </a:lnSpc>
        <a:spcBef>
          <a:spcPts val="200"/>
        </a:spcBef>
        <a:spcAft>
          <a:spcPts val="0"/>
        </a:spcAft>
        <a:buClrTx/>
        <a:buSzPct val="76000"/>
        <a:buFont typeface="Arial" panose="020B0604020202020204" pitchFamily="34" charset="0"/>
        <a:buChar char="•"/>
        <a:tabLst/>
        <a:defRPr sz="1800" b="0" kern="1200">
          <a:solidFill>
            <a:schemeClr val="tx1"/>
          </a:solidFill>
          <a:latin typeface="+mn-lt"/>
          <a:ea typeface="+mn-ea"/>
          <a:cs typeface="+mn-cs"/>
        </a:defRPr>
      </a:lvl2pPr>
      <a:lvl3pPr marL="749300" marR="0" indent="-285750" algn="l" defTabSz="914400" rtl="0" eaLnBrk="1" fontAlgn="auto" latinLnBrk="0" hangingPunct="1">
        <a:lnSpc>
          <a:spcPct val="120000"/>
        </a:lnSpc>
        <a:spcBef>
          <a:spcPts val="200"/>
        </a:spcBef>
        <a:spcAft>
          <a:spcPts val="0"/>
        </a:spcAft>
        <a:buClrTx/>
        <a:buSzPct val="80000"/>
        <a:buFont typeface="Arial" panose="020B0604020202020204" pitchFamily="34" charset="0"/>
        <a:buChar char="•"/>
        <a:tabLst/>
        <a:defRPr sz="1400" b="0" kern="1200">
          <a:solidFill>
            <a:schemeClr val="tx1"/>
          </a:solidFill>
          <a:latin typeface="+mn-lt"/>
          <a:ea typeface="+mn-ea"/>
          <a:cs typeface="+mn-cs"/>
        </a:defRPr>
      </a:lvl3pPr>
      <a:lvl4pPr marL="862013" marR="0" indent="-171450" algn="l" defTabSz="914400" rtl="0" eaLnBrk="1" fontAlgn="auto" latinLnBrk="0" hangingPunct="1">
        <a:lnSpc>
          <a:spcPct val="120000"/>
        </a:lnSpc>
        <a:spcBef>
          <a:spcPts val="200"/>
        </a:spcBef>
        <a:spcAft>
          <a:spcPts val="0"/>
        </a:spcAft>
        <a:buClrTx/>
        <a:buSzPct val="80000"/>
        <a:buFont typeface="Arial" panose="020B0604020202020204" pitchFamily="34" charset="0"/>
        <a:buChar char="•"/>
        <a:tabLst/>
        <a:defRPr sz="1200" b="0" kern="1200">
          <a:solidFill>
            <a:schemeClr val="tx1"/>
          </a:solidFill>
          <a:latin typeface="+mn-lt"/>
          <a:ea typeface="+mn-ea"/>
          <a:cs typeface="+mn-cs"/>
        </a:defRPr>
      </a:lvl4pPr>
      <a:lvl5pPr marL="1093787" marR="0" indent="-171450" algn="l" defTabSz="914400" rtl="0" eaLnBrk="1" fontAlgn="auto" latinLnBrk="0" hangingPunct="1">
        <a:lnSpc>
          <a:spcPct val="120000"/>
        </a:lnSpc>
        <a:spcBef>
          <a:spcPts val="200"/>
        </a:spcBef>
        <a:spcAft>
          <a:spcPts val="0"/>
        </a:spcAft>
        <a:buClrTx/>
        <a:buSzPct val="80000"/>
        <a:buFont typeface="Arial" panose="020B0604020202020204" pitchFamily="34" charset="0"/>
        <a:buChar char="•"/>
        <a:tabLst/>
        <a:defRPr sz="11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15:clr>
            <a:srgbClr val="F26B43"/>
          </p15:clr>
        </p15:guide>
        <p15:guide id="4" pos="7488">
          <p15:clr>
            <a:srgbClr val="F26B43"/>
          </p15:clr>
        </p15:guide>
        <p15:guide id="7" pos="5184">
          <p15:clr>
            <a:srgbClr val="F26B43"/>
          </p15:clr>
        </p15:guide>
        <p15:guide id="8" pos="2496">
          <p15:clr>
            <a:srgbClr val="F26B43"/>
          </p15:clr>
        </p15:guide>
        <p15:guide id="9" pos="192">
          <p15:clr>
            <a:srgbClr val="F26B43"/>
          </p15:clr>
        </p15:guide>
        <p15:guide id="10" pos="2688">
          <p15:clr>
            <a:srgbClr val="F26B43"/>
          </p15:clr>
        </p15:guide>
        <p15:guide id="11" orient="horz" pos="4128">
          <p15:clr>
            <a:srgbClr val="F26B43"/>
          </p15:clr>
        </p15:guide>
        <p15:guide id="12" pos="3840">
          <p15:clr>
            <a:srgbClr val="F26B43"/>
          </p15:clr>
        </p15:guide>
        <p15:guide id="13" pos="4992">
          <p15:clr>
            <a:srgbClr val="F26B43"/>
          </p15:clr>
        </p15:guide>
        <p15:guide id="14" orient="horz" pos="432">
          <p15:clr>
            <a:srgbClr val="F26B43"/>
          </p15:clr>
        </p15:guide>
        <p15:guide id="15" orient="horz" pos="552">
          <p15:clr>
            <a:srgbClr val="F26B43"/>
          </p15:clr>
        </p15:guide>
        <p15:guide id="16" orient="horz" pos="792">
          <p15:clr>
            <a:srgbClr val="F26B43"/>
          </p15:clr>
        </p15:guide>
        <p15:guide id="17" orient="horz" pos="91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7" cstate="print"/>
          <a:stretch>
            <a:fillRect/>
          </a:stretch>
        </p:blipFill>
        <p:spPr>
          <a:xfrm>
            <a:off x="0" y="0"/>
            <a:ext cx="12192000" cy="6858000"/>
          </a:xfrm>
          <a:prstGeom prst="rect">
            <a:avLst/>
          </a:prstGeom>
        </p:spPr>
      </p:pic>
      <p:sp>
        <p:nvSpPr>
          <p:cNvPr id="17" name="bg object 17"/>
          <p:cNvSpPr/>
          <p:nvPr/>
        </p:nvSpPr>
        <p:spPr>
          <a:xfrm>
            <a:off x="10294620" y="0"/>
            <a:ext cx="1592580" cy="695325"/>
          </a:xfrm>
          <a:custGeom>
            <a:avLst/>
            <a:gdLst/>
            <a:ahLst/>
            <a:cxnLst/>
            <a:rect l="l" t="t" r="r" b="b"/>
            <a:pathLst>
              <a:path w="1592579" h="695325">
                <a:moveTo>
                  <a:pt x="1592579" y="0"/>
                </a:moveTo>
                <a:lnTo>
                  <a:pt x="0" y="0"/>
                </a:lnTo>
                <a:lnTo>
                  <a:pt x="0" y="694944"/>
                </a:lnTo>
                <a:lnTo>
                  <a:pt x="1592579" y="694944"/>
                </a:lnTo>
                <a:lnTo>
                  <a:pt x="1592579" y="0"/>
                </a:lnTo>
                <a:close/>
              </a:path>
            </a:pathLst>
          </a:custGeom>
          <a:solidFill>
            <a:srgbClr val="E61216"/>
          </a:solidFill>
        </p:spPr>
        <p:txBody>
          <a:bodyPr wrap="square" lIns="0" tIns="0" rIns="0" bIns="0" rtlCol="0"/>
          <a:lstStyle/>
          <a:p>
            <a:endParaRPr/>
          </a:p>
        </p:txBody>
      </p:sp>
      <p:sp>
        <p:nvSpPr>
          <p:cNvPr id="18" name="bg object 18"/>
          <p:cNvSpPr/>
          <p:nvPr/>
        </p:nvSpPr>
        <p:spPr>
          <a:xfrm>
            <a:off x="10499737" y="214566"/>
            <a:ext cx="1171575" cy="252729"/>
          </a:xfrm>
          <a:custGeom>
            <a:avLst/>
            <a:gdLst/>
            <a:ahLst/>
            <a:cxnLst/>
            <a:rect l="l" t="t" r="r" b="b"/>
            <a:pathLst>
              <a:path w="1171575" h="252729">
                <a:moveTo>
                  <a:pt x="99783" y="223189"/>
                </a:moveTo>
                <a:lnTo>
                  <a:pt x="54864" y="201472"/>
                </a:lnTo>
                <a:lnTo>
                  <a:pt x="50114" y="198437"/>
                </a:lnTo>
                <a:lnTo>
                  <a:pt x="50114" y="185407"/>
                </a:lnTo>
                <a:lnTo>
                  <a:pt x="57886" y="181495"/>
                </a:lnTo>
                <a:lnTo>
                  <a:pt x="76466" y="181495"/>
                </a:lnTo>
                <a:lnTo>
                  <a:pt x="84239" y="183235"/>
                </a:lnTo>
                <a:lnTo>
                  <a:pt x="91579" y="187579"/>
                </a:lnTo>
                <a:lnTo>
                  <a:pt x="95719" y="181495"/>
                </a:lnTo>
                <a:lnTo>
                  <a:pt x="67818" y="172389"/>
                </a:lnTo>
                <a:lnTo>
                  <a:pt x="55372" y="174015"/>
                </a:lnTo>
                <a:lnTo>
                  <a:pt x="45681" y="178574"/>
                </a:lnTo>
                <a:lnTo>
                  <a:pt x="39395" y="185572"/>
                </a:lnTo>
                <a:lnTo>
                  <a:pt x="37147" y="194525"/>
                </a:lnTo>
                <a:lnTo>
                  <a:pt x="38557" y="201066"/>
                </a:lnTo>
                <a:lnTo>
                  <a:pt x="81216" y="219710"/>
                </a:lnTo>
                <a:lnTo>
                  <a:pt x="85966" y="223621"/>
                </a:lnTo>
                <a:lnTo>
                  <a:pt x="85966" y="234480"/>
                </a:lnTo>
                <a:lnTo>
                  <a:pt x="83807" y="237515"/>
                </a:lnTo>
                <a:lnTo>
                  <a:pt x="79489" y="240118"/>
                </a:lnTo>
                <a:lnTo>
                  <a:pt x="75603" y="241858"/>
                </a:lnTo>
                <a:lnTo>
                  <a:pt x="71716" y="243154"/>
                </a:lnTo>
                <a:lnTo>
                  <a:pt x="65659" y="243154"/>
                </a:lnTo>
                <a:lnTo>
                  <a:pt x="58737" y="242747"/>
                </a:lnTo>
                <a:lnTo>
                  <a:pt x="52108" y="241528"/>
                </a:lnTo>
                <a:lnTo>
                  <a:pt x="45554" y="239496"/>
                </a:lnTo>
                <a:lnTo>
                  <a:pt x="38874" y="236639"/>
                </a:lnTo>
                <a:lnTo>
                  <a:pt x="34124" y="245325"/>
                </a:lnTo>
                <a:lnTo>
                  <a:pt x="41224" y="248246"/>
                </a:lnTo>
                <a:lnTo>
                  <a:pt x="48818" y="250431"/>
                </a:lnTo>
                <a:lnTo>
                  <a:pt x="56718" y="251802"/>
                </a:lnTo>
                <a:lnTo>
                  <a:pt x="64795" y="252285"/>
                </a:lnTo>
                <a:lnTo>
                  <a:pt x="73012" y="252285"/>
                </a:lnTo>
                <a:lnTo>
                  <a:pt x="80352" y="250977"/>
                </a:lnTo>
                <a:lnTo>
                  <a:pt x="85966" y="247942"/>
                </a:lnTo>
                <a:lnTo>
                  <a:pt x="94602" y="243598"/>
                </a:lnTo>
                <a:lnTo>
                  <a:pt x="94907" y="243154"/>
                </a:lnTo>
                <a:lnTo>
                  <a:pt x="99783" y="236207"/>
                </a:lnTo>
                <a:lnTo>
                  <a:pt x="99783" y="223189"/>
                </a:lnTo>
                <a:close/>
              </a:path>
              <a:path w="1171575" h="252729">
                <a:moveTo>
                  <a:pt x="112318" y="0"/>
                </a:moveTo>
                <a:lnTo>
                  <a:pt x="0" y="0"/>
                </a:lnTo>
                <a:lnTo>
                  <a:pt x="0" y="25184"/>
                </a:lnTo>
                <a:lnTo>
                  <a:pt x="38442" y="25184"/>
                </a:lnTo>
                <a:lnTo>
                  <a:pt x="38442" y="134607"/>
                </a:lnTo>
                <a:lnTo>
                  <a:pt x="73444" y="134607"/>
                </a:lnTo>
                <a:lnTo>
                  <a:pt x="73444" y="25184"/>
                </a:lnTo>
                <a:lnTo>
                  <a:pt x="112318" y="25184"/>
                </a:lnTo>
                <a:lnTo>
                  <a:pt x="112318" y="0"/>
                </a:lnTo>
                <a:close/>
              </a:path>
              <a:path w="1171575" h="252729">
                <a:moveTo>
                  <a:pt x="214261" y="134607"/>
                </a:moveTo>
                <a:lnTo>
                  <a:pt x="213398" y="125920"/>
                </a:lnTo>
                <a:lnTo>
                  <a:pt x="212966" y="119418"/>
                </a:lnTo>
                <a:lnTo>
                  <a:pt x="212966" y="69037"/>
                </a:lnTo>
                <a:lnTo>
                  <a:pt x="211074" y="59055"/>
                </a:lnTo>
                <a:lnTo>
                  <a:pt x="181000" y="38214"/>
                </a:lnTo>
                <a:lnTo>
                  <a:pt x="175387" y="38214"/>
                </a:lnTo>
                <a:lnTo>
                  <a:pt x="169773" y="39077"/>
                </a:lnTo>
                <a:lnTo>
                  <a:pt x="161137" y="43421"/>
                </a:lnTo>
                <a:lnTo>
                  <a:pt x="156806" y="46469"/>
                </a:lnTo>
                <a:lnTo>
                  <a:pt x="153352" y="50800"/>
                </a:lnTo>
                <a:lnTo>
                  <a:pt x="153352" y="0"/>
                </a:lnTo>
                <a:lnTo>
                  <a:pt x="120523" y="0"/>
                </a:lnTo>
                <a:lnTo>
                  <a:pt x="120523" y="134607"/>
                </a:lnTo>
                <a:lnTo>
                  <a:pt x="153352" y="134607"/>
                </a:lnTo>
                <a:lnTo>
                  <a:pt x="153352" y="75120"/>
                </a:lnTo>
                <a:lnTo>
                  <a:pt x="152057" y="59055"/>
                </a:lnTo>
                <a:lnTo>
                  <a:pt x="177546" y="59055"/>
                </a:lnTo>
                <a:lnTo>
                  <a:pt x="179705" y="68173"/>
                </a:lnTo>
                <a:lnTo>
                  <a:pt x="179705" y="134607"/>
                </a:lnTo>
                <a:lnTo>
                  <a:pt x="214261" y="134607"/>
                </a:lnTo>
                <a:close/>
              </a:path>
              <a:path w="1171575" h="252729">
                <a:moveTo>
                  <a:pt x="235864" y="244894"/>
                </a:moveTo>
                <a:lnTo>
                  <a:pt x="234543" y="243154"/>
                </a:lnTo>
                <a:lnTo>
                  <a:pt x="230251" y="237515"/>
                </a:lnTo>
                <a:lnTo>
                  <a:pt x="224637" y="240550"/>
                </a:lnTo>
                <a:lnTo>
                  <a:pt x="217716" y="243154"/>
                </a:lnTo>
                <a:lnTo>
                  <a:pt x="202171" y="243154"/>
                </a:lnTo>
                <a:lnTo>
                  <a:pt x="193103" y="241427"/>
                </a:lnTo>
                <a:lnTo>
                  <a:pt x="181864" y="230136"/>
                </a:lnTo>
                <a:lnTo>
                  <a:pt x="178409" y="224053"/>
                </a:lnTo>
                <a:lnTo>
                  <a:pt x="178409" y="203644"/>
                </a:lnTo>
                <a:lnTo>
                  <a:pt x="210375" y="181940"/>
                </a:lnTo>
                <a:lnTo>
                  <a:pt x="216420" y="181940"/>
                </a:lnTo>
                <a:lnTo>
                  <a:pt x="222478" y="183680"/>
                </a:lnTo>
                <a:lnTo>
                  <a:pt x="227660" y="186715"/>
                </a:lnTo>
                <a:lnTo>
                  <a:pt x="231851" y="181940"/>
                </a:lnTo>
                <a:lnTo>
                  <a:pt x="234137" y="179324"/>
                </a:lnTo>
                <a:lnTo>
                  <a:pt x="228092" y="175425"/>
                </a:lnTo>
                <a:lnTo>
                  <a:pt x="218579" y="172821"/>
                </a:lnTo>
                <a:lnTo>
                  <a:pt x="209943" y="172821"/>
                </a:lnTo>
                <a:lnTo>
                  <a:pt x="192900" y="175590"/>
                </a:lnTo>
                <a:lnTo>
                  <a:pt x="178574" y="183565"/>
                </a:lnTo>
                <a:lnTo>
                  <a:pt x="168694" y="196265"/>
                </a:lnTo>
                <a:lnTo>
                  <a:pt x="165023" y="213194"/>
                </a:lnTo>
                <a:lnTo>
                  <a:pt x="168389" y="229679"/>
                </a:lnTo>
                <a:lnTo>
                  <a:pt x="177711" y="241808"/>
                </a:lnTo>
                <a:lnTo>
                  <a:pt x="191808" y="249288"/>
                </a:lnTo>
                <a:lnTo>
                  <a:pt x="209511" y="251841"/>
                </a:lnTo>
                <a:lnTo>
                  <a:pt x="216966" y="251307"/>
                </a:lnTo>
                <a:lnTo>
                  <a:pt x="224142" y="249834"/>
                </a:lnTo>
                <a:lnTo>
                  <a:pt x="230593" y="247637"/>
                </a:lnTo>
                <a:lnTo>
                  <a:pt x="235864" y="244894"/>
                </a:lnTo>
                <a:close/>
              </a:path>
              <a:path w="1171575" h="252729">
                <a:moveTo>
                  <a:pt x="314921" y="174117"/>
                </a:moveTo>
                <a:lnTo>
                  <a:pt x="302818" y="174117"/>
                </a:lnTo>
                <a:lnTo>
                  <a:pt x="302818" y="250545"/>
                </a:lnTo>
                <a:lnTo>
                  <a:pt x="314921" y="250545"/>
                </a:lnTo>
                <a:lnTo>
                  <a:pt x="314921" y="174117"/>
                </a:lnTo>
                <a:close/>
              </a:path>
              <a:path w="1171575" h="252729">
                <a:moveTo>
                  <a:pt x="315353" y="94221"/>
                </a:moveTo>
                <a:lnTo>
                  <a:pt x="313702" y="76428"/>
                </a:lnTo>
                <a:lnTo>
                  <a:pt x="313220" y="71183"/>
                </a:lnTo>
                <a:lnTo>
                  <a:pt x="306616" y="55587"/>
                </a:lnTo>
                <a:lnTo>
                  <a:pt x="305739" y="53517"/>
                </a:lnTo>
                <a:lnTo>
                  <a:pt x="291287" y="42202"/>
                </a:lnTo>
                <a:lnTo>
                  <a:pt x="283819" y="40919"/>
                </a:lnTo>
                <a:lnTo>
                  <a:pt x="283819" y="76428"/>
                </a:lnTo>
                <a:lnTo>
                  <a:pt x="253149" y="76428"/>
                </a:lnTo>
                <a:lnTo>
                  <a:pt x="254165" y="69075"/>
                </a:lnTo>
                <a:lnTo>
                  <a:pt x="256489" y="62585"/>
                </a:lnTo>
                <a:lnTo>
                  <a:pt x="260921" y="57797"/>
                </a:lnTo>
                <a:lnTo>
                  <a:pt x="268262" y="55587"/>
                </a:lnTo>
                <a:lnTo>
                  <a:pt x="273875" y="55587"/>
                </a:lnTo>
                <a:lnTo>
                  <a:pt x="277761" y="58191"/>
                </a:lnTo>
                <a:lnTo>
                  <a:pt x="279920" y="62090"/>
                </a:lnTo>
                <a:lnTo>
                  <a:pt x="282511" y="66001"/>
                </a:lnTo>
                <a:lnTo>
                  <a:pt x="283806" y="71183"/>
                </a:lnTo>
                <a:lnTo>
                  <a:pt x="283819" y="76428"/>
                </a:lnTo>
                <a:lnTo>
                  <a:pt x="283819" y="40919"/>
                </a:lnTo>
                <a:lnTo>
                  <a:pt x="233324" y="50914"/>
                </a:lnTo>
                <a:lnTo>
                  <a:pt x="220738" y="85102"/>
                </a:lnTo>
                <a:lnTo>
                  <a:pt x="223266" y="108089"/>
                </a:lnTo>
                <a:lnTo>
                  <a:pt x="231546" y="124345"/>
                </a:lnTo>
                <a:lnTo>
                  <a:pt x="246621" y="134010"/>
                </a:lnTo>
                <a:lnTo>
                  <a:pt x="269557" y="137210"/>
                </a:lnTo>
                <a:lnTo>
                  <a:pt x="277977" y="136728"/>
                </a:lnTo>
                <a:lnTo>
                  <a:pt x="312788" y="111988"/>
                </a:lnTo>
                <a:lnTo>
                  <a:pt x="314490" y="103771"/>
                </a:lnTo>
                <a:lnTo>
                  <a:pt x="283387" y="103771"/>
                </a:lnTo>
                <a:lnTo>
                  <a:pt x="282511" y="112458"/>
                </a:lnTo>
                <a:lnTo>
                  <a:pt x="277329" y="118110"/>
                </a:lnTo>
                <a:lnTo>
                  <a:pt x="267398" y="118110"/>
                </a:lnTo>
                <a:lnTo>
                  <a:pt x="259753" y="116027"/>
                </a:lnTo>
                <a:lnTo>
                  <a:pt x="255143" y="110566"/>
                </a:lnTo>
                <a:lnTo>
                  <a:pt x="252882" y="102895"/>
                </a:lnTo>
                <a:lnTo>
                  <a:pt x="252285" y="94221"/>
                </a:lnTo>
                <a:lnTo>
                  <a:pt x="315353" y="94221"/>
                </a:lnTo>
                <a:close/>
              </a:path>
              <a:path w="1171575" h="252729">
                <a:moveTo>
                  <a:pt x="385762" y="39941"/>
                </a:moveTo>
                <a:lnTo>
                  <a:pt x="375767" y="40855"/>
                </a:lnTo>
                <a:lnTo>
                  <a:pt x="367347" y="43967"/>
                </a:lnTo>
                <a:lnTo>
                  <a:pt x="360794" y="49847"/>
                </a:lnTo>
                <a:lnTo>
                  <a:pt x="356387" y="59055"/>
                </a:lnTo>
                <a:lnTo>
                  <a:pt x="355523" y="40817"/>
                </a:lnTo>
                <a:lnTo>
                  <a:pt x="322694" y="40817"/>
                </a:lnTo>
                <a:lnTo>
                  <a:pt x="323126" y="48628"/>
                </a:lnTo>
                <a:lnTo>
                  <a:pt x="323126" y="134607"/>
                </a:lnTo>
                <a:lnTo>
                  <a:pt x="356387" y="134607"/>
                </a:lnTo>
                <a:lnTo>
                  <a:pt x="356387" y="93789"/>
                </a:lnTo>
                <a:lnTo>
                  <a:pt x="357339" y="83261"/>
                </a:lnTo>
                <a:lnTo>
                  <a:pt x="360819" y="75285"/>
                </a:lnTo>
                <a:lnTo>
                  <a:pt x="367690" y="70167"/>
                </a:lnTo>
                <a:lnTo>
                  <a:pt x="378853" y="68173"/>
                </a:lnTo>
                <a:lnTo>
                  <a:pt x="383603" y="68173"/>
                </a:lnTo>
                <a:lnTo>
                  <a:pt x="385762" y="68605"/>
                </a:lnTo>
                <a:lnTo>
                  <a:pt x="385762" y="68173"/>
                </a:lnTo>
                <a:lnTo>
                  <a:pt x="385762" y="59055"/>
                </a:lnTo>
                <a:lnTo>
                  <a:pt x="385762" y="39941"/>
                </a:lnTo>
                <a:close/>
              </a:path>
              <a:path w="1171575" h="252729">
                <a:moveTo>
                  <a:pt x="450989" y="240995"/>
                </a:moveTo>
                <a:lnTo>
                  <a:pt x="405625" y="240995"/>
                </a:lnTo>
                <a:lnTo>
                  <a:pt x="405625" y="215379"/>
                </a:lnTo>
                <a:lnTo>
                  <a:pt x="441490" y="215379"/>
                </a:lnTo>
                <a:lnTo>
                  <a:pt x="441490" y="206260"/>
                </a:lnTo>
                <a:lnTo>
                  <a:pt x="405625" y="206260"/>
                </a:lnTo>
                <a:lnTo>
                  <a:pt x="405625" y="183235"/>
                </a:lnTo>
                <a:lnTo>
                  <a:pt x="447967" y="183235"/>
                </a:lnTo>
                <a:lnTo>
                  <a:pt x="449262" y="174117"/>
                </a:lnTo>
                <a:lnTo>
                  <a:pt x="393534" y="174117"/>
                </a:lnTo>
                <a:lnTo>
                  <a:pt x="393534" y="250545"/>
                </a:lnTo>
                <a:lnTo>
                  <a:pt x="450989" y="250545"/>
                </a:lnTo>
                <a:lnTo>
                  <a:pt x="450989" y="240995"/>
                </a:lnTo>
                <a:close/>
              </a:path>
              <a:path w="1171575" h="252729">
                <a:moveTo>
                  <a:pt x="546887" y="134607"/>
                </a:moveTo>
                <a:lnTo>
                  <a:pt x="546023" y="125920"/>
                </a:lnTo>
                <a:lnTo>
                  <a:pt x="545160" y="118973"/>
                </a:lnTo>
                <a:lnTo>
                  <a:pt x="545160" y="69037"/>
                </a:lnTo>
                <a:lnTo>
                  <a:pt x="513194" y="38214"/>
                </a:lnTo>
                <a:lnTo>
                  <a:pt x="503783" y="39509"/>
                </a:lnTo>
                <a:lnTo>
                  <a:pt x="495261" y="42773"/>
                </a:lnTo>
                <a:lnTo>
                  <a:pt x="488022" y="47980"/>
                </a:lnTo>
                <a:lnTo>
                  <a:pt x="482498" y="55143"/>
                </a:lnTo>
                <a:lnTo>
                  <a:pt x="478282" y="48056"/>
                </a:lnTo>
                <a:lnTo>
                  <a:pt x="471944" y="43040"/>
                </a:lnTo>
                <a:lnTo>
                  <a:pt x="464299" y="40068"/>
                </a:lnTo>
                <a:lnTo>
                  <a:pt x="456171" y="39077"/>
                </a:lnTo>
                <a:lnTo>
                  <a:pt x="446887" y="39878"/>
                </a:lnTo>
                <a:lnTo>
                  <a:pt x="438619" y="42557"/>
                </a:lnTo>
                <a:lnTo>
                  <a:pt x="431571" y="47510"/>
                </a:lnTo>
                <a:lnTo>
                  <a:pt x="425932" y="55143"/>
                </a:lnTo>
                <a:lnTo>
                  <a:pt x="425500" y="40817"/>
                </a:lnTo>
                <a:lnTo>
                  <a:pt x="393534" y="40817"/>
                </a:lnTo>
                <a:lnTo>
                  <a:pt x="393534" y="134607"/>
                </a:lnTo>
                <a:lnTo>
                  <a:pt x="426364" y="134607"/>
                </a:lnTo>
                <a:lnTo>
                  <a:pt x="426364" y="75120"/>
                </a:lnTo>
                <a:lnTo>
                  <a:pt x="425069" y="59055"/>
                </a:lnTo>
                <a:lnTo>
                  <a:pt x="450557" y="59055"/>
                </a:lnTo>
                <a:lnTo>
                  <a:pt x="453148" y="68173"/>
                </a:lnTo>
                <a:lnTo>
                  <a:pt x="453148" y="134607"/>
                </a:lnTo>
                <a:lnTo>
                  <a:pt x="485952" y="134607"/>
                </a:lnTo>
                <a:lnTo>
                  <a:pt x="485952" y="75120"/>
                </a:lnTo>
                <a:lnTo>
                  <a:pt x="484695" y="59055"/>
                </a:lnTo>
                <a:lnTo>
                  <a:pt x="510146" y="59055"/>
                </a:lnTo>
                <a:lnTo>
                  <a:pt x="512330" y="68173"/>
                </a:lnTo>
                <a:lnTo>
                  <a:pt x="512330" y="134607"/>
                </a:lnTo>
                <a:lnTo>
                  <a:pt x="546887" y="134607"/>
                </a:lnTo>
                <a:close/>
              </a:path>
              <a:path w="1171575" h="252729">
                <a:moveTo>
                  <a:pt x="585749" y="174117"/>
                </a:moveTo>
                <a:lnTo>
                  <a:pt x="573659" y="174117"/>
                </a:lnTo>
                <a:lnTo>
                  <a:pt x="574001" y="203149"/>
                </a:lnTo>
                <a:lnTo>
                  <a:pt x="574116" y="222745"/>
                </a:lnTo>
                <a:lnTo>
                  <a:pt x="575856" y="236639"/>
                </a:lnTo>
                <a:lnTo>
                  <a:pt x="567613" y="224053"/>
                </a:lnTo>
                <a:lnTo>
                  <a:pt x="561568" y="215811"/>
                </a:lnTo>
                <a:lnTo>
                  <a:pt x="541096" y="187579"/>
                </a:lnTo>
                <a:lnTo>
                  <a:pt x="531329" y="174117"/>
                </a:lnTo>
                <a:lnTo>
                  <a:pt x="516648" y="174117"/>
                </a:lnTo>
                <a:lnTo>
                  <a:pt x="516648" y="250545"/>
                </a:lnTo>
                <a:lnTo>
                  <a:pt x="528739" y="250545"/>
                </a:lnTo>
                <a:lnTo>
                  <a:pt x="528675" y="209727"/>
                </a:lnTo>
                <a:lnTo>
                  <a:pt x="528345" y="200177"/>
                </a:lnTo>
                <a:lnTo>
                  <a:pt x="527481" y="187579"/>
                </a:lnTo>
                <a:lnTo>
                  <a:pt x="529043" y="190004"/>
                </a:lnTo>
                <a:lnTo>
                  <a:pt x="532930" y="195884"/>
                </a:lnTo>
                <a:lnTo>
                  <a:pt x="537845" y="203149"/>
                </a:lnTo>
                <a:lnTo>
                  <a:pt x="542569" y="209727"/>
                </a:lnTo>
                <a:lnTo>
                  <a:pt x="572795" y="250545"/>
                </a:lnTo>
                <a:lnTo>
                  <a:pt x="585749" y="250545"/>
                </a:lnTo>
                <a:lnTo>
                  <a:pt x="585749" y="236639"/>
                </a:lnTo>
                <a:lnTo>
                  <a:pt x="585749" y="174117"/>
                </a:lnTo>
                <a:close/>
              </a:path>
              <a:path w="1171575" h="252729">
                <a:moveTo>
                  <a:pt x="653999" y="87718"/>
                </a:moveTo>
                <a:lnTo>
                  <a:pt x="640283" y="50749"/>
                </a:lnTo>
                <a:lnTo>
                  <a:pt x="620306" y="40728"/>
                </a:lnTo>
                <a:lnTo>
                  <a:pt x="620306" y="87274"/>
                </a:lnTo>
                <a:lnTo>
                  <a:pt x="619633" y="99174"/>
                </a:lnTo>
                <a:lnTo>
                  <a:pt x="617131" y="108826"/>
                </a:lnTo>
                <a:lnTo>
                  <a:pt x="612114" y="115303"/>
                </a:lnTo>
                <a:lnTo>
                  <a:pt x="603897" y="117665"/>
                </a:lnTo>
                <a:lnTo>
                  <a:pt x="595439" y="115303"/>
                </a:lnTo>
                <a:lnTo>
                  <a:pt x="590308" y="108826"/>
                </a:lnTo>
                <a:lnTo>
                  <a:pt x="587768" y="99174"/>
                </a:lnTo>
                <a:lnTo>
                  <a:pt x="587082" y="87274"/>
                </a:lnTo>
                <a:lnTo>
                  <a:pt x="587705" y="76441"/>
                </a:lnTo>
                <a:lnTo>
                  <a:pt x="590156" y="66979"/>
                </a:lnTo>
                <a:lnTo>
                  <a:pt x="595261" y="60286"/>
                </a:lnTo>
                <a:lnTo>
                  <a:pt x="603897" y="57746"/>
                </a:lnTo>
                <a:lnTo>
                  <a:pt x="603897" y="58191"/>
                </a:lnTo>
                <a:lnTo>
                  <a:pt x="612292" y="60655"/>
                </a:lnTo>
                <a:lnTo>
                  <a:pt x="617283" y="67195"/>
                </a:lnTo>
                <a:lnTo>
                  <a:pt x="619683" y="76504"/>
                </a:lnTo>
                <a:lnTo>
                  <a:pt x="620306" y="87274"/>
                </a:lnTo>
                <a:lnTo>
                  <a:pt x="620306" y="40728"/>
                </a:lnTo>
                <a:lnTo>
                  <a:pt x="567156" y="50749"/>
                </a:lnTo>
                <a:lnTo>
                  <a:pt x="553389" y="87718"/>
                </a:lnTo>
                <a:lnTo>
                  <a:pt x="556971" y="109372"/>
                </a:lnTo>
                <a:lnTo>
                  <a:pt x="567156" y="124841"/>
                </a:lnTo>
                <a:lnTo>
                  <a:pt x="583082" y="134112"/>
                </a:lnTo>
                <a:lnTo>
                  <a:pt x="603897" y="137210"/>
                </a:lnTo>
                <a:lnTo>
                  <a:pt x="624471" y="134112"/>
                </a:lnTo>
                <a:lnTo>
                  <a:pt x="640283" y="124841"/>
                </a:lnTo>
                <a:lnTo>
                  <a:pt x="644982" y="117665"/>
                </a:lnTo>
                <a:lnTo>
                  <a:pt x="650417" y="109372"/>
                </a:lnTo>
                <a:lnTo>
                  <a:pt x="653999" y="87718"/>
                </a:lnTo>
                <a:close/>
              </a:path>
              <a:path w="1171575" h="252729">
                <a:moveTo>
                  <a:pt x="718832" y="174117"/>
                </a:moveTo>
                <a:lnTo>
                  <a:pt x="649274" y="174117"/>
                </a:lnTo>
                <a:lnTo>
                  <a:pt x="649274" y="183235"/>
                </a:lnTo>
                <a:lnTo>
                  <a:pt x="677379" y="183235"/>
                </a:lnTo>
                <a:lnTo>
                  <a:pt x="677379" y="250545"/>
                </a:lnTo>
                <a:lnTo>
                  <a:pt x="689013" y="250545"/>
                </a:lnTo>
                <a:lnTo>
                  <a:pt x="689013" y="183235"/>
                </a:lnTo>
                <a:lnTo>
                  <a:pt x="717511" y="183235"/>
                </a:lnTo>
                <a:lnTo>
                  <a:pt x="718832" y="174117"/>
                </a:lnTo>
                <a:close/>
              </a:path>
              <a:path w="1171575" h="252729">
                <a:moveTo>
                  <a:pt x="768070" y="0"/>
                </a:moveTo>
                <a:lnTo>
                  <a:pt x="679500" y="0"/>
                </a:lnTo>
                <a:lnTo>
                  <a:pt x="679500" y="134607"/>
                </a:lnTo>
                <a:lnTo>
                  <a:pt x="714057" y="134607"/>
                </a:lnTo>
                <a:lnTo>
                  <a:pt x="714057" y="81635"/>
                </a:lnTo>
                <a:lnTo>
                  <a:pt x="742569" y="81635"/>
                </a:lnTo>
                <a:lnTo>
                  <a:pt x="750341" y="56883"/>
                </a:lnTo>
                <a:lnTo>
                  <a:pt x="714057" y="56883"/>
                </a:lnTo>
                <a:lnTo>
                  <a:pt x="714057" y="24752"/>
                </a:lnTo>
                <a:lnTo>
                  <a:pt x="760298" y="24752"/>
                </a:lnTo>
                <a:lnTo>
                  <a:pt x="768070" y="0"/>
                </a:lnTo>
                <a:close/>
              </a:path>
              <a:path w="1171575" h="252729">
                <a:moveTo>
                  <a:pt x="793127" y="174117"/>
                </a:moveTo>
                <a:lnTo>
                  <a:pt x="781037" y="174117"/>
                </a:lnTo>
                <a:lnTo>
                  <a:pt x="781037" y="250545"/>
                </a:lnTo>
                <a:lnTo>
                  <a:pt x="793127" y="250545"/>
                </a:lnTo>
                <a:lnTo>
                  <a:pt x="793127" y="174117"/>
                </a:lnTo>
                <a:close/>
              </a:path>
              <a:path w="1171575" h="252729">
                <a:moveTo>
                  <a:pt x="803490" y="40817"/>
                </a:moveTo>
                <a:lnTo>
                  <a:pt x="770661" y="40817"/>
                </a:lnTo>
                <a:lnTo>
                  <a:pt x="770661" y="134607"/>
                </a:lnTo>
                <a:lnTo>
                  <a:pt x="803490" y="134607"/>
                </a:lnTo>
                <a:lnTo>
                  <a:pt x="803490" y="40817"/>
                </a:lnTo>
                <a:close/>
              </a:path>
              <a:path w="1171575" h="252729">
                <a:moveTo>
                  <a:pt x="811669" y="0"/>
                </a:moveTo>
                <a:lnTo>
                  <a:pt x="778840" y="0"/>
                </a:lnTo>
                <a:lnTo>
                  <a:pt x="771067" y="24752"/>
                </a:lnTo>
                <a:lnTo>
                  <a:pt x="803490" y="24752"/>
                </a:lnTo>
                <a:lnTo>
                  <a:pt x="811669" y="0"/>
                </a:lnTo>
                <a:close/>
              </a:path>
              <a:path w="1171575" h="252729">
                <a:moveTo>
                  <a:pt x="897242" y="106819"/>
                </a:moveTo>
                <a:lnTo>
                  <a:pt x="865251" y="77000"/>
                </a:lnTo>
                <a:lnTo>
                  <a:pt x="854151" y="73977"/>
                </a:lnTo>
                <a:lnTo>
                  <a:pt x="846772" y="70878"/>
                </a:lnTo>
                <a:lnTo>
                  <a:pt x="844092" y="66433"/>
                </a:lnTo>
                <a:lnTo>
                  <a:pt x="844092" y="60794"/>
                </a:lnTo>
                <a:lnTo>
                  <a:pt x="847547" y="57746"/>
                </a:lnTo>
                <a:lnTo>
                  <a:pt x="857046" y="57746"/>
                </a:lnTo>
                <a:lnTo>
                  <a:pt x="859637" y="58623"/>
                </a:lnTo>
                <a:lnTo>
                  <a:pt x="861822" y="60350"/>
                </a:lnTo>
                <a:lnTo>
                  <a:pt x="863549" y="62522"/>
                </a:lnTo>
                <a:lnTo>
                  <a:pt x="863955" y="65570"/>
                </a:lnTo>
                <a:lnTo>
                  <a:pt x="863955" y="69481"/>
                </a:lnTo>
                <a:lnTo>
                  <a:pt x="895515" y="69481"/>
                </a:lnTo>
                <a:lnTo>
                  <a:pt x="869327" y="39611"/>
                </a:lnTo>
                <a:lnTo>
                  <a:pt x="854049" y="38214"/>
                </a:lnTo>
                <a:lnTo>
                  <a:pt x="840155" y="39585"/>
                </a:lnTo>
                <a:lnTo>
                  <a:pt x="826871" y="44297"/>
                </a:lnTo>
                <a:lnTo>
                  <a:pt x="816914" y="53238"/>
                </a:lnTo>
                <a:lnTo>
                  <a:pt x="812990" y="67310"/>
                </a:lnTo>
                <a:lnTo>
                  <a:pt x="821220" y="85293"/>
                </a:lnTo>
                <a:lnTo>
                  <a:pt x="839343" y="94005"/>
                </a:lnTo>
                <a:lnTo>
                  <a:pt x="857453" y="99783"/>
                </a:lnTo>
                <a:lnTo>
                  <a:pt x="865682" y="108991"/>
                </a:lnTo>
                <a:lnTo>
                  <a:pt x="865682" y="115062"/>
                </a:lnTo>
                <a:lnTo>
                  <a:pt x="860958" y="118110"/>
                </a:lnTo>
                <a:lnTo>
                  <a:pt x="850595" y="118110"/>
                </a:lnTo>
                <a:lnTo>
                  <a:pt x="847547" y="115938"/>
                </a:lnTo>
                <a:lnTo>
                  <a:pt x="845820" y="113334"/>
                </a:lnTo>
                <a:lnTo>
                  <a:pt x="843686" y="111163"/>
                </a:lnTo>
                <a:lnTo>
                  <a:pt x="843229" y="107683"/>
                </a:lnTo>
                <a:lnTo>
                  <a:pt x="843686" y="104216"/>
                </a:lnTo>
                <a:lnTo>
                  <a:pt x="812126" y="104216"/>
                </a:lnTo>
                <a:lnTo>
                  <a:pt x="815403" y="121272"/>
                </a:lnTo>
                <a:lnTo>
                  <a:pt x="824750" y="131292"/>
                </a:lnTo>
                <a:lnTo>
                  <a:pt x="838492" y="136029"/>
                </a:lnTo>
                <a:lnTo>
                  <a:pt x="854913" y="137210"/>
                </a:lnTo>
                <a:lnTo>
                  <a:pt x="870635" y="135636"/>
                </a:lnTo>
                <a:lnTo>
                  <a:pt x="884174" y="130479"/>
                </a:lnTo>
                <a:lnTo>
                  <a:pt x="893660" y="121094"/>
                </a:lnTo>
                <a:lnTo>
                  <a:pt x="894410" y="118110"/>
                </a:lnTo>
                <a:lnTo>
                  <a:pt x="897242" y="106819"/>
                </a:lnTo>
                <a:close/>
              </a:path>
              <a:path w="1171575" h="252729">
                <a:moveTo>
                  <a:pt x="927011" y="174117"/>
                </a:moveTo>
                <a:lnTo>
                  <a:pt x="871334" y="174117"/>
                </a:lnTo>
                <a:lnTo>
                  <a:pt x="871334" y="250545"/>
                </a:lnTo>
                <a:lnTo>
                  <a:pt x="883424" y="250545"/>
                </a:lnTo>
                <a:lnTo>
                  <a:pt x="883424" y="214934"/>
                </a:lnTo>
                <a:lnTo>
                  <a:pt x="918832" y="214934"/>
                </a:lnTo>
                <a:lnTo>
                  <a:pt x="918832" y="205816"/>
                </a:lnTo>
                <a:lnTo>
                  <a:pt x="883424" y="205816"/>
                </a:lnTo>
                <a:lnTo>
                  <a:pt x="883424" y="183235"/>
                </a:lnTo>
                <a:lnTo>
                  <a:pt x="925283" y="183235"/>
                </a:lnTo>
                <a:lnTo>
                  <a:pt x="927011" y="174117"/>
                </a:lnTo>
                <a:close/>
              </a:path>
              <a:path w="1171575" h="252729">
                <a:moveTo>
                  <a:pt x="999172" y="134607"/>
                </a:moveTo>
                <a:lnTo>
                  <a:pt x="998308" y="125920"/>
                </a:lnTo>
                <a:lnTo>
                  <a:pt x="997902" y="119418"/>
                </a:lnTo>
                <a:lnTo>
                  <a:pt x="997902" y="69037"/>
                </a:lnTo>
                <a:lnTo>
                  <a:pt x="996010" y="59055"/>
                </a:lnTo>
                <a:lnTo>
                  <a:pt x="995464" y="56159"/>
                </a:lnTo>
                <a:lnTo>
                  <a:pt x="991730" y="50800"/>
                </a:lnTo>
                <a:lnTo>
                  <a:pt x="988720" y="46456"/>
                </a:lnTo>
                <a:lnTo>
                  <a:pt x="978560" y="40347"/>
                </a:lnTo>
                <a:lnTo>
                  <a:pt x="965885" y="38214"/>
                </a:lnTo>
                <a:lnTo>
                  <a:pt x="960297" y="38214"/>
                </a:lnTo>
                <a:lnTo>
                  <a:pt x="938250" y="50800"/>
                </a:lnTo>
                <a:lnTo>
                  <a:pt x="938250" y="0"/>
                </a:lnTo>
                <a:lnTo>
                  <a:pt x="905421" y="0"/>
                </a:lnTo>
                <a:lnTo>
                  <a:pt x="905421" y="134607"/>
                </a:lnTo>
                <a:lnTo>
                  <a:pt x="938250" y="134607"/>
                </a:lnTo>
                <a:lnTo>
                  <a:pt x="938250" y="75120"/>
                </a:lnTo>
                <a:lnTo>
                  <a:pt x="936980" y="59055"/>
                </a:lnTo>
                <a:lnTo>
                  <a:pt x="962431" y="59055"/>
                </a:lnTo>
                <a:lnTo>
                  <a:pt x="964615" y="68173"/>
                </a:lnTo>
                <a:lnTo>
                  <a:pt x="964615" y="134607"/>
                </a:lnTo>
                <a:lnTo>
                  <a:pt x="999172" y="134607"/>
                </a:lnTo>
                <a:close/>
              </a:path>
              <a:path w="1171575" h="252729">
                <a:moveTo>
                  <a:pt x="1003490" y="174117"/>
                </a:moveTo>
                <a:lnTo>
                  <a:pt x="991400" y="174117"/>
                </a:lnTo>
                <a:lnTo>
                  <a:pt x="991400" y="250545"/>
                </a:lnTo>
                <a:lnTo>
                  <a:pt x="1003490" y="250545"/>
                </a:lnTo>
                <a:lnTo>
                  <a:pt x="1003490" y="174117"/>
                </a:lnTo>
                <a:close/>
              </a:path>
              <a:path w="1171575" h="252729">
                <a:moveTo>
                  <a:pt x="1100239" y="94221"/>
                </a:moveTo>
                <a:lnTo>
                  <a:pt x="1098740" y="76428"/>
                </a:lnTo>
                <a:lnTo>
                  <a:pt x="1098308" y="71183"/>
                </a:lnTo>
                <a:lnTo>
                  <a:pt x="1091692" y="55587"/>
                </a:lnTo>
                <a:lnTo>
                  <a:pt x="1090815" y="53517"/>
                </a:lnTo>
                <a:lnTo>
                  <a:pt x="1076274" y="42202"/>
                </a:lnTo>
                <a:lnTo>
                  <a:pt x="1068743" y="40906"/>
                </a:lnTo>
                <a:lnTo>
                  <a:pt x="1068743" y="76428"/>
                </a:lnTo>
                <a:lnTo>
                  <a:pt x="1038047" y="76428"/>
                </a:lnTo>
                <a:lnTo>
                  <a:pt x="1039075" y="69075"/>
                </a:lnTo>
                <a:lnTo>
                  <a:pt x="1041400" y="62585"/>
                </a:lnTo>
                <a:lnTo>
                  <a:pt x="1045845" y="57797"/>
                </a:lnTo>
                <a:lnTo>
                  <a:pt x="1053185" y="55587"/>
                </a:lnTo>
                <a:lnTo>
                  <a:pt x="1058773" y="55587"/>
                </a:lnTo>
                <a:lnTo>
                  <a:pt x="1062685" y="58191"/>
                </a:lnTo>
                <a:lnTo>
                  <a:pt x="1064818" y="62090"/>
                </a:lnTo>
                <a:lnTo>
                  <a:pt x="1067409" y="66001"/>
                </a:lnTo>
                <a:lnTo>
                  <a:pt x="1068730" y="71183"/>
                </a:lnTo>
                <a:lnTo>
                  <a:pt x="1068743" y="76428"/>
                </a:lnTo>
                <a:lnTo>
                  <a:pt x="1068743" y="40906"/>
                </a:lnTo>
                <a:lnTo>
                  <a:pt x="1018616" y="50914"/>
                </a:lnTo>
                <a:lnTo>
                  <a:pt x="1006081" y="85102"/>
                </a:lnTo>
                <a:lnTo>
                  <a:pt x="1008608" y="108089"/>
                </a:lnTo>
                <a:lnTo>
                  <a:pt x="1016889" y="124345"/>
                </a:lnTo>
                <a:lnTo>
                  <a:pt x="1031976" y="134010"/>
                </a:lnTo>
                <a:lnTo>
                  <a:pt x="1054912" y="137210"/>
                </a:lnTo>
                <a:lnTo>
                  <a:pt x="1063078" y="136728"/>
                </a:lnTo>
                <a:lnTo>
                  <a:pt x="1097737" y="111988"/>
                </a:lnTo>
                <a:lnTo>
                  <a:pt x="1099375" y="103771"/>
                </a:lnTo>
                <a:lnTo>
                  <a:pt x="1068273" y="103771"/>
                </a:lnTo>
                <a:lnTo>
                  <a:pt x="1067409" y="112458"/>
                </a:lnTo>
                <a:lnTo>
                  <a:pt x="1062228" y="118110"/>
                </a:lnTo>
                <a:lnTo>
                  <a:pt x="1052728" y="118110"/>
                </a:lnTo>
                <a:lnTo>
                  <a:pt x="1044841" y="116027"/>
                </a:lnTo>
                <a:lnTo>
                  <a:pt x="1040155" y="110566"/>
                </a:lnTo>
                <a:lnTo>
                  <a:pt x="1037983" y="102895"/>
                </a:lnTo>
                <a:lnTo>
                  <a:pt x="1037640" y="94221"/>
                </a:lnTo>
                <a:lnTo>
                  <a:pt x="1100239" y="94221"/>
                </a:lnTo>
                <a:close/>
              </a:path>
              <a:path w="1171575" h="252729">
                <a:moveTo>
                  <a:pt x="1145616" y="244894"/>
                </a:moveTo>
                <a:lnTo>
                  <a:pt x="1144193" y="243154"/>
                </a:lnTo>
                <a:lnTo>
                  <a:pt x="1139571" y="237515"/>
                </a:lnTo>
                <a:lnTo>
                  <a:pt x="1134389" y="240550"/>
                </a:lnTo>
                <a:lnTo>
                  <a:pt x="1127480" y="243154"/>
                </a:lnTo>
                <a:lnTo>
                  <a:pt x="1111923" y="243154"/>
                </a:lnTo>
                <a:lnTo>
                  <a:pt x="1102829" y="241427"/>
                </a:lnTo>
                <a:lnTo>
                  <a:pt x="1097241" y="235775"/>
                </a:lnTo>
                <a:lnTo>
                  <a:pt x="1091196" y="230136"/>
                </a:lnTo>
                <a:lnTo>
                  <a:pt x="1088148" y="224053"/>
                </a:lnTo>
                <a:lnTo>
                  <a:pt x="1088148" y="203644"/>
                </a:lnTo>
                <a:lnTo>
                  <a:pt x="1119695" y="181940"/>
                </a:lnTo>
                <a:lnTo>
                  <a:pt x="1126147" y="181940"/>
                </a:lnTo>
                <a:lnTo>
                  <a:pt x="1131798" y="183680"/>
                </a:lnTo>
                <a:lnTo>
                  <a:pt x="1137437" y="186715"/>
                </a:lnTo>
                <a:lnTo>
                  <a:pt x="1141349" y="181940"/>
                </a:lnTo>
                <a:lnTo>
                  <a:pt x="1143482" y="179324"/>
                </a:lnTo>
                <a:lnTo>
                  <a:pt x="1137437" y="175425"/>
                </a:lnTo>
                <a:lnTo>
                  <a:pt x="1128344" y="172821"/>
                </a:lnTo>
                <a:lnTo>
                  <a:pt x="1119695" y="172821"/>
                </a:lnTo>
                <a:lnTo>
                  <a:pt x="1102652" y="175590"/>
                </a:lnTo>
                <a:lnTo>
                  <a:pt x="1088326" y="183565"/>
                </a:lnTo>
                <a:lnTo>
                  <a:pt x="1078458" y="196265"/>
                </a:lnTo>
                <a:lnTo>
                  <a:pt x="1074788" y="213194"/>
                </a:lnTo>
                <a:lnTo>
                  <a:pt x="1078077" y="229679"/>
                </a:lnTo>
                <a:lnTo>
                  <a:pt x="1087247" y="241808"/>
                </a:lnTo>
                <a:lnTo>
                  <a:pt x="1101191" y="249288"/>
                </a:lnTo>
                <a:lnTo>
                  <a:pt x="1118831" y="251841"/>
                </a:lnTo>
                <a:lnTo>
                  <a:pt x="1126350" y="251307"/>
                </a:lnTo>
                <a:lnTo>
                  <a:pt x="1133678" y="249834"/>
                </a:lnTo>
                <a:lnTo>
                  <a:pt x="1140269" y="247637"/>
                </a:lnTo>
                <a:lnTo>
                  <a:pt x="1145616" y="244894"/>
                </a:lnTo>
                <a:close/>
              </a:path>
              <a:path w="1171575" h="252729">
                <a:moveTo>
                  <a:pt x="1171130" y="38214"/>
                </a:moveTo>
                <a:lnTo>
                  <a:pt x="1161046" y="39179"/>
                </a:lnTo>
                <a:lnTo>
                  <a:pt x="1152474" y="42392"/>
                </a:lnTo>
                <a:lnTo>
                  <a:pt x="1145768" y="48285"/>
                </a:lnTo>
                <a:lnTo>
                  <a:pt x="1141298" y="57315"/>
                </a:lnTo>
                <a:lnTo>
                  <a:pt x="1140891" y="40817"/>
                </a:lnTo>
                <a:lnTo>
                  <a:pt x="1107605" y="40817"/>
                </a:lnTo>
                <a:lnTo>
                  <a:pt x="1108430" y="48285"/>
                </a:lnTo>
                <a:lnTo>
                  <a:pt x="1108468" y="134607"/>
                </a:lnTo>
                <a:lnTo>
                  <a:pt x="1141298" y="134607"/>
                </a:lnTo>
                <a:lnTo>
                  <a:pt x="1141298" y="93789"/>
                </a:lnTo>
                <a:lnTo>
                  <a:pt x="1142326" y="82994"/>
                </a:lnTo>
                <a:lnTo>
                  <a:pt x="1145959" y="74472"/>
                </a:lnTo>
                <a:lnTo>
                  <a:pt x="1152982" y="68884"/>
                </a:lnTo>
                <a:lnTo>
                  <a:pt x="1164221" y="66865"/>
                </a:lnTo>
                <a:lnTo>
                  <a:pt x="1171130" y="66865"/>
                </a:lnTo>
                <a:lnTo>
                  <a:pt x="1171130" y="57315"/>
                </a:lnTo>
                <a:lnTo>
                  <a:pt x="1171130" y="38214"/>
                </a:lnTo>
                <a:close/>
              </a:path>
            </a:pathLst>
          </a:custGeom>
          <a:solidFill>
            <a:srgbClr val="FFFFFF"/>
          </a:solidFill>
        </p:spPr>
        <p:txBody>
          <a:bodyPr wrap="square" lIns="0" tIns="0" rIns="0" bIns="0" rtlCol="0"/>
          <a:lstStyle/>
          <a:p>
            <a:endParaRPr/>
          </a:p>
        </p:txBody>
      </p:sp>
      <p:sp>
        <p:nvSpPr>
          <p:cNvPr id="2" name="Holder 2"/>
          <p:cNvSpPr>
            <a:spLocks noGrp="1"/>
          </p:cNvSpPr>
          <p:nvPr>
            <p:ph type="title"/>
          </p:nvPr>
        </p:nvSpPr>
        <p:spPr>
          <a:xfrm>
            <a:off x="189382" y="1625478"/>
            <a:ext cx="5163820" cy="1305560"/>
          </a:xfrm>
          <a:prstGeom prst="rect">
            <a:avLst/>
          </a:prstGeom>
        </p:spPr>
        <p:txBody>
          <a:bodyPr wrap="square" lIns="0" tIns="0" rIns="0" bIns="0">
            <a:spAutoFit/>
          </a:bodyPr>
          <a:lstStyle>
            <a:lvl1pPr>
              <a:defRPr sz="2800" b="1" i="0">
                <a:solidFill>
                  <a:srgbClr val="383939"/>
                </a:solidFill>
                <a:latin typeface="Arial"/>
                <a:cs typeface="Arial"/>
              </a:defRPr>
            </a:lvl1pPr>
          </a:lstStyle>
          <a:p>
            <a:endParaRPr/>
          </a:p>
        </p:txBody>
      </p:sp>
      <p:sp>
        <p:nvSpPr>
          <p:cNvPr id="3" name="Holder 3"/>
          <p:cNvSpPr>
            <a:spLocks noGrp="1"/>
          </p:cNvSpPr>
          <p:nvPr>
            <p:ph type="body" idx="1"/>
          </p:nvPr>
        </p:nvSpPr>
        <p:spPr>
          <a:xfrm>
            <a:off x="1974850" y="1710944"/>
            <a:ext cx="8242300" cy="1371600"/>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8/17/2023</a:t>
            </a:fld>
            <a:endParaRPr lang="en-US"/>
          </a:p>
        </p:txBody>
      </p:sp>
      <p:sp>
        <p:nvSpPr>
          <p:cNvPr id="6" name="Holder 6"/>
          <p:cNvSpPr>
            <a:spLocks noGrp="1"/>
          </p:cNvSpPr>
          <p:nvPr>
            <p:ph type="sldNum" sz="quarter" idx="7"/>
          </p:nvPr>
        </p:nvSpPr>
        <p:spPr>
          <a:xfrm>
            <a:off x="43586" y="6627158"/>
            <a:ext cx="229235" cy="167004"/>
          </a:xfrm>
          <a:prstGeom prst="rect">
            <a:avLst/>
          </a:prstGeom>
        </p:spPr>
        <p:txBody>
          <a:bodyPr wrap="square" lIns="0" tIns="0" rIns="0" bIns="0">
            <a:spAutoFit/>
          </a:bodyPr>
          <a:lstStyle>
            <a:lvl1pPr>
              <a:defRPr sz="1000" b="0" i="0">
                <a:solidFill>
                  <a:srgbClr val="535758"/>
                </a:solidFill>
                <a:latin typeface="Arial"/>
                <a:cs typeface="Arial"/>
              </a:defRPr>
            </a:lvl1pPr>
          </a:lstStyle>
          <a:p>
            <a:pPr marL="38100">
              <a:lnSpc>
                <a:spcPct val="100000"/>
              </a:lnSpc>
            </a:pPr>
            <a:fld id="{81D60167-4931-47E6-BA6A-407CBD079E47}" type="slidenum">
              <a:rPr spc="-25" dirty="0"/>
              <a:t>‹#›</a:t>
            </a:fld>
            <a:endParaRPr spc="-25" dirty="0"/>
          </a:p>
        </p:txBody>
      </p:sp>
    </p:spTree>
    <p:extLst>
      <p:ext uri="{BB962C8B-B14F-4D97-AF65-F5344CB8AC3E}">
        <p14:creationId xmlns:p14="http://schemas.microsoft.com/office/powerpoint/2010/main" val="1429810913"/>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24128" y="585216"/>
            <a:ext cx="9720072" cy="1499616"/>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1024128" y="2286000"/>
            <a:ext cx="9720073" cy="4023360"/>
          </a:xfrm>
          <a:prstGeom prst="rect">
            <a:avLst/>
          </a:prstGeom>
        </p:spPr>
        <p:txBody>
          <a:bodyPr vert="horz" lIns="45720" tIns="45720" rIns="4572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24129" y="6470704"/>
            <a:ext cx="2154143" cy="274320"/>
          </a:xfrm>
          <a:prstGeom prst="rect">
            <a:avLst/>
          </a:prstGeom>
        </p:spPr>
        <p:txBody>
          <a:bodyPr vert="horz" lIns="91440" tIns="45720" rIns="91440" bIns="45720" rtlCol="0" anchor="ctr"/>
          <a:lstStyle>
            <a:lvl1pPr algn="l">
              <a:defRPr sz="1000">
                <a:solidFill>
                  <a:schemeClr val="tx1">
                    <a:lumMod val="95000"/>
                    <a:lumOff val="5000"/>
                  </a:schemeClr>
                </a:solidFill>
                <a:latin typeface="+mj-lt"/>
              </a:defRPr>
            </a:lvl1pPr>
          </a:lstStyle>
          <a:p>
            <a:fld id="{90298CD5-6C1E-4009-B41F-6DF62E31D3BE}" type="datetimeFigureOut">
              <a:rPr lang="en-US" dirty="0"/>
              <a:pPr/>
              <a:t>8/17/2023</a:t>
            </a:fld>
            <a:endParaRPr lang="en-US" dirty="0"/>
          </a:p>
        </p:txBody>
      </p:sp>
      <p:sp>
        <p:nvSpPr>
          <p:cNvPr id="5" name="Footer Placeholder 4"/>
          <p:cNvSpPr>
            <a:spLocks noGrp="1"/>
          </p:cNvSpPr>
          <p:nvPr>
            <p:ph type="ftr" sz="quarter" idx="3"/>
          </p:nvPr>
        </p:nvSpPr>
        <p:spPr>
          <a:xfrm>
            <a:off x="4842932" y="6470704"/>
            <a:ext cx="5901459" cy="274320"/>
          </a:xfrm>
          <a:prstGeom prst="rect">
            <a:avLst/>
          </a:prstGeom>
        </p:spPr>
        <p:txBody>
          <a:bodyPr vert="horz" lIns="91440" tIns="45720" rIns="91440" bIns="45720" rtlCol="0" anchor="ctr"/>
          <a:lstStyle>
            <a:lvl1pPr algn="r">
              <a:defRPr sz="1000" cap="all" baseline="0">
                <a:solidFill>
                  <a:schemeClr val="tx1">
                    <a:lumMod val="95000"/>
                    <a:lumOff val="5000"/>
                  </a:schemeClr>
                </a:solidFill>
                <a:latin typeface="+mj-lt"/>
              </a:defRPr>
            </a:lvl1pPr>
          </a:lstStyle>
          <a:p>
            <a:r>
              <a:rPr lang="en-US"/>
              <a:t>Proprietary &amp; Confidential |  authoremail@thermofisher.com | 5-August-2020</a:t>
            </a:r>
          </a:p>
        </p:txBody>
      </p:sp>
      <p:sp>
        <p:nvSpPr>
          <p:cNvPr id="6" name="Slide Number Placeholder 5"/>
          <p:cNvSpPr>
            <a:spLocks noGrp="1"/>
          </p:cNvSpPr>
          <p:nvPr>
            <p:ph type="sldNum" sz="quarter" idx="4"/>
          </p:nvPr>
        </p:nvSpPr>
        <p:spPr>
          <a:xfrm>
            <a:off x="10837333" y="6470704"/>
            <a:ext cx="973667" cy="274320"/>
          </a:xfrm>
          <a:prstGeom prst="rect">
            <a:avLst/>
          </a:prstGeom>
        </p:spPr>
        <p:txBody>
          <a:bodyPr vert="horz" lIns="91440" tIns="45720" rIns="91440" bIns="45720" rtlCol="0" anchor="ctr"/>
          <a:lstStyle>
            <a:lvl1pPr algn="l">
              <a:defRPr sz="1000">
                <a:solidFill>
                  <a:schemeClr val="tx1">
                    <a:lumMod val="95000"/>
                    <a:lumOff val="5000"/>
                  </a:schemeClr>
                </a:solidFill>
                <a:latin typeface="+mj-lt"/>
              </a:defRPr>
            </a:lvl1pPr>
          </a:lstStyle>
          <a:p>
            <a:fld id="{89006F1E-66CD-4A4B-9370-B4A3080F0E6C}" type="slidenum">
              <a:rPr lang="en-US" smtClean="0"/>
              <a:pPr/>
              <a:t>‹#›</a:t>
            </a:fld>
            <a:endParaRPr lang="en-US"/>
          </a:p>
        </p:txBody>
      </p:sp>
      <p:cxnSp>
        <p:nvCxnSpPr>
          <p:cNvPr id="7" name="Straight Connector 6"/>
          <p:cNvCxnSpPr/>
          <p:nvPr/>
        </p:nvCxnSpPr>
        <p:spPr>
          <a:xfrm flipV="1">
            <a:off x="762000" y="826324"/>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4077425"/>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 id="2147483742" r:id="rId13"/>
    <p:sldLayoutId id="2147483832" r:id="rId14"/>
  </p:sldLayoutIdLst>
  <p:hf hdr="0" ftr="0" dt="0"/>
  <p:txStyles>
    <p:title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6AB1148-5B8E-4138-A999-134E755A72DF}"/>
              </a:ext>
            </a:extLst>
          </p:cNvPr>
          <p:cNvGraphicFramePr>
            <a:graphicFrameLocks noChangeAspect="1"/>
          </p:cNvGraphicFramePr>
          <p:nvPr userDrawn="1">
            <p:custDataLst>
              <p:tags r:id="rId29"/>
            </p:custDataLst>
            <p:extLst>
              <p:ext uri="{D42A27DB-BD31-4B8C-83A1-F6EECF244321}">
                <p14:modId xmlns:p14="http://schemas.microsoft.com/office/powerpoint/2010/main" val="99940967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1" imgW="444" imgH="443" progId="TCLayout.ActiveDocument.1">
                  <p:embed/>
                </p:oleObj>
              </mc:Choice>
              <mc:Fallback>
                <p:oleObj name="think-cell Slide" r:id="rId31" imgW="444" imgH="443" progId="TCLayout.ActiveDocument.1">
                  <p:embed/>
                  <p:pic>
                    <p:nvPicPr>
                      <p:cNvPr id="6" name="Object 5" hidden="1">
                        <a:extLst>
                          <a:ext uri="{FF2B5EF4-FFF2-40B4-BE49-F238E27FC236}">
                            <a16:creationId xmlns:a16="http://schemas.microsoft.com/office/drawing/2014/main" id="{A6AB1148-5B8E-4138-A999-134E755A72DF}"/>
                          </a:ext>
                        </a:extLst>
                      </p:cNvPr>
                      <p:cNvPicPr/>
                      <p:nvPr/>
                    </p:nvPicPr>
                    <p:blipFill>
                      <a:blip r:embed="rId32"/>
                      <a:stretch>
                        <a:fillRect/>
                      </a:stretch>
                    </p:blipFill>
                    <p:spPr>
                      <a:xfrm>
                        <a:off x="1589" y="1589"/>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B8B1DF8-88DB-4F6A-BB87-ECACC068F7D0}"/>
              </a:ext>
            </a:extLst>
          </p:cNvPr>
          <p:cNvSpPr/>
          <p:nvPr userDrawn="1">
            <p:custDataLst>
              <p:tags r:id="rId30"/>
            </p:custDataLst>
          </p:nvPr>
        </p:nvSpPr>
        <p:spPr bwMode="auto">
          <a:xfrm>
            <a:off x="0" y="0"/>
            <a:ext cx="158751" cy="158750"/>
          </a:xfrm>
          <a:prstGeom prst="rect">
            <a:avLst/>
          </a:prstGeom>
          <a:solidFill>
            <a:schemeClr val="tx2"/>
          </a:solidFill>
          <a:ln w="3175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lvl="0" indent="0" algn="ctr" defTabSz="685778" eaLnBrk="0" fontAlgn="base" hangingPunct="0">
              <a:spcBef>
                <a:spcPct val="0"/>
              </a:spcBef>
              <a:spcAft>
                <a:spcPct val="0"/>
              </a:spcAft>
            </a:pPr>
            <a:endParaRPr lang="en-US" sz="2100" b="1" i="0" baseline="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304801" y="304800"/>
            <a:ext cx="9753600" cy="381001"/>
          </a:xfrm>
          <a:prstGeom prst="rect">
            <a:avLst/>
          </a:prstGeom>
        </p:spPr>
        <p:txBody>
          <a:bodyPr vert="horz" wrap="square" lIns="0" tIns="0" rIns="0" bIns="0" rtlCol="0" anchor="t" anchorCtr="0">
            <a:noAutofit/>
          </a:bodyPr>
          <a:lstStyle/>
          <a:p>
            <a:r>
              <a:rPr lang="en-US"/>
              <a:t>Slide title [28pt Arial Bold]</a:t>
            </a:r>
          </a:p>
        </p:txBody>
      </p:sp>
      <p:grpSp>
        <p:nvGrpSpPr>
          <p:cNvPr id="7" name="Group 6">
            <a:extLst>
              <a:ext uri="{FF2B5EF4-FFF2-40B4-BE49-F238E27FC236}">
                <a16:creationId xmlns:a16="http://schemas.microsoft.com/office/drawing/2014/main" id="{C54DB860-41E2-E04B-ABD0-6BA4D570E7A0}"/>
              </a:ext>
            </a:extLst>
          </p:cNvPr>
          <p:cNvGrpSpPr/>
          <p:nvPr userDrawn="1"/>
        </p:nvGrpSpPr>
        <p:grpSpPr>
          <a:xfrm>
            <a:off x="10295372" y="1"/>
            <a:ext cx="1591827" cy="694426"/>
            <a:chOff x="-20628" y="0"/>
            <a:chExt cx="2488951" cy="1085792"/>
          </a:xfrm>
        </p:grpSpPr>
        <p:sp>
          <p:nvSpPr>
            <p:cNvPr id="8" name="Parallelogram 7">
              <a:extLst>
                <a:ext uri="{FF2B5EF4-FFF2-40B4-BE49-F238E27FC236}">
                  <a16:creationId xmlns:a16="http://schemas.microsoft.com/office/drawing/2014/main" id="{A441B466-B52D-0443-BF86-D267F733A465}"/>
                </a:ext>
              </a:extLst>
            </p:cNvPr>
            <p:cNvSpPr/>
            <p:nvPr userDrawn="1"/>
          </p:nvSpPr>
          <p:spPr bwMode="auto">
            <a:xfrm>
              <a:off x="-20628" y="0"/>
              <a:ext cx="2488951" cy="1085792"/>
            </a:xfrm>
            <a:prstGeom prst="parallelogram">
              <a:avLst>
                <a:gd name="adj" fmla="val 0"/>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685778" rtl="0" eaLnBrk="0" fontAlgn="base" latinLnBrk="0" hangingPunct="0">
                <a:lnSpc>
                  <a:spcPct val="100000"/>
                </a:lnSpc>
                <a:spcBef>
                  <a:spcPct val="0"/>
                </a:spcBef>
                <a:spcAft>
                  <a:spcPct val="0"/>
                </a:spcAft>
                <a:buClrTx/>
                <a:buSzTx/>
                <a:buFontTx/>
                <a:buNone/>
                <a:tabLst/>
              </a:pPr>
              <a:r>
                <a:rPr lang="en-US" sz="1350">
                  <a:latin typeface="Arial" pitchFamily="124" charset="0"/>
                </a:rPr>
                <a:t>               </a:t>
              </a:r>
            </a:p>
          </p:txBody>
        </p:sp>
        <p:pic>
          <p:nvPicPr>
            <p:cNvPr id="9" name="Picture 8">
              <a:extLst>
                <a:ext uri="{FF2B5EF4-FFF2-40B4-BE49-F238E27FC236}">
                  <a16:creationId xmlns:a16="http://schemas.microsoft.com/office/drawing/2014/main" id="{2CE94B44-7208-0848-80E7-7165E7D106A8}"/>
                </a:ext>
              </a:extLst>
            </p:cNvPr>
            <p:cNvPicPr>
              <a:picLocks noChangeAspect="1"/>
            </p:cNvPicPr>
            <p:nvPr userDrawn="1"/>
          </p:nvPicPr>
          <p:blipFill>
            <a:blip r:embed="rId33" cstate="screen">
              <a:extLst>
                <a:ext uri="{28A0092B-C50C-407E-A947-70E740481C1C}">
                  <a14:useLocalDpi xmlns:a14="http://schemas.microsoft.com/office/drawing/2010/main"/>
                </a:ext>
              </a:extLst>
            </a:blip>
            <a:stretch>
              <a:fillRect/>
            </a:stretch>
          </p:blipFill>
          <p:spPr>
            <a:xfrm>
              <a:off x="135820" y="154984"/>
              <a:ext cx="2178058" cy="756021"/>
            </a:xfrm>
            <a:prstGeom prst="rect">
              <a:avLst/>
            </a:prstGeom>
          </p:spPr>
        </p:pic>
      </p:grpSp>
      <p:sp>
        <p:nvSpPr>
          <p:cNvPr id="17" name="Slide Number Placeholder 16">
            <a:extLst>
              <a:ext uri="{FF2B5EF4-FFF2-40B4-BE49-F238E27FC236}">
                <a16:creationId xmlns:a16="http://schemas.microsoft.com/office/drawing/2014/main" id="{F0B13DE1-DE5F-D844-BE5C-AEBBEC35CBB8}"/>
              </a:ext>
            </a:extLst>
          </p:cNvPr>
          <p:cNvSpPr>
            <a:spLocks noGrp="1"/>
          </p:cNvSpPr>
          <p:nvPr>
            <p:ph type="sldNum" sz="quarter" idx="4"/>
          </p:nvPr>
        </p:nvSpPr>
        <p:spPr>
          <a:xfrm>
            <a:off x="2" y="6553202"/>
            <a:ext cx="304799" cy="304799"/>
          </a:xfrm>
          <a:prstGeom prst="rect">
            <a:avLst/>
          </a:prstGeom>
        </p:spPr>
        <p:txBody>
          <a:bodyPr vert="horz" lIns="0" tIns="0" rIns="0" bIns="0" rtlCol="0" anchor="ctr"/>
          <a:lstStyle>
            <a:lvl1pPr algn="ctr">
              <a:defRPr sz="750">
                <a:solidFill>
                  <a:schemeClr val="accent5"/>
                </a:solidFill>
              </a:defRPr>
            </a:lvl1pPr>
          </a:lstStyle>
          <a:p>
            <a:fld id="{89006F1E-66CD-4A4B-9370-B4A3080F0E6C}" type="slidenum">
              <a:rPr lang="en-US" smtClean="0"/>
              <a:pPr/>
              <a:t>‹#›</a:t>
            </a:fld>
            <a:endParaRPr lang="en-US"/>
          </a:p>
        </p:txBody>
      </p:sp>
      <p:sp>
        <p:nvSpPr>
          <p:cNvPr id="3" name="Footer Placeholder 2">
            <a:extLst>
              <a:ext uri="{FF2B5EF4-FFF2-40B4-BE49-F238E27FC236}">
                <a16:creationId xmlns:a16="http://schemas.microsoft.com/office/drawing/2014/main" id="{586EC55D-6678-BB4B-BDDC-58D10FF57EC3}"/>
              </a:ext>
            </a:extLst>
          </p:cNvPr>
          <p:cNvSpPr>
            <a:spLocks noGrp="1"/>
          </p:cNvSpPr>
          <p:nvPr>
            <p:ph type="ftr" sz="quarter" idx="3"/>
          </p:nvPr>
        </p:nvSpPr>
        <p:spPr>
          <a:xfrm>
            <a:off x="304800" y="6553202"/>
            <a:ext cx="3657600" cy="304799"/>
          </a:xfrm>
          <a:prstGeom prst="rect">
            <a:avLst/>
          </a:prstGeom>
        </p:spPr>
        <p:txBody>
          <a:bodyPr vert="horz" lIns="91440" tIns="45720" rIns="91440" bIns="45720" rtlCol="0" anchor="ctr"/>
          <a:lstStyle>
            <a:lvl1pPr algn="l">
              <a:defRPr lang="en-US" sz="600" kern="1200">
                <a:solidFill>
                  <a:schemeClr val="accent5"/>
                </a:solidFill>
                <a:latin typeface="+mn-lt"/>
                <a:ea typeface="+mn-ea"/>
                <a:cs typeface="+mn-cs"/>
              </a:defRPr>
            </a:lvl1pPr>
          </a:lstStyle>
          <a:p>
            <a:r>
              <a:rPr lang="en-US"/>
              <a:t>Proprietary &amp; Confidential |  authoremail@thermofisher.com | 5-August-2020</a:t>
            </a:r>
          </a:p>
        </p:txBody>
      </p:sp>
      <p:sp>
        <p:nvSpPr>
          <p:cNvPr id="4" name="Text Placeholder 3">
            <a:extLst>
              <a:ext uri="{FF2B5EF4-FFF2-40B4-BE49-F238E27FC236}">
                <a16:creationId xmlns:a16="http://schemas.microsoft.com/office/drawing/2014/main" id="{F00A9AC8-05E2-9846-9B67-40D61264EC3C}"/>
              </a:ext>
            </a:extLst>
          </p:cNvPr>
          <p:cNvSpPr>
            <a:spLocks noGrp="1"/>
          </p:cNvSpPr>
          <p:nvPr>
            <p:ph type="body" idx="1"/>
          </p:nvPr>
        </p:nvSpPr>
        <p:spPr>
          <a:xfrm>
            <a:off x="304802" y="876302"/>
            <a:ext cx="11582399" cy="53006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 </a:t>
            </a:r>
          </a:p>
          <a:p>
            <a:pPr lvl="3"/>
            <a:r>
              <a:rPr lang="en-US"/>
              <a:t>Fourth level</a:t>
            </a:r>
          </a:p>
          <a:p>
            <a:pPr lvl="4"/>
            <a:r>
              <a:rPr lang="en-US"/>
              <a:t>Fifth level</a:t>
            </a:r>
          </a:p>
        </p:txBody>
      </p:sp>
    </p:spTree>
    <p:extLst>
      <p:ext uri="{BB962C8B-B14F-4D97-AF65-F5344CB8AC3E}">
        <p14:creationId xmlns:p14="http://schemas.microsoft.com/office/powerpoint/2010/main" val="572628362"/>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 id="2147483800" r:id="rId12"/>
    <p:sldLayoutId id="2147483801" r:id="rId13"/>
    <p:sldLayoutId id="2147483802" r:id="rId14"/>
    <p:sldLayoutId id="2147483803" r:id="rId15"/>
    <p:sldLayoutId id="2147483804" r:id="rId16"/>
    <p:sldLayoutId id="2147483805" r:id="rId17"/>
    <p:sldLayoutId id="2147483806" r:id="rId18"/>
    <p:sldLayoutId id="2147483807" r:id="rId19"/>
    <p:sldLayoutId id="2147483808" r:id="rId20"/>
    <p:sldLayoutId id="2147483809" r:id="rId21"/>
    <p:sldLayoutId id="2147483810" r:id="rId22"/>
    <p:sldLayoutId id="2147483811" r:id="rId23"/>
    <p:sldLayoutId id="2147483812" r:id="rId24"/>
    <p:sldLayoutId id="2147483813" r:id="rId25"/>
    <p:sldLayoutId id="2147483814" r:id="rId26"/>
    <p:sldLayoutId id="2147483815" r:id="rId27"/>
  </p:sldLayoutIdLst>
  <p:hf hdr="0" ftr="0" dt="0"/>
  <p:txStyles>
    <p:titleStyle>
      <a:lvl1pPr algn="l" defTabSz="685778" rtl="0" eaLnBrk="1" latinLnBrk="0" hangingPunct="1">
        <a:lnSpc>
          <a:spcPct val="90000"/>
        </a:lnSpc>
        <a:spcBef>
          <a:spcPct val="0"/>
        </a:spcBef>
        <a:buNone/>
        <a:defRPr sz="2100" b="1" kern="1200">
          <a:solidFill>
            <a:schemeClr val="tx2"/>
          </a:solidFill>
          <a:latin typeface="+mj-lt"/>
          <a:ea typeface="+mj-ea"/>
          <a:cs typeface="+mj-cs"/>
        </a:defRPr>
      </a:lvl1pPr>
    </p:titleStyle>
    <p:bodyStyle>
      <a:lvl1pPr marL="215497" indent="-215497" algn="l" defTabSz="685778" rtl="0" eaLnBrk="1" latinLnBrk="0" hangingPunct="1">
        <a:lnSpc>
          <a:spcPct val="120000"/>
        </a:lnSpc>
        <a:spcBef>
          <a:spcPts val="150"/>
        </a:spcBef>
        <a:buClr>
          <a:schemeClr val="tx2"/>
        </a:buClr>
        <a:buSzPct val="100000"/>
        <a:buFont typeface="Arial" panose="020B0604020202020204" pitchFamily="34" charset="0"/>
        <a:buChar char="•"/>
        <a:tabLst/>
        <a:defRPr sz="1500" b="0" kern="1200">
          <a:solidFill>
            <a:schemeClr val="tx1"/>
          </a:solidFill>
          <a:latin typeface="+mn-lt"/>
          <a:ea typeface="+mn-ea"/>
          <a:cs typeface="+mn-cs"/>
        </a:defRPr>
      </a:lvl1pPr>
      <a:lvl2pPr marL="389322" marR="0" indent="-213115" algn="l" defTabSz="685778" rtl="0" eaLnBrk="1" fontAlgn="auto" latinLnBrk="0" hangingPunct="1">
        <a:lnSpc>
          <a:spcPct val="120000"/>
        </a:lnSpc>
        <a:spcBef>
          <a:spcPts val="150"/>
        </a:spcBef>
        <a:spcAft>
          <a:spcPts val="0"/>
        </a:spcAft>
        <a:buClrTx/>
        <a:buSzPct val="76000"/>
        <a:buFont typeface="Arial" panose="020B0604020202020204" pitchFamily="34" charset="0"/>
        <a:buChar char="•"/>
        <a:tabLst/>
        <a:defRPr sz="1350" b="0" kern="1200">
          <a:solidFill>
            <a:schemeClr val="tx1"/>
          </a:solidFill>
          <a:latin typeface="+mn-lt"/>
          <a:ea typeface="+mn-ea"/>
          <a:cs typeface="+mn-cs"/>
        </a:defRPr>
      </a:lvl2pPr>
      <a:lvl3pPr marL="519096" marR="0" indent="-171445" algn="l" defTabSz="685778" rtl="0" eaLnBrk="1" fontAlgn="auto" latinLnBrk="0" hangingPunct="1">
        <a:lnSpc>
          <a:spcPct val="120000"/>
        </a:lnSpc>
        <a:spcBef>
          <a:spcPts val="150"/>
        </a:spcBef>
        <a:spcAft>
          <a:spcPts val="0"/>
        </a:spcAft>
        <a:buClrTx/>
        <a:buSzPct val="80000"/>
        <a:buFont typeface="Arial" panose="020B0604020202020204" pitchFamily="34" charset="0"/>
        <a:buChar char="•"/>
        <a:tabLst/>
        <a:defRPr sz="1050" b="0" kern="1200">
          <a:solidFill>
            <a:schemeClr val="tx1"/>
          </a:solidFill>
          <a:latin typeface="+mn-lt"/>
          <a:ea typeface="+mn-ea"/>
          <a:cs typeface="+mn-cs"/>
        </a:defRPr>
      </a:lvl3pPr>
      <a:lvl4pPr marL="646489" marR="0" indent="-128584" algn="l" defTabSz="685778" rtl="0" eaLnBrk="1" fontAlgn="auto" latinLnBrk="0" hangingPunct="1">
        <a:lnSpc>
          <a:spcPct val="120000"/>
        </a:lnSpc>
        <a:spcBef>
          <a:spcPts val="150"/>
        </a:spcBef>
        <a:spcAft>
          <a:spcPts val="0"/>
        </a:spcAft>
        <a:buClrTx/>
        <a:buSzPct val="80000"/>
        <a:buFont typeface="Arial" panose="020B0604020202020204" pitchFamily="34" charset="0"/>
        <a:buChar char="•"/>
        <a:tabLst/>
        <a:defRPr sz="900" b="0" kern="1200">
          <a:solidFill>
            <a:schemeClr val="tx1"/>
          </a:solidFill>
          <a:latin typeface="+mn-lt"/>
          <a:ea typeface="+mn-ea"/>
          <a:cs typeface="+mn-cs"/>
        </a:defRPr>
      </a:lvl4pPr>
      <a:lvl5pPr marL="809599" marR="0" indent="-117868" algn="l" defTabSz="685778" rtl="0" eaLnBrk="1" fontAlgn="auto" latinLnBrk="0" hangingPunct="1">
        <a:lnSpc>
          <a:spcPct val="120000"/>
        </a:lnSpc>
        <a:spcBef>
          <a:spcPts val="150"/>
        </a:spcBef>
        <a:spcAft>
          <a:spcPts val="0"/>
        </a:spcAft>
        <a:buClrTx/>
        <a:buSzPct val="80000"/>
        <a:buFont typeface="Arial" panose="020B0604020202020204" pitchFamily="34" charset="0"/>
        <a:buChar char="•"/>
        <a:tabLst/>
        <a:defRPr sz="825" b="0" kern="1200">
          <a:solidFill>
            <a:schemeClr val="tx1"/>
          </a:solidFill>
          <a:latin typeface="+mn-lt"/>
          <a:ea typeface="+mn-ea"/>
          <a:cs typeface="+mn-cs"/>
        </a:defRPr>
      </a:lvl5pPr>
      <a:lvl6pPr marL="1885889" indent="-171445" algn="l" defTabSz="68577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77" indent="-171445" algn="l" defTabSz="68577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66" indent="-171445" algn="l" defTabSz="68577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56" indent="-171445" algn="l" defTabSz="68577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78" rtl="0" eaLnBrk="1" latinLnBrk="0" hangingPunct="1">
        <a:defRPr sz="1350" kern="1200">
          <a:solidFill>
            <a:schemeClr val="tx1"/>
          </a:solidFill>
          <a:latin typeface="+mn-lt"/>
          <a:ea typeface="+mn-ea"/>
          <a:cs typeface="+mn-cs"/>
        </a:defRPr>
      </a:lvl1pPr>
      <a:lvl2pPr marL="342889" algn="l" defTabSz="685778" rtl="0" eaLnBrk="1" latinLnBrk="0" hangingPunct="1">
        <a:defRPr sz="1350" kern="1200">
          <a:solidFill>
            <a:schemeClr val="tx1"/>
          </a:solidFill>
          <a:latin typeface="+mn-lt"/>
          <a:ea typeface="+mn-ea"/>
          <a:cs typeface="+mn-cs"/>
        </a:defRPr>
      </a:lvl2pPr>
      <a:lvl3pPr marL="685778" algn="l" defTabSz="685778" rtl="0" eaLnBrk="1" latinLnBrk="0" hangingPunct="1">
        <a:defRPr sz="1350" kern="1200">
          <a:solidFill>
            <a:schemeClr val="tx1"/>
          </a:solidFill>
          <a:latin typeface="+mn-lt"/>
          <a:ea typeface="+mn-ea"/>
          <a:cs typeface="+mn-cs"/>
        </a:defRPr>
      </a:lvl3pPr>
      <a:lvl4pPr marL="1028667" algn="l" defTabSz="685778" rtl="0" eaLnBrk="1" latinLnBrk="0" hangingPunct="1">
        <a:defRPr sz="1350" kern="1200">
          <a:solidFill>
            <a:schemeClr val="tx1"/>
          </a:solidFill>
          <a:latin typeface="+mn-lt"/>
          <a:ea typeface="+mn-ea"/>
          <a:cs typeface="+mn-cs"/>
        </a:defRPr>
      </a:lvl4pPr>
      <a:lvl5pPr marL="1371555" algn="l" defTabSz="685778" rtl="0" eaLnBrk="1" latinLnBrk="0" hangingPunct="1">
        <a:defRPr sz="1350" kern="1200">
          <a:solidFill>
            <a:schemeClr val="tx1"/>
          </a:solidFill>
          <a:latin typeface="+mn-lt"/>
          <a:ea typeface="+mn-ea"/>
          <a:cs typeface="+mn-cs"/>
        </a:defRPr>
      </a:lvl5pPr>
      <a:lvl6pPr marL="1714444" algn="l" defTabSz="685778" rtl="0" eaLnBrk="1" latinLnBrk="0" hangingPunct="1">
        <a:defRPr sz="1350" kern="1200">
          <a:solidFill>
            <a:schemeClr val="tx1"/>
          </a:solidFill>
          <a:latin typeface="+mn-lt"/>
          <a:ea typeface="+mn-ea"/>
          <a:cs typeface="+mn-cs"/>
        </a:defRPr>
      </a:lvl6pPr>
      <a:lvl7pPr marL="2057334" algn="l" defTabSz="685778" rtl="0" eaLnBrk="1" latinLnBrk="0" hangingPunct="1">
        <a:defRPr sz="1350" kern="1200">
          <a:solidFill>
            <a:schemeClr val="tx1"/>
          </a:solidFill>
          <a:latin typeface="+mn-lt"/>
          <a:ea typeface="+mn-ea"/>
          <a:cs typeface="+mn-cs"/>
        </a:defRPr>
      </a:lvl7pPr>
      <a:lvl8pPr marL="2400222" algn="l" defTabSz="685778" rtl="0" eaLnBrk="1" latinLnBrk="0" hangingPunct="1">
        <a:defRPr sz="1350" kern="1200">
          <a:solidFill>
            <a:schemeClr val="tx1"/>
          </a:solidFill>
          <a:latin typeface="+mn-lt"/>
          <a:ea typeface="+mn-ea"/>
          <a:cs typeface="+mn-cs"/>
        </a:defRPr>
      </a:lvl8pPr>
      <a:lvl9pPr marL="2743111" algn="l" defTabSz="685778"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15:clr>
            <a:srgbClr val="F26B43"/>
          </p15:clr>
        </p15:guide>
        <p15:guide id="4" pos="7488">
          <p15:clr>
            <a:srgbClr val="F26B43"/>
          </p15:clr>
        </p15:guide>
        <p15:guide id="7" pos="5184">
          <p15:clr>
            <a:srgbClr val="F26B43"/>
          </p15:clr>
        </p15:guide>
        <p15:guide id="8" pos="2496">
          <p15:clr>
            <a:srgbClr val="F26B43"/>
          </p15:clr>
        </p15:guide>
        <p15:guide id="9" pos="192">
          <p15:clr>
            <a:srgbClr val="F26B43"/>
          </p15:clr>
        </p15:guide>
        <p15:guide id="10" pos="2688">
          <p15:clr>
            <a:srgbClr val="F26B43"/>
          </p15:clr>
        </p15:guide>
        <p15:guide id="11" orient="horz" pos="4128">
          <p15:clr>
            <a:srgbClr val="F26B43"/>
          </p15:clr>
        </p15:guide>
        <p15:guide id="12" pos="3840">
          <p15:clr>
            <a:srgbClr val="F26B43"/>
          </p15:clr>
        </p15:guide>
        <p15:guide id="13" pos="4992">
          <p15:clr>
            <a:srgbClr val="F26B43"/>
          </p15:clr>
        </p15:guide>
        <p15:guide id="14" orient="horz" pos="432">
          <p15:clr>
            <a:srgbClr val="F26B43"/>
          </p15:clr>
        </p15:guide>
        <p15:guide id="15" orient="horz" pos="552">
          <p15:clr>
            <a:srgbClr val="F26B43"/>
          </p15:clr>
        </p15:guide>
        <p15:guide id="16" orient="horz" pos="792">
          <p15:clr>
            <a:srgbClr val="F26B43"/>
          </p15:clr>
        </p15:guide>
        <p15:guide id="17" orient="horz" pos="912">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2">
        <a:schemeClr val="bg2"/>
      </p:bgRef>
    </p:bg>
    <p:spTree>
      <p:nvGrpSpPr>
        <p:cNvPr id="1" name=""/>
        <p:cNvGrpSpPr/>
        <p:nvPr/>
      </p:nvGrpSpPr>
      <p:grpSpPr>
        <a:xfrm>
          <a:off x="0" y="0"/>
          <a:ext cx="0" cy="0"/>
          <a:chOff x="0" y="0"/>
          <a:chExt cx="0" cy="0"/>
        </a:xfrm>
      </p:grpSpPr>
      <p:grpSp>
        <p:nvGrpSpPr>
          <p:cNvPr id="1026" name="Group 41"/>
          <p:cNvGrpSpPr>
            <a:grpSpLocks/>
          </p:cNvGrpSpPr>
          <p:nvPr/>
        </p:nvGrpSpPr>
        <p:grpSpPr bwMode="auto">
          <a:xfrm>
            <a:off x="-407245" y="0"/>
            <a:ext cx="13243597" cy="6858000"/>
            <a:chOff x="-382404" y="0"/>
            <a:chExt cx="9932332" cy="6858000"/>
          </a:xfrm>
        </p:grpSpPr>
        <p:grpSp>
          <p:nvGrpSpPr>
            <p:cNvPr id="1036" name="Group 44"/>
            <p:cNvGrpSpPr>
              <a:grpSpLocks/>
            </p:cNvGrpSpPr>
            <p:nvPr/>
          </p:nvGrpSpPr>
          <p:grpSpPr bwMode="auto">
            <a:xfrm>
              <a:off x="0" y="0"/>
              <a:ext cx="9144000" cy="6858000"/>
              <a:chOff x="0" y="0"/>
              <a:chExt cx="9144000" cy="6858000"/>
            </a:xfrm>
          </p:grpSpPr>
          <p:grpSp>
            <p:nvGrpSpPr>
              <p:cNvPr id="1059" name="Group 4"/>
              <p:cNvGrpSpPr>
                <a:grpSpLocks/>
              </p:cNvGrpSpPr>
              <p:nvPr/>
            </p:nvGrpSpPr>
            <p:grpSpPr bwMode="auto">
              <a:xfrm>
                <a:off x="0" y="0"/>
                <a:ext cx="2514600" cy="6858000"/>
                <a:chOff x="0" y="0"/>
                <a:chExt cx="2514600" cy="6858000"/>
              </a:xfrm>
            </p:grpSpPr>
            <p:sp>
              <p:nvSpPr>
                <p:cNvPr id="113" name="Rectangle 112"/>
                <p:cNvSpPr/>
                <p:nvPr/>
              </p:nvSpPr>
              <p:spPr>
                <a:xfrm>
                  <a:off x="913944" y="0"/>
                  <a:ext cx="1600413"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114" name="Rectangle 2"/>
                <p:cNvSpPr/>
                <p:nvPr/>
              </p:nvSpPr>
              <p:spPr>
                <a:xfrm>
                  <a:off x="392" y="0"/>
                  <a:ext cx="457454"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115" name="Rectangle 3"/>
                <p:cNvSpPr/>
                <p:nvPr/>
              </p:nvSpPr>
              <p:spPr>
                <a:xfrm>
                  <a:off x="228441" y="0"/>
                  <a:ext cx="762877"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grpSp>
          <p:grpSp>
            <p:nvGrpSpPr>
              <p:cNvPr id="1060" name="Group 5"/>
              <p:cNvGrpSpPr>
                <a:grpSpLocks/>
              </p:cNvGrpSpPr>
              <p:nvPr/>
            </p:nvGrpSpPr>
            <p:grpSpPr bwMode="auto">
              <a:xfrm>
                <a:off x="422910" y="0"/>
                <a:ext cx="2514600" cy="6858000"/>
                <a:chOff x="0" y="0"/>
                <a:chExt cx="2514600" cy="6858000"/>
              </a:xfrm>
            </p:grpSpPr>
            <p:sp>
              <p:nvSpPr>
                <p:cNvPr id="110" name="Rectangle 109"/>
                <p:cNvSpPr/>
                <p:nvPr/>
              </p:nvSpPr>
              <p:spPr>
                <a:xfrm>
                  <a:off x="921340" y="0"/>
                  <a:ext cx="1593626"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111" name="Rectangle 110"/>
                <p:cNvSpPr/>
                <p:nvPr/>
              </p:nvSpPr>
              <p:spPr>
                <a:xfrm>
                  <a:off x="7788" y="0"/>
                  <a:ext cx="457455"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112" name="Rectangle 111"/>
                <p:cNvSpPr/>
                <p:nvPr/>
              </p:nvSpPr>
              <p:spPr>
                <a:xfrm>
                  <a:off x="235837" y="0"/>
                  <a:ext cx="762877"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grpSp>
          <p:grpSp>
            <p:nvGrpSpPr>
              <p:cNvPr id="1061" name="Group 9"/>
              <p:cNvGrpSpPr>
                <a:grpSpLocks/>
              </p:cNvGrpSpPr>
              <p:nvPr/>
            </p:nvGrpSpPr>
            <p:grpSpPr bwMode="auto">
              <a:xfrm rot="10800000">
                <a:off x="6629400" y="0"/>
                <a:ext cx="2514600" cy="6858000"/>
                <a:chOff x="0" y="0"/>
                <a:chExt cx="2514600" cy="6858000"/>
              </a:xfrm>
            </p:grpSpPr>
            <p:sp>
              <p:nvSpPr>
                <p:cNvPr id="107" name="Rectangle 106"/>
                <p:cNvSpPr/>
                <p:nvPr/>
              </p:nvSpPr>
              <p:spPr>
                <a:xfrm>
                  <a:off x="917569" y="0"/>
                  <a:ext cx="1593626"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108" name="Rectangle 107"/>
                <p:cNvSpPr/>
                <p:nvPr/>
              </p:nvSpPr>
              <p:spPr>
                <a:xfrm>
                  <a:off x="8089" y="8639"/>
                  <a:ext cx="457455"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109" name="Rectangle 108"/>
                <p:cNvSpPr/>
                <p:nvPr/>
              </p:nvSpPr>
              <p:spPr>
                <a:xfrm>
                  <a:off x="227993" y="8639"/>
                  <a:ext cx="762877"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grpSp>
          <p:sp>
            <p:nvSpPr>
              <p:cNvPr id="104" name="Rectangle 103"/>
              <p:cNvSpPr/>
              <p:nvPr/>
            </p:nvSpPr>
            <p:spPr>
              <a:xfrm>
                <a:off x="3810704" y="0"/>
                <a:ext cx="2819387"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105" name="Rectangle 104"/>
              <p:cNvSpPr/>
              <p:nvPr/>
            </p:nvSpPr>
            <p:spPr>
              <a:xfrm>
                <a:off x="2895795" y="0"/>
                <a:ext cx="457455"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106" name="Rectangle 105"/>
              <p:cNvSpPr/>
              <p:nvPr/>
            </p:nvSpPr>
            <p:spPr>
              <a:xfrm>
                <a:off x="3123843" y="0"/>
                <a:ext cx="762877"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grpSp>
        <p:sp>
          <p:nvSpPr>
            <p:cNvPr id="44" name="Freeform 43"/>
            <p:cNvSpPr/>
            <p:nvPr/>
          </p:nvSpPr>
          <p:spPr>
            <a:xfrm>
              <a:off x="-11825" y="5035151"/>
              <a:ext cx="9143663" cy="1176356"/>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33"/>
            </a:p>
          </p:txBody>
        </p:sp>
        <p:sp>
          <p:nvSpPr>
            <p:cNvPr id="45" name="Freeform 44"/>
            <p:cNvSpPr/>
            <p:nvPr/>
          </p:nvSpPr>
          <p:spPr>
            <a:xfrm>
              <a:off x="-11825" y="3467156"/>
              <a:ext cx="9143663" cy="891267"/>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33"/>
            </a:p>
          </p:txBody>
        </p:sp>
        <p:sp>
          <p:nvSpPr>
            <p:cNvPr id="46" name="Freeform 45"/>
            <p:cNvSpPr/>
            <p:nvPr/>
          </p:nvSpPr>
          <p:spPr>
            <a:xfrm>
              <a:off x="-24041" y="5641327"/>
              <a:ext cx="3005355" cy="121091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33"/>
            </a:p>
          </p:txBody>
        </p:sp>
        <p:sp>
          <p:nvSpPr>
            <p:cNvPr id="47" name="Freeform 46"/>
            <p:cNvSpPr/>
            <p:nvPr/>
          </p:nvSpPr>
          <p:spPr>
            <a:xfrm>
              <a:off x="-11825" y="5284245"/>
              <a:ext cx="9143663" cy="1478725"/>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33"/>
            </a:p>
          </p:txBody>
        </p:sp>
        <p:sp>
          <p:nvSpPr>
            <p:cNvPr id="49" name="Freeform 48"/>
            <p:cNvSpPr/>
            <p:nvPr/>
          </p:nvSpPr>
          <p:spPr>
            <a:xfrm>
              <a:off x="2136991" y="5131621"/>
              <a:ext cx="6982631" cy="1720620"/>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33"/>
            </a:p>
          </p:txBody>
        </p:sp>
        <p:sp>
          <p:nvSpPr>
            <p:cNvPr id="50" name="Hexagon 49"/>
            <p:cNvSpPr/>
            <p:nvPr/>
          </p:nvSpPr>
          <p:spPr>
            <a:xfrm rot="1800000">
              <a:off x="2996245" y="2859540"/>
              <a:ext cx="1601770" cy="1388014"/>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51" name="Hexagon 50"/>
            <p:cNvSpPr/>
            <p:nvPr/>
          </p:nvSpPr>
          <p:spPr>
            <a:xfrm rot="1800000">
              <a:off x="3719757" y="4126606"/>
              <a:ext cx="1601770" cy="1388014"/>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52" name="Hexagon 51"/>
            <p:cNvSpPr/>
            <p:nvPr/>
          </p:nvSpPr>
          <p:spPr>
            <a:xfrm rot="1800000">
              <a:off x="3729259" y="1592473"/>
              <a:ext cx="1601770" cy="1388014"/>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53" name="Hexagon 52"/>
            <p:cNvSpPr/>
            <p:nvPr/>
          </p:nvSpPr>
          <p:spPr>
            <a:xfrm rot="1800000">
              <a:off x="2977241" y="325406"/>
              <a:ext cx="1601770" cy="1388014"/>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54" name="Hexagon 53"/>
            <p:cNvSpPr/>
            <p:nvPr/>
          </p:nvSpPr>
          <p:spPr>
            <a:xfrm rot="1800000">
              <a:off x="4463630" y="5383595"/>
              <a:ext cx="1600412" cy="1388014"/>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55" name="Freeform 54"/>
            <p:cNvSpPr/>
            <p:nvPr/>
          </p:nvSpPr>
          <p:spPr>
            <a:xfrm rot="1800000">
              <a:off x="-382404" y="4201479"/>
              <a:ext cx="1261055" cy="1388014"/>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56" name="Hexagon 55"/>
            <p:cNvSpPr/>
            <p:nvPr/>
          </p:nvSpPr>
          <p:spPr>
            <a:xfrm rot="1800000">
              <a:off x="24827" y="5402312"/>
              <a:ext cx="1600412" cy="1388014"/>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57" name="Hexagon 56"/>
            <p:cNvSpPr/>
            <p:nvPr/>
          </p:nvSpPr>
          <p:spPr>
            <a:xfrm rot="1800000">
              <a:off x="53332" y="2849461"/>
              <a:ext cx="1600413" cy="1388014"/>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58" name="Hexagon 57"/>
            <p:cNvSpPr/>
            <p:nvPr/>
          </p:nvSpPr>
          <p:spPr>
            <a:xfrm rot="1800000">
              <a:off x="776844" y="4126606"/>
              <a:ext cx="1601770" cy="1388014"/>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59" name="Hexagon 58"/>
            <p:cNvSpPr/>
            <p:nvPr/>
          </p:nvSpPr>
          <p:spPr>
            <a:xfrm rot="1800000">
              <a:off x="1509857" y="5412392"/>
              <a:ext cx="1601770" cy="1388014"/>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60" name="Hexagon 59"/>
            <p:cNvSpPr/>
            <p:nvPr/>
          </p:nvSpPr>
          <p:spPr>
            <a:xfrm rot="1800000">
              <a:off x="1528861" y="2859540"/>
              <a:ext cx="1601770" cy="1388014"/>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95" name="Hexagon 94"/>
            <p:cNvSpPr/>
            <p:nvPr/>
          </p:nvSpPr>
          <p:spPr>
            <a:xfrm rot="1800000">
              <a:off x="795848" y="1563676"/>
              <a:ext cx="1601770" cy="1388014"/>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96" name="Hexagon 95"/>
            <p:cNvSpPr/>
            <p:nvPr/>
          </p:nvSpPr>
          <p:spPr>
            <a:xfrm rot="1800000">
              <a:off x="6806558" y="4145325"/>
              <a:ext cx="1600412" cy="1388014"/>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97" name="Hexagon 96"/>
            <p:cNvSpPr/>
            <p:nvPr/>
          </p:nvSpPr>
          <p:spPr>
            <a:xfrm rot="1800000">
              <a:off x="7549073" y="5421031"/>
              <a:ext cx="1601770" cy="1388014"/>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98" name="Hexagon 97"/>
            <p:cNvSpPr/>
            <p:nvPr/>
          </p:nvSpPr>
          <p:spPr>
            <a:xfrm rot="1800000">
              <a:off x="7549073" y="2868179"/>
              <a:ext cx="1601770" cy="1389454"/>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99" name="Freeform 98"/>
            <p:cNvSpPr/>
            <p:nvPr/>
          </p:nvSpPr>
          <p:spPr>
            <a:xfrm rot="1800000">
              <a:off x="8306520" y="4056054"/>
              <a:ext cx="1243408" cy="1388014"/>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sp>
          <p:nvSpPr>
            <p:cNvPr id="100" name="Freeform 99"/>
            <p:cNvSpPr/>
            <p:nvPr/>
          </p:nvSpPr>
          <p:spPr>
            <a:xfrm rot="1800000">
              <a:off x="8306520" y="1511841"/>
              <a:ext cx="1242051" cy="1388014"/>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3"/>
            </a:p>
          </p:txBody>
        </p:sp>
      </p:grpSp>
      <p:sp>
        <p:nvSpPr>
          <p:cNvPr id="66" name="Rectangle 65"/>
          <p:cNvSpPr/>
          <p:nvPr/>
        </p:nvSpPr>
        <p:spPr>
          <a:xfrm>
            <a:off x="609963" y="334045"/>
            <a:ext cx="10972076" cy="6185590"/>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4605" tIns="47302" rIns="94605" bIns="47302" anchor="ctr"/>
          <a:lstStyle/>
          <a:p>
            <a:pPr algn="ctr">
              <a:defRPr/>
            </a:pPr>
            <a:endParaRPr lang="en-US" sz="1633"/>
          </a:p>
        </p:txBody>
      </p:sp>
      <p:sp>
        <p:nvSpPr>
          <p:cNvPr id="70" name="Rectangle 69"/>
          <p:cNvSpPr/>
          <p:nvPr/>
        </p:nvSpPr>
        <p:spPr>
          <a:xfrm>
            <a:off x="6081521" y="-21598"/>
            <a:ext cx="4905036" cy="699767"/>
          </a:xfrm>
          <a:prstGeom prst="rect">
            <a:avLst/>
          </a:prstGeom>
          <a:solidFill>
            <a:srgbClr val="F5F5F5"/>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4605" tIns="47302" rIns="94605" bIns="47302" anchor="ctr"/>
          <a:lstStyle/>
          <a:p>
            <a:pPr algn="ctr">
              <a:defRPr/>
            </a:pPr>
            <a:endParaRPr lang="en-US" sz="1633"/>
          </a:p>
        </p:txBody>
      </p:sp>
      <p:sp>
        <p:nvSpPr>
          <p:cNvPr id="71" name="Rectangle 70"/>
          <p:cNvSpPr/>
          <p:nvPr/>
        </p:nvSpPr>
        <p:spPr>
          <a:xfrm>
            <a:off x="6199170" y="-21598"/>
            <a:ext cx="4673359" cy="6234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4605" tIns="47302" rIns="94605" bIns="47302" anchor="ctr"/>
          <a:lstStyle/>
          <a:p>
            <a:pPr algn="ctr">
              <a:defRPr/>
            </a:pPr>
            <a:endParaRPr lang="en-US" sz="1633"/>
          </a:p>
        </p:txBody>
      </p:sp>
      <p:sp>
        <p:nvSpPr>
          <p:cNvPr id="1030" name="Title Placeholder 1"/>
          <p:cNvSpPr>
            <a:spLocks noGrp="1"/>
          </p:cNvSpPr>
          <p:nvPr>
            <p:ph type="title"/>
          </p:nvPr>
        </p:nvSpPr>
        <p:spPr bwMode="auto">
          <a:xfrm>
            <a:off x="1391872" y="1028052"/>
            <a:ext cx="9366627" cy="1143240"/>
          </a:xfrm>
          <a:prstGeom prst="rect">
            <a:avLst/>
          </a:prstGeom>
          <a:noFill/>
          <a:ln w="9525">
            <a:noFill/>
            <a:miter lim="800000"/>
            <a:headEnd/>
            <a:tailEnd/>
          </a:ln>
        </p:spPr>
        <p:txBody>
          <a:bodyPr vert="horz" wrap="square" lIns="104306" tIns="52153" rIns="104306" bIns="52153" numCol="1" anchor="b" anchorCtr="0" compatLnSpc="1">
            <a:prstTxWarp prst="textNoShape">
              <a:avLst/>
            </a:prstTxWarp>
          </a:bodyPr>
          <a:lstStyle/>
          <a:p>
            <a:pPr lvl="0"/>
            <a:r>
              <a:rPr lang="en-US"/>
              <a:t>Click to edit Master title style</a:t>
            </a:r>
          </a:p>
        </p:txBody>
      </p:sp>
      <p:sp>
        <p:nvSpPr>
          <p:cNvPr id="1031" name="Text Placeholder 2"/>
          <p:cNvSpPr>
            <a:spLocks noGrp="1"/>
          </p:cNvSpPr>
          <p:nvPr>
            <p:ph type="body" idx="1"/>
          </p:nvPr>
        </p:nvSpPr>
        <p:spPr bwMode="auto">
          <a:xfrm>
            <a:off x="1391873" y="2323916"/>
            <a:ext cx="9035401" cy="3508912"/>
          </a:xfrm>
          <a:prstGeom prst="rect">
            <a:avLst/>
          </a:prstGeom>
          <a:noFill/>
          <a:ln w="9525">
            <a:noFill/>
            <a:miter lim="800000"/>
            <a:headEnd/>
            <a:tailEnd/>
          </a:ln>
        </p:spPr>
        <p:txBody>
          <a:bodyPr vert="horz" wrap="square" lIns="104306" tIns="52153" rIns="104306" bIns="52153"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7996475" y="224616"/>
            <a:ext cx="2845283" cy="364282"/>
          </a:xfrm>
          <a:prstGeom prst="rect">
            <a:avLst/>
          </a:prstGeom>
        </p:spPr>
        <p:txBody>
          <a:bodyPr vert="horz" lIns="104306" tIns="52153" rIns="104306" bIns="52153" rtlCol="0" anchor="ctr"/>
          <a:lstStyle>
            <a:lvl1pPr algn="r">
              <a:defRPr sz="1270">
                <a:solidFill>
                  <a:srgbClr val="FEFEFE"/>
                </a:solidFill>
              </a:defRPr>
            </a:lvl1pPr>
          </a:lstStyle>
          <a:p>
            <a:pPr>
              <a:defRPr/>
            </a:pPr>
            <a:fld id="{1DA1C0C6-A5B3-4B21-BE85-69E00465FE27}" type="datetimeFigureOut">
              <a:rPr lang="vi-VN"/>
              <a:pPr>
                <a:defRPr/>
              </a:pPr>
              <a:t>17/08/2023</a:t>
            </a:fld>
            <a:endParaRPr lang="vi-VN"/>
          </a:p>
        </p:txBody>
      </p:sp>
      <p:sp>
        <p:nvSpPr>
          <p:cNvPr id="5" name="Footer Placeholder 4"/>
          <p:cNvSpPr>
            <a:spLocks noGrp="1"/>
          </p:cNvSpPr>
          <p:nvPr>
            <p:ph type="ftr" sz="quarter" idx="3"/>
          </p:nvPr>
        </p:nvSpPr>
        <p:spPr>
          <a:xfrm>
            <a:off x="6188309" y="5851546"/>
            <a:ext cx="4669739" cy="365722"/>
          </a:xfrm>
          <a:prstGeom prst="rect">
            <a:avLst/>
          </a:prstGeom>
        </p:spPr>
        <p:txBody>
          <a:bodyPr vert="horz" lIns="104306" tIns="52153" rIns="104306" bIns="52153" rtlCol="0" anchor="ctr"/>
          <a:lstStyle>
            <a:lvl1pPr algn="r">
              <a:defRPr sz="1270">
                <a:solidFill>
                  <a:schemeClr val="accent1"/>
                </a:solidFill>
              </a:defRPr>
            </a:lvl1pPr>
          </a:lstStyle>
          <a:p>
            <a:pPr>
              <a:defRPr/>
            </a:pPr>
            <a:endParaRPr lang="vi-VN"/>
          </a:p>
        </p:txBody>
      </p:sp>
      <p:sp>
        <p:nvSpPr>
          <p:cNvPr id="6" name="Slide Number Placeholder 5"/>
          <p:cNvSpPr>
            <a:spLocks noGrp="1"/>
          </p:cNvSpPr>
          <p:nvPr>
            <p:ph type="sldNum" sz="quarter" idx="4"/>
          </p:nvPr>
        </p:nvSpPr>
        <p:spPr>
          <a:xfrm>
            <a:off x="6199170" y="224616"/>
            <a:ext cx="1775586" cy="364282"/>
          </a:xfrm>
          <a:prstGeom prst="rect">
            <a:avLst/>
          </a:prstGeom>
        </p:spPr>
        <p:txBody>
          <a:bodyPr vert="horz" lIns="104306" tIns="52153" rIns="104306" bIns="52153" rtlCol="0" anchor="ctr"/>
          <a:lstStyle>
            <a:lvl1pPr algn="l">
              <a:defRPr sz="1270">
                <a:solidFill>
                  <a:srgbClr val="FEFEFE"/>
                </a:solidFill>
              </a:defRPr>
            </a:lvl1pPr>
          </a:lstStyle>
          <a:p>
            <a:pPr>
              <a:defRPr/>
            </a:pPr>
            <a:fld id="{843A4594-739C-4986-B892-F602FB9BBEC5}" type="slidenum">
              <a:rPr lang="vi-VN"/>
              <a:pPr>
                <a:defRPr/>
              </a:pPr>
              <a:t>‹#›</a:t>
            </a:fld>
            <a:endParaRPr lang="vi-VN"/>
          </a:p>
        </p:txBody>
      </p:sp>
      <p:pic>
        <p:nvPicPr>
          <p:cNvPr id="1035" name="Picture 7"/>
          <p:cNvPicPr>
            <a:picLocks noChangeAspect="1" noChangeArrowheads="1"/>
          </p:cNvPicPr>
          <p:nvPr/>
        </p:nvPicPr>
        <p:blipFill>
          <a:blip r:embed="rId14"/>
          <a:srcRect/>
          <a:stretch>
            <a:fillRect/>
          </a:stretch>
        </p:blipFill>
        <p:spPr bwMode="auto">
          <a:xfrm>
            <a:off x="3620" y="-1440"/>
            <a:ext cx="12192000" cy="6862320"/>
          </a:xfrm>
          <a:prstGeom prst="rect">
            <a:avLst/>
          </a:prstGeom>
          <a:noFill/>
          <a:ln w="9525">
            <a:noFill/>
            <a:miter lim="800000"/>
            <a:headEnd/>
            <a:tailEnd/>
          </a:ln>
        </p:spPr>
      </p:pic>
    </p:spTree>
    <p:extLst>
      <p:ext uri="{BB962C8B-B14F-4D97-AF65-F5344CB8AC3E}">
        <p14:creationId xmlns:p14="http://schemas.microsoft.com/office/powerpoint/2010/main" val="2999490645"/>
      </p:ext>
    </p:extLst>
  </p:cSld>
  <p:clrMap bg1="lt1" tx1="dk1" bg2="lt2" tx2="dk2" accent1="accent1" accent2="accent2" accent3="accent3" accent4="accent4" accent5="accent5" accent6="accent6" hlink="hlink" folHlink="folHlink"/>
  <p:sldLayoutIdLst>
    <p:sldLayoutId id="2147483817" r:id="rId1"/>
    <p:sldLayoutId id="2147483818" r:id="rId2"/>
    <p:sldLayoutId id="2147483819" r:id="rId3"/>
    <p:sldLayoutId id="2147483820" r:id="rId4"/>
    <p:sldLayoutId id="2147483821" r:id="rId5"/>
    <p:sldLayoutId id="2147483822" r:id="rId6"/>
    <p:sldLayoutId id="2147483823" r:id="rId7"/>
    <p:sldLayoutId id="2147483824" r:id="rId8"/>
    <p:sldLayoutId id="2147483825" r:id="rId9"/>
    <p:sldLayoutId id="2147483826" r:id="rId10"/>
    <p:sldLayoutId id="2147483827" r:id="rId11"/>
    <p:sldLayoutId id="2147483828" r:id="rId12"/>
  </p:sldLayoutIdLst>
  <p:txStyles>
    <p:titleStyle>
      <a:lvl1pPr algn="l" defTabSz="945990" rtl="0" eaLnBrk="0" fontAlgn="base" hangingPunct="0">
        <a:spcBef>
          <a:spcPct val="0"/>
        </a:spcBef>
        <a:spcAft>
          <a:spcPct val="0"/>
        </a:spcAft>
        <a:defRPr sz="4172" kern="1200">
          <a:solidFill>
            <a:schemeClr val="accent1"/>
          </a:solidFill>
          <a:latin typeface="+mj-lt"/>
          <a:ea typeface="+mj-ea"/>
          <a:cs typeface="+mj-cs"/>
        </a:defRPr>
      </a:lvl1pPr>
      <a:lvl2pPr algn="l" defTabSz="945990" rtl="0" eaLnBrk="0" fontAlgn="base" hangingPunct="0">
        <a:spcBef>
          <a:spcPct val="0"/>
        </a:spcBef>
        <a:spcAft>
          <a:spcPct val="0"/>
        </a:spcAft>
        <a:defRPr sz="4172">
          <a:solidFill>
            <a:schemeClr val="accent1"/>
          </a:solidFill>
          <a:latin typeface="Tahoma" pitchFamily="34" charset="0"/>
        </a:defRPr>
      </a:lvl2pPr>
      <a:lvl3pPr algn="l" defTabSz="945990" rtl="0" eaLnBrk="0" fontAlgn="base" hangingPunct="0">
        <a:spcBef>
          <a:spcPct val="0"/>
        </a:spcBef>
        <a:spcAft>
          <a:spcPct val="0"/>
        </a:spcAft>
        <a:defRPr sz="4172">
          <a:solidFill>
            <a:schemeClr val="accent1"/>
          </a:solidFill>
          <a:latin typeface="Tahoma" pitchFamily="34" charset="0"/>
        </a:defRPr>
      </a:lvl3pPr>
      <a:lvl4pPr algn="l" defTabSz="945990" rtl="0" eaLnBrk="0" fontAlgn="base" hangingPunct="0">
        <a:spcBef>
          <a:spcPct val="0"/>
        </a:spcBef>
        <a:spcAft>
          <a:spcPct val="0"/>
        </a:spcAft>
        <a:defRPr sz="4172">
          <a:solidFill>
            <a:schemeClr val="accent1"/>
          </a:solidFill>
          <a:latin typeface="Tahoma" pitchFamily="34" charset="0"/>
        </a:defRPr>
      </a:lvl4pPr>
      <a:lvl5pPr algn="l" defTabSz="945990" rtl="0" eaLnBrk="0" fontAlgn="base" hangingPunct="0">
        <a:spcBef>
          <a:spcPct val="0"/>
        </a:spcBef>
        <a:spcAft>
          <a:spcPct val="0"/>
        </a:spcAft>
        <a:defRPr sz="4172">
          <a:solidFill>
            <a:schemeClr val="accent1"/>
          </a:solidFill>
          <a:latin typeface="Tahoma" pitchFamily="34" charset="0"/>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54206" indent="-283653" algn="l" defTabSz="945990" rtl="0" eaLnBrk="0" fontAlgn="base" hangingPunct="0">
        <a:spcBef>
          <a:spcPct val="20000"/>
        </a:spcBef>
        <a:spcAft>
          <a:spcPct val="0"/>
        </a:spcAft>
        <a:buClr>
          <a:schemeClr val="accent1"/>
        </a:buClr>
        <a:buSzPct val="76000"/>
        <a:buFont typeface="Wingdings 2" pitchFamily="18" charset="2"/>
        <a:buChar char=""/>
        <a:defRPr sz="2449" kern="1200">
          <a:solidFill>
            <a:schemeClr val="tx2"/>
          </a:solidFill>
          <a:latin typeface="+mn-lt"/>
          <a:ea typeface="+mn-ea"/>
          <a:cs typeface="+mn-cs"/>
        </a:defRPr>
      </a:lvl1pPr>
      <a:lvl2pPr marL="660897" indent="-283653" algn="l" defTabSz="945990" rtl="0" eaLnBrk="0" fontAlgn="base" hangingPunct="0">
        <a:spcBef>
          <a:spcPct val="20000"/>
        </a:spcBef>
        <a:spcAft>
          <a:spcPct val="0"/>
        </a:spcAft>
        <a:buClr>
          <a:schemeClr val="accent1"/>
        </a:buClr>
        <a:buSzPct val="76000"/>
        <a:buFont typeface="Wingdings 2" pitchFamily="18" charset="2"/>
        <a:buChar char=""/>
        <a:defRPr sz="2268" kern="1200">
          <a:solidFill>
            <a:schemeClr val="tx2"/>
          </a:solidFill>
          <a:latin typeface="+mn-lt"/>
          <a:ea typeface="+mn-ea"/>
          <a:cs typeface="+mn-cs"/>
        </a:defRPr>
      </a:lvl2pPr>
      <a:lvl3pPr marL="945990" indent="-236137" algn="l" defTabSz="945990" rtl="0" eaLnBrk="0" fontAlgn="base" hangingPunct="0">
        <a:spcBef>
          <a:spcPct val="20000"/>
        </a:spcBef>
        <a:spcAft>
          <a:spcPct val="0"/>
        </a:spcAft>
        <a:buClr>
          <a:schemeClr val="accent1"/>
        </a:buClr>
        <a:buSzPct val="76000"/>
        <a:buFont typeface="Wingdings 2" pitchFamily="18" charset="2"/>
        <a:buChar char=""/>
        <a:defRPr sz="2086" kern="1200">
          <a:solidFill>
            <a:schemeClr val="tx2"/>
          </a:solidFill>
          <a:latin typeface="+mn-lt"/>
          <a:ea typeface="+mn-ea"/>
          <a:cs typeface="+mn-cs"/>
        </a:defRPr>
      </a:lvl3pPr>
      <a:lvl4pPr marL="1163409" indent="-236137" algn="l" defTabSz="945990" rtl="0" eaLnBrk="0" fontAlgn="base" hangingPunct="0">
        <a:spcBef>
          <a:spcPct val="20000"/>
        </a:spcBef>
        <a:spcAft>
          <a:spcPct val="0"/>
        </a:spcAft>
        <a:buClr>
          <a:schemeClr val="accent1"/>
        </a:buClr>
        <a:buSzPct val="76000"/>
        <a:buFont typeface="Wingdings 2" pitchFamily="18" charset="2"/>
        <a:buChar char=""/>
        <a:defRPr sz="1905" kern="1200">
          <a:solidFill>
            <a:schemeClr val="tx2"/>
          </a:solidFill>
          <a:latin typeface="+mn-lt"/>
          <a:ea typeface="+mn-ea"/>
          <a:cs typeface="+mn-cs"/>
        </a:defRPr>
      </a:lvl4pPr>
      <a:lvl5pPr marL="1370749" indent="-236137" algn="l" defTabSz="945990" rtl="0" eaLnBrk="0" fontAlgn="base" hangingPunct="0">
        <a:spcBef>
          <a:spcPct val="20000"/>
        </a:spcBef>
        <a:spcAft>
          <a:spcPct val="0"/>
        </a:spcAft>
        <a:buClr>
          <a:schemeClr val="accent1"/>
        </a:buClr>
        <a:buSzPct val="76000"/>
        <a:buFont typeface="Wingdings 2" pitchFamily="18" charset="2"/>
        <a:buChar char=""/>
        <a:defRPr kern="1200">
          <a:solidFill>
            <a:schemeClr val="tx2"/>
          </a:solidFill>
          <a:latin typeface="+mn-lt"/>
          <a:ea typeface="+mn-ea"/>
          <a:cs typeface="+mn-cs"/>
        </a:defRPr>
      </a:lvl5pPr>
      <a:lvl6pPr marL="1570446" indent="-236513" algn="l" defTabSz="946052" rtl="0" eaLnBrk="1" latinLnBrk="0" hangingPunct="1">
        <a:spcBef>
          <a:spcPct val="20000"/>
        </a:spcBef>
        <a:buClr>
          <a:schemeClr val="accent1"/>
        </a:buClr>
        <a:buSzPct val="76000"/>
        <a:buFont typeface="Wingdings 2" pitchFamily="18" charset="2"/>
        <a:buChar char=""/>
        <a:defRPr sz="1451" kern="1200">
          <a:solidFill>
            <a:schemeClr val="tx2"/>
          </a:solidFill>
          <a:latin typeface="+mn-lt"/>
          <a:ea typeface="+mn-ea"/>
          <a:cs typeface="+mn-cs"/>
        </a:defRPr>
      </a:lvl6pPr>
      <a:lvl7pPr marL="1778577" indent="-236513" algn="l" defTabSz="946052" rtl="0" eaLnBrk="1" latinLnBrk="0" hangingPunct="1">
        <a:spcBef>
          <a:spcPct val="20000"/>
        </a:spcBef>
        <a:buClr>
          <a:schemeClr val="accent1"/>
        </a:buClr>
        <a:buSzPct val="76000"/>
        <a:buFont typeface="Wingdings 2" pitchFamily="18" charset="2"/>
        <a:buChar char=""/>
        <a:defRPr sz="1451" kern="1200">
          <a:solidFill>
            <a:schemeClr val="tx2"/>
          </a:solidFill>
          <a:latin typeface="+mn-lt"/>
          <a:ea typeface="+mn-ea"/>
          <a:cs typeface="+mn-cs"/>
        </a:defRPr>
      </a:lvl7pPr>
      <a:lvl8pPr marL="1986709" indent="-236513" algn="l" defTabSz="946052" rtl="0" eaLnBrk="1" latinLnBrk="0" hangingPunct="1">
        <a:spcBef>
          <a:spcPct val="20000"/>
        </a:spcBef>
        <a:buClr>
          <a:schemeClr val="accent1"/>
        </a:buClr>
        <a:buSzPct val="76000"/>
        <a:buFont typeface="Wingdings 2" pitchFamily="18" charset="2"/>
        <a:buChar char=""/>
        <a:defRPr sz="1451" kern="1200">
          <a:solidFill>
            <a:schemeClr val="tx2"/>
          </a:solidFill>
          <a:latin typeface="+mn-lt"/>
          <a:ea typeface="+mn-ea"/>
          <a:cs typeface="+mn-cs"/>
        </a:defRPr>
      </a:lvl8pPr>
      <a:lvl9pPr marL="2194840" indent="-236513" algn="l" defTabSz="946052" rtl="0" eaLnBrk="1" latinLnBrk="0" hangingPunct="1">
        <a:spcBef>
          <a:spcPct val="20000"/>
        </a:spcBef>
        <a:buClr>
          <a:schemeClr val="accent1"/>
        </a:buClr>
        <a:buSzPct val="76000"/>
        <a:buFont typeface="Wingdings 2" pitchFamily="18" charset="2"/>
        <a:buChar char=""/>
        <a:defRPr sz="1451" kern="1200">
          <a:solidFill>
            <a:schemeClr val="tx2"/>
          </a:solidFill>
          <a:latin typeface="+mn-lt"/>
          <a:ea typeface="+mn-ea"/>
          <a:cs typeface="+mn-cs"/>
        </a:defRPr>
      </a:lvl9pPr>
    </p:bodyStyle>
    <p:otherStyle>
      <a:defPPr>
        <a:defRPr lang="en-US"/>
      </a:defPPr>
      <a:lvl1pPr marL="0" algn="l" defTabSz="946052" rtl="0" eaLnBrk="1" latinLnBrk="0" hangingPunct="1">
        <a:defRPr sz="1905" kern="1200">
          <a:solidFill>
            <a:schemeClr val="tx1"/>
          </a:solidFill>
          <a:latin typeface="+mn-lt"/>
          <a:ea typeface="+mn-ea"/>
          <a:cs typeface="+mn-cs"/>
        </a:defRPr>
      </a:lvl1pPr>
      <a:lvl2pPr marL="473026" algn="l" defTabSz="946052" rtl="0" eaLnBrk="1" latinLnBrk="0" hangingPunct="1">
        <a:defRPr sz="1905" kern="1200">
          <a:solidFill>
            <a:schemeClr val="tx1"/>
          </a:solidFill>
          <a:latin typeface="+mn-lt"/>
          <a:ea typeface="+mn-ea"/>
          <a:cs typeface="+mn-cs"/>
        </a:defRPr>
      </a:lvl2pPr>
      <a:lvl3pPr marL="946052" algn="l" defTabSz="946052" rtl="0" eaLnBrk="1" latinLnBrk="0" hangingPunct="1">
        <a:defRPr sz="1905" kern="1200">
          <a:solidFill>
            <a:schemeClr val="tx1"/>
          </a:solidFill>
          <a:latin typeface="+mn-lt"/>
          <a:ea typeface="+mn-ea"/>
          <a:cs typeface="+mn-cs"/>
        </a:defRPr>
      </a:lvl3pPr>
      <a:lvl4pPr marL="1419078" algn="l" defTabSz="946052" rtl="0" eaLnBrk="1" latinLnBrk="0" hangingPunct="1">
        <a:defRPr sz="1905" kern="1200">
          <a:solidFill>
            <a:schemeClr val="tx1"/>
          </a:solidFill>
          <a:latin typeface="+mn-lt"/>
          <a:ea typeface="+mn-ea"/>
          <a:cs typeface="+mn-cs"/>
        </a:defRPr>
      </a:lvl4pPr>
      <a:lvl5pPr marL="1892104" algn="l" defTabSz="946052" rtl="0" eaLnBrk="1" latinLnBrk="0" hangingPunct="1">
        <a:defRPr sz="1905" kern="1200">
          <a:solidFill>
            <a:schemeClr val="tx1"/>
          </a:solidFill>
          <a:latin typeface="+mn-lt"/>
          <a:ea typeface="+mn-ea"/>
          <a:cs typeface="+mn-cs"/>
        </a:defRPr>
      </a:lvl5pPr>
      <a:lvl6pPr marL="2365129" algn="l" defTabSz="946052" rtl="0" eaLnBrk="1" latinLnBrk="0" hangingPunct="1">
        <a:defRPr sz="1905" kern="1200">
          <a:solidFill>
            <a:schemeClr val="tx1"/>
          </a:solidFill>
          <a:latin typeface="+mn-lt"/>
          <a:ea typeface="+mn-ea"/>
          <a:cs typeface="+mn-cs"/>
        </a:defRPr>
      </a:lvl6pPr>
      <a:lvl7pPr marL="2838155" algn="l" defTabSz="946052" rtl="0" eaLnBrk="1" latinLnBrk="0" hangingPunct="1">
        <a:defRPr sz="1905" kern="1200">
          <a:solidFill>
            <a:schemeClr val="tx1"/>
          </a:solidFill>
          <a:latin typeface="+mn-lt"/>
          <a:ea typeface="+mn-ea"/>
          <a:cs typeface="+mn-cs"/>
        </a:defRPr>
      </a:lvl7pPr>
      <a:lvl8pPr marL="3311181" algn="l" defTabSz="946052" rtl="0" eaLnBrk="1" latinLnBrk="0" hangingPunct="1">
        <a:defRPr sz="1905" kern="1200">
          <a:solidFill>
            <a:schemeClr val="tx1"/>
          </a:solidFill>
          <a:latin typeface="+mn-lt"/>
          <a:ea typeface="+mn-ea"/>
          <a:cs typeface="+mn-cs"/>
        </a:defRPr>
      </a:lvl8pPr>
      <a:lvl9pPr marL="3784207" algn="l" defTabSz="946052" rtl="0" eaLnBrk="1" latinLnBrk="0" hangingPunct="1">
        <a:defRPr sz="1905"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3357297"/>
      </p:ext>
    </p:extLst>
  </p:cSld>
  <p:clrMap bg1="lt1" tx1="dk1" bg2="lt2" tx2="dk2" accent1="accent1" accent2="accent2" accent3="accent3" accent4="accent4" accent5="accent5" accent6="accent6" hlink="hlink" folHlink="folHlink"/>
  <p:sldLayoutIdLst>
    <p:sldLayoutId id="2147483831" r:id="rId1"/>
  </p:sldLayoutIdLst>
  <p:txStyles>
    <p:titleStyle>
      <a:lvl1pPr algn="ctr" defTabSz="6858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6858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37.jpeg"/><Relationship Id="rId1" Type="http://schemas.openxmlformats.org/officeDocument/2006/relationships/slideLayout" Target="../slideLayouts/slideLayout2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07.xml"/></Relationships>
</file>

<file path=ppt/slides/_rels/slide1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72.xml"/></Relationships>
</file>

<file path=ppt/slides/_rels/slide1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72.xml"/></Relationships>
</file>

<file path=ppt/slides/_rels/slide1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72.xml"/></Relationships>
</file>

<file path=ppt/slides/_rels/slide1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72.xml"/></Relationships>
</file>

<file path=ppt/slides/_rels/slide1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66.xml"/></Relationships>
</file>

<file path=ppt/slides/_rels/slide1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66.xml"/></Relationships>
</file>

<file path=ppt/slides/_rels/slide19.xml.rels><?xml version="1.0" encoding="UTF-8" standalone="yes"?>
<Relationships xmlns="http://schemas.openxmlformats.org/package/2006/relationships"><Relationship Id="rId3" Type="http://schemas.openxmlformats.org/officeDocument/2006/relationships/hyperlink" Target="https://www.thermofisher.com/ae/en/home/life-science/microarray-analysis/microarray-analysis-instruments-software-services/microarray-analysis-software/chromosome-analysis-suite.html" TargetMode="External"/><Relationship Id="rId2" Type="http://schemas.openxmlformats.org/officeDocument/2006/relationships/image" Target="../media/image49.png"/><Relationship Id="rId1" Type="http://schemas.openxmlformats.org/officeDocument/2006/relationships/slideLayout" Target="../slideLayouts/slideLayout66.xml"/></Relationships>
</file>

<file path=ppt/slides/_rels/slide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1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2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66.xml"/></Relationships>
</file>

<file path=ppt/slides/_rels/slide2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66.xml"/></Relationships>
</file>

<file path=ppt/slides/_rels/slide2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6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2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66.xml"/></Relationships>
</file>

<file path=ppt/slides/_rels/slide27.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66.xml"/></Relationships>
</file>

<file path=ppt/slides/_rels/slide28.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6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34.xml.rels><?xml version="1.0" encoding="UTF-8" standalone="yes"?>
<Relationships xmlns="http://schemas.openxmlformats.org/package/2006/relationships"><Relationship Id="rId2" Type="http://schemas.openxmlformats.org/officeDocument/2006/relationships/image" Target="../media/image60.jpg"/><Relationship Id="rId1" Type="http://schemas.openxmlformats.org/officeDocument/2006/relationships/slideLayout" Target="../slideLayouts/slideLayout58.xml"/></Relationships>
</file>

<file path=ppt/slides/_rels/slide3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jpg"/><Relationship Id="rId1" Type="http://schemas.openxmlformats.org/officeDocument/2006/relationships/slideLayout" Target="../slideLayouts/slideLayout58.xml"/><Relationship Id="rId5" Type="http://schemas.openxmlformats.org/officeDocument/2006/relationships/image" Target="../media/image63.jpg"/><Relationship Id="rId4" Type="http://schemas.openxmlformats.org/officeDocument/2006/relationships/image" Target="../media/image62.png"/></Relationships>
</file>

<file path=ppt/slides/_rels/slide36.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56.xml"/><Relationship Id="rId5" Type="http://schemas.openxmlformats.org/officeDocument/2006/relationships/image" Target="../media/image67.png"/><Relationship Id="rId4" Type="http://schemas.openxmlformats.org/officeDocument/2006/relationships/image" Target="../media/image66.jpg"/></Relationships>
</file>

<file path=ppt/slides/_rels/slide37.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56.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6.jpg"/></Relationships>
</file>

<file path=ppt/slides/_rels/slide3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56.xml"/><Relationship Id="rId5" Type="http://schemas.openxmlformats.org/officeDocument/2006/relationships/image" Target="../media/image71.png"/><Relationship Id="rId4" Type="http://schemas.openxmlformats.org/officeDocument/2006/relationships/image" Target="../media/image70.jpg"/></Relationships>
</file>

<file path=ppt/slides/_rels/slide3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jpg"/><Relationship Id="rId1" Type="http://schemas.openxmlformats.org/officeDocument/2006/relationships/slideLayout" Target="../slideLayouts/slideLayout58.xml"/></Relationships>
</file>

<file path=ppt/slides/_rels/slide4.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jpg"/><Relationship Id="rId1" Type="http://schemas.openxmlformats.org/officeDocument/2006/relationships/slideLayout" Target="../slideLayouts/slideLayout58.xml"/></Relationships>
</file>

<file path=ppt/slides/_rels/slide41.xml.rels><?xml version="1.0" encoding="UTF-8" standalone="yes"?>
<Relationships xmlns="http://schemas.openxmlformats.org/package/2006/relationships"><Relationship Id="rId3" Type="http://schemas.openxmlformats.org/officeDocument/2006/relationships/image" Target="../media/image77.jpg"/><Relationship Id="rId2" Type="http://schemas.openxmlformats.org/officeDocument/2006/relationships/image" Target="../media/image76.jpg"/><Relationship Id="rId1" Type="http://schemas.openxmlformats.org/officeDocument/2006/relationships/slideLayout" Target="../slideLayouts/slideLayout58.xml"/></Relationships>
</file>

<file path=ppt/slides/_rels/slide42.xml.rels><?xml version="1.0" encoding="UTF-8" standalone="yes"?>
<Relationships xmlns="http://schemas.openxmlformats.org/package/2006/relationships"><Relationship Id="rId2" Type="http://schemas.openxmlformats.org/officeDocument/2006/relationships/image" Target="../media/image78.jpg"/><Relationship Id="rId1" Type="http://schemas.openxmlformats.org/officeDocument/2006/relationships/slideLayout" Target="../slideLayouts/slideLayout58.xml"/></Relationships>
</file>

<file path=ppt/slides/_rels/slide43.xml.rels><?xml version="1.0" encoding="UTF-8" standalone="yes"?>
<Relationships xmlns="http://schemas.openxmlformats.org/package/2006/relationships"><Relationship Id="rId2" Type="http://schemas.openxmlformats.org/officeDocument/2006/relationships/image" Target="../media/image79.jpg"/><Relationship Id="rId1" Type="http://schemas.openxmlformats.org/officeDocument/2006/relationships/slideLayout" Target="../slideLayouts/slideLayout58.xml"/></Relationships>
</file>

<file path=ppt/slides/_rels/slide44.xml.rels><?xml version="1.0" encoding="UTF-8" standalone="yes"?>
<Relationships xmlns="http://schemas.openxmlformats.org/package/2006/relationships"><Relationship Id="rId8" Type="http://schemas.openxmlformats.org/officeDocument/2006/relationships/image" Target="../media/image86.jpg"/><Relationship Id="rId3" Type="http://schemas.openxmlformats.org/officeDocument/2006/relationships/image" Target="../media/image81.jpg"/><Relationship Id="rId7" Type="http://schemas.openxmlformats.org/officeDocument/2006/relationships/image" Target="../media/image85.png"/><Relationship Id="rId2" Type="http://schemas.openxmlformats.org/officeDocument/2006/relationships/image" Target="../media/image80.jpg"/><Relationship Id="rId1" Type="http://schemas.openxmlformats.org/officeDocument/2006/relationships/slideLayout" Target="../slideLayouts/slideLayout56.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5.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57.xml"/></Relationships>
</file>

<file path=ppt/slides/_rels/slide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00.xml"/><Relationship Id="rId4" Type="http://schemas.openxmlformats.org/officeDocument/2006/relationships/image" Target="../media/image37.jpeg"/></Relationships>
</file>

<file path=ppt/slides/_rels/slide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91.xml"/></Relationships>
</file>

<file path=ppt/slides/_rels/slide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00.xml"/></Relationships>
</file>

<file path=ppt/slides/_rels/slide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0.png"/><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9D9B4CF-8782-410E-A46F-FA6CA9F316D6}"/>
              </a:ext>
            </a:extLst>
          </p:cNvPr>
          <p:cNvSpPr>
            <a:spLocks noGrp="1"/>
          </p:cNvSpPr>
          <p:nvPr>
            <p:ph type="sldNum" sz="quarter" idx="12"/>
          </p:nvPr>
        </p:nvSpPr>
        <p:spPr/>
        <p:txBody>
          <a:bodyPr/>
          <a:lstStyle/>
          <a:p>
            <a:pPr defTabSz="685778"/>
            <a:fld id="{89006F1E-66CD-4A4B-9370-B4A3080F0E6C}" type="slidenum">
              <a:rPr lang="en-US">
                <a:solidFill>
                  <a:srgbClr val="545859"/>
                </a:solidFill>
                <a:latin typeface="Arial" panose="020B0604020202020204"/>
                <a:cs typeface="Arial" charset="0"/>
              </a:rPr>
              <a:pPr defTabSz="685778"/>
              <a:t>1</a:t>
            </a:fld>
            <a:endParaRPr lang="en-US">
              <a:solidFill>
                <a:srgbClr val="545859"/>
              </a:solidFill>
              <a:latin typeface="Arial" panose="020B0604020202020204"/>
              <a:cs typeface="Arial" charset="0"/>
            </a:endParaRPr>
          </a:p>
        </p:txBody>
      </p:sp>
      <p:sp>
        <p:nvSpPr>
          <p:cNvPr id="3" name="Text Placeholder 2">
            <a:extLst>
              <a:ext uri="{FF2B5EF4-FFF2-40B4-BE49-F238E27FC236}">
                <a16:creationId xmlns:a16="http://schemas.microsoft.com/office/drawing/2014/main" id="{5E40A20E-2DAA-4210-B59A-D499BB9B7ECB}"/>
              </a:ext>
            </a:extLst>
          </p:cNvPr>
          <p:cNvSpPr>
            <a:spLocks noGrp="1"/>
          </p:cNvSpPr>
          <p:nvPr>
            <p:ph type="body" sz="quarter" idx="10"/>
          </p:nvPr>
        </p:nvSpPr>
        <p:spPr>
          <a:xfrm>
            <a:off x="409331" y="4855028"/>
            <a:ext cx="6477000" cy="840690"/>
          </a:xfrm>
        </p:spPr>
        <p:txBody>
          <a:bodyPr>
            <a:noAutofit/>
          </a:bodyPr>
          <a:lstStyle/>
          <a:p>
            <a:r>
              <a:rPr lang="en-US" sz="1600"/>
              <a:t>ĐINH THÀNH PHƯỚC</a:t>
            </a:r>
          </a:p>
          <a:p>
            <a:r>
              <a:rPr lang="en-US" sz="1400" i="1"/>
              <a:t>Nhân viên ứng dụng công ty cổ phần thiết bị Sài Gòn</a:t>
            </a:r>
          </a:p>
        </p:txBody>
      </p:sp>
      <p:sp>
        <p:nvSpPr>
          <p:cNvPr id="6" name="TextBox 5">
            <a:extLst>
              <a:ext uri="{FF2B5EF4-FFF2-40B4-BE49-F238E27FC236}">
                <a16:creationId xmlns:a16="http://schemas.microsoft.com/office/drawing/2014/main" id="{CA826331-295D-473D-A087-0ABC57D9A013}"/>
              </a:ext>
            </a:extLst>
          </p:cNvPr>
          <p:cNvSpPr txBox="1"/>
          <p:nvPr/>
        </p:nvSpPr>
        <p:spPr>
          <a:xfrm>
            <a:off x="1153159" y="1486784"/>
            <a:ext cx="7809740" cy="1341136"/>
          </a:xfrm>
          <a:prstGeom prst="rect">
            <a:avLst/>
          </a:prstGeom>
          <a:noFill/>
        </p:spPr>
        <p:txBody>
          <a:bodyPr wrap="square" rtlCol="0">
            <a:spAutoFit/>
          </a:bodyPr>
          <a:lstStyle/>
          <a:p>
            <a:pPr algn="ctr" defTabSz="829361" fontAlgn="base">
              <a:lnSpc>
                <a:spcPct val="150000"/>
              </a:lnSpc>
              <a:spcBef>
                <a:spcPct val="0"/>
              </a:spcBef>
              <a:spcAft>
                <a:spcPct val="0"/>
              </a:spcAft>
            </a:pPr>
            <a:r>
              <a:rPr lang="en-US" sz="2902" b="1">
                <a:solidFill>
                  <a:srgbClr val="222222"/>
                </a:solidFill>
                <a:latin typeface="Tahoma" panose="020B0604030504040204" pitchFamily="34" charset="0"/>
                <a:ea typeface="Tahoma" panose="020B0604030504040204" pitchFamily="34" charset="0"/>
                <a:cs typeface="Tahoma" panose="020B0604030504040204" pitchFamily="34" charset="0"/>
              </a:rPr>
              <a:t>CÔNG NGHỆ VÀ ỨNG DỤNG </a:t>
            </a:r>
            <a:endParaRPr lang="en-US" sz="2902" b="1">
              <a:solidFill>
                <a:srgbClr val="FF0000"/>
              </a:solidFill>
              <a:latin typeface="Tahoma" panose="020B0604030504040204" pitchFamily="34" charset="0"/>
              <a:ea typeface="Tahoma" panose="020B0604030504040204" pitchFamily="34" charset="0"/>
              <a:cs typeface="Tahoma" panose="020B0604030504040204" pitchFamily="34" charset="0"/>
            </a:endParaRPr>
          </a:p>
          <a:p>
            <a:pPr algn="ctr" defTabSz="829361" fontAlgn="base">
              <a:lnSpc>
                <a:spcPct val="150000"/>
              </a:lnSpc>
              <a:spcBef>
                <a:spcPct val="0"/>
              </a:spcBef>
              <a:spcAft>
                <a:spcPct val="0"/>
              </a:spcAft>
            </a:pPr>
            <a:r>
              <a:rPr lang="en-US" sz="2902" b="1">
                <a:solidFill>
                  <a:srgbClr val="FF0000"/>
                </a:solidFill>
                <a:latin typeface="Tahoma" panose="020B0604030504040204" pitchFamily="34" charset="0"/>
                <a:ea typeface="Tahoma" panose="020B0604030504040204" pitchFamily="34" charset="0"/>
                <a:cs typeface="Tahoma" panose="020B0604030504040204" pitchFamily="34" charset="0"/>
              </a:rPr>
              <a:t>KĨ THUẬT MICROARRAY</a:t>
            </a:r>
          </a:p>
        </p:txBody>
      </p:sp>
      <p:sp>
        <p:nvSpPr>
          <p:cNvPr id="4" name="Rectangle 3">
            <a:extLst>
              <a:ext uri="{FF2B5EF4-FFF2-40B4-BE49-F238E27FC236}">
                <a16:creationId xmlns:a16="http://schemas.microsoft.com/office/drawing/2014/main" id="{21B2E0BD-5702-FB46-D0B9-55133168774D}"/>
              </a:ext>
            </a:extLst>
          </p:cNvPr>
          <p:cNvSpPr/>
          <p:nvPr/>
        </p:nvSpPr>
        <p:spPr bwMode="auto">
          <a:xfrm>
            <a:off x="233265" y="0"/>
            <a:ext cx="2836506" cy="1162282"/>
          </a:xfrm>
          <a:prstGeom prst="rect">
            <a:avLst/>
          </a:prstGeom>
          <a:solidFill>
            <a:schemeClr val="bg1"/>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1800" dirty="0">
              <a:latin typeface="Arial" pitchFamily="124" charset="0"/>
            </a:endParaRPr>
          </a:p>
        </p:txBody>
      </p:sp>
      <p:sp>
        <p:nvSpPr>
          <p:cNvPr id="5" name="Rectangle 4">
            <a:extLst>
              <a:ext uri="{FF2B5EF4-FFF2-40B4-BE49-F238E27FC236}">
                <a16:creationId xmlns:a16="http://schemas.microsoft.com/office/drawing/2014/main" id="{FCE22047-FD1E-FFAC-8906-C234A477BFE2}"/>
              </a:ext>
            </a:extLst>
          </p:cNvPr>
          <p:cNvSpPr/>
          <p:nvPr/>
        </p:nvSpPr>
        <p:spPr bwMode="auto">
          <a:xfrm>
            <a:off x="233265" y="6022292"/>
            <a:ext cx="3887756" cy="530910"/>
          </a:xfrm>
          <a:prstGeom prst="rect">
            <a:avLst/>
          </a:prstGeom>
          <a:solidFill>
            <a:schemeClr val="bg1"/>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1800" dirty="0">
              <a:latin typeface="Arial" pitchFamily="124" charset="0"/>
            </a:endParaRPr>
          </a:p>
        </p:txBody>
      </p:sp>
      <p:sp>
        <p:nvSpPr>
          <p:cNvPr id="7" name="Rectangle 6">
            <a:extLst>
              <a:ext uri="{FF2B5EF4-FFF2-40B4-BE49-F238E27FC236}">
                <a16:creationId xmlns:a16="http://schemas.microsoft.com/office/drawing/2014/main" id="{68631B19-E50E-330F-74F7-13A19F13209E}"/>
              </a:ext>
            </a:extLst>
          </p:cNvPr>
          <p:cNvSpPr/>
          <p:nvPr/>
        </p:nvSpPr>
        <p:spPr bwMode="auto">
          <a:xfrm>
            <a:off x="0" y="0"/>
            <a:ext cx="12192000" cy="653143"/>
          </a:xfrm>
          <a:prstGeom prst="rect">
            <a:avLst/>
          </a:prstGeom>
          <a:solidFill>
            <a:schemeClr val="tx2"/>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1800" dirty="0">
              <a:latin typeface="Arial" pitchFamily="124" charset="0"/>
            </a:endParaRPr>
          </a:p>
        </p:txBody>
      </p:sp>
    </p:spTree>
    <p:extLst>
      <p:ext uri="{BB962C8B-B14F-4D97-AF65-F5344CB8AC3E}">
        <p14:creationId xmlns:p14="http://schemas.microsoft.com/office/powerpoint/2010/main" val="37603548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59A237B8-503D-5468-C995-758E32B5CCB9}"/>
              </a:ext>
            </a:extLst>
          </p:cNvPr>
          <p:cNvSpPr>
            <a:spLocks noGrp="1"/>
          </p:cNvSpPr>
          <p:nvPr>
            <p:ph type="title"/>
          </p:nvPr>
        </p:nvSpPr>
        <p:spPr>
          <a:xfrm>
            <a:off x="2453373" y="518160"/>
            <a:ext cx="6893828" cy="667184"/>
          </a:xfrm>
        </p:spPr>
        <p:txBody>
          <a:bodyPr/>
          <a:lstStyle/>
          <a:p>
            <a:pPr algn="l"/>
            <a:r>
              <a:rPr lang="en-US" b="1" i="0">
                <a:solidFill>
                  <a:srgbClr val="0F0F0F"/>
                </a:solidFill>
                <a:effectLst/>
                <a:latin typeface="YouTube Sans"/>
              </a:rPr>
              <a:t>BeadArray technology</a:t>
            </a:r>
          </a:p>
        </p:txBody>
      </p:sp>
      <p:pic>
        <p:nvPicPr>
          <p:cNvPr id="2050" name="Picture 2" descr="Illumina Microarray Technology">
            <a:extLst>
              <a:ext uri="{FF2B5EF4-FFF2-40B4-BE49-F238E27FC236}">
                <a16:creationId xmlns:a16="http://schemas.microsoft.com/office/drawing/2014/main" id="{78A1D955-ECC5-5FC4-08E8-86BCA1E806D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62330" y="1472976"/>
            <a:ext cx="7010400" cy="4524375"/>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Bead-Based Microarrays">
            <a:extLst>
              <a:ext uri="{FF2B5EF4-FFF2-40B4-BE49-F238E27FC236}">
                <a16:creationId xmlns:a16="http://schemas.microsoft.com/office/drawing/2014/main" id="{E795422C-A87E-F69E-46F0-4FEE0A8189B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6134" r="32609"/>
          <a:stretch/>
        </p:blipFill>
        <p:spPr bwMode="auto">
          <a:xfrm>
            <a:off x="974033" y="1185344"/>
            <a:ext cx="3260036" cy="50996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57889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89006F1E-66CD-4A4B-9370-B4A3080F0E6C}" type="slidenum">
              <a:rPr lang="en-US" smtClean="0"/>
              <a:pPr/>
              <a:t>11</a:t>
            </a:fld>
            <a:endParaRPr lang="en-US" dirty="0"/>
          </a:p>
        </p:txBody>
      </p:sp>
      <p:sp>
        <p:nvSpPr>
          <p:cNvPr id="5" name="Text Placeholder 4"/>
          <p:cNvSpPr>
            <a:spLocks noGrp="1"/>
          </p:cNvSpPr>
          <p:nvPr>
            <p:ph type="body" sz="quarter" idx="17"/>
          </p:nvPr>
        </p:nvSpPr>
        <p:spPr>
          <a:xfrm>
            <a:off x="637660" y="2257386"/>
            <a:ext cx="9812626" cy="2258630"/>
          </a:xfrm>
        </p:spPr>
        <p:txBody>
          <a:bodyPr>
            <a:normAutofit/>
          </a:bodyPr>
          <a:lstStyle/>
          <a:p>
            <a:pPr marL="70553" marR="0" lvl="0" indent="0" algn="l" defTabSz="945990" rtl="0" eaLnBrk="0" fontAlgn="base" latinLnBrk="0" hangingPunct="0">
              <a:lnSpc>
                <a:spcPct val="100000"/>
              </a:lnSpc>
              <a:spcBef>
                <a:spcPct val="20000"/>
              </a:spcBef>
              <a:spcAft>
                <a:spcPct val="0"/>
              </a:spcAft>
              <a:buClr>
                <a:srgbClr val="94C600"/>
              </a:buClr>
              <a:buSzPct val="76000"/>
              <a:buFont typeface="Wingdings 2" pitchFamily="18" charset="2"/>
              <a:buNone/>
              <a:tabLst/>
              <a:defRPr/>
            </a:pPr>
            <a:r>
              <a:rPr kumimoji="0" lang="en-US" sz="4800" b="1" i="0" u="none" strike="noStrike" kern="1200" cap="none" spc="0" normalizeH="0" baseline="0" noProof="0">
                <a:ln>
                  <a:noFill/>
                </a:ln>
                <a:solidFill>
                  <a:srgbClr val="FF0000"/>
                </a:solidFill>
                <a:effectLst>
                  <a:outerShdw blurRad="38100" dist="38100" dir="2700000" algn="tl">
                    <a:srgbClr val="000000">
                      <a:alpha val="43137"/>
                    </a:srgbClr>
                  </a:outerShdw>
                </a:effectLst>
                <a:uLnTx/>
                <a:uFillTx/>
                <a:latin typeface="Tahoma" panose="020B0604030504040204" pitchFamily="34" charset="0"/>
                <a:ea typeface="Tahoma" panose="020B0604030504040204" pitchFamily="34" charset="0"/>
                <a:cs typeface="Tahoma" panose="020B0604030504040204" pitchFamily="34" charset="0"/>
              </a:rPr>
              <a:t>QUY TRÌNH THỰC HIỆN CMA</a:t>
            </a:r>
          </a:p>
        </p:txBody>
      </p:sp>
      <p:sp>
        <p:nvSpPr>
          <p:cNvPr id="4" name="Rectangle 3">
            <a:extLst>
              <a:ext uri="{FF2B5EF4-FFF2-40B4-BE49-F238E27FC236}">
                <a16:creationId xmlns:a16="http://schemas.microsoft.com/office/drawing/2014/main" id="{C399223E-A88E-ED12-1C3D-F713F75D9105}"/>
              </a:ext>
            </a:extLst>
          </p:cNvPr>
          <p:cNvSpPr/>
          <p:nvPr/>
        </p:nvSpPr>
        <p:spPr>
          <a:xfrm>
            <a:off x="0" y="0"/>
            <a:ext cx="12192000" cy="9144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31885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0F02B28-D4F3-18D9-89AD-7D2233651490}"/>
              </a:ext>
            </a:extLst>
          </p:cNvPr>
          <p:cNvPicPr>
            <a:picLocks noChangeAspect="1"/>
          </p:cNvPicPr>
          <p:nvPr/>
        </p:nvPicPr>
        <p:blipFill rotWithShape="1">
          <a:blip r:embed="rId2"/>
          <a:srcRect t="13424" r="883" b="1"/>
          <a:stretch/>
        </p:blipFill>
        <p:spPr>
          <a:xfrm>
            <a:off x="0" y="867747"/>
            <a:ext cx="12192000" cy="5990254"/>
          </a:xfrm>
          <a:prstGeom prst="rect">
            <a:avLst/>
          </a:prstGeom>
        </p:spPr>
      </p:pic>
      <p:sp>
        <p:nvSpPr>
          <p:cNvPr id="2" name="Rectangle 1">
            <a:extLst>
              <a:ext uri="{FF2B5EF4-FFF2-40B4-BE49-F238E27FC236}">
                <a16:creationId xmlns:a16="http://schemas.microsoft.com/office/drawing/2014/main" id="{00993140-FC08-7773-E1B4-28BF8C18745B}"/>
              </a:ext>
            </a:extLst>
          </p:cNvPr>
          <p:cNvSpPr/>
          <p:nvPr/>
        </p:nvSpPr>
        <p:spPr>
          <a:xfrm>
            <a:off x="0" y="0"/>
            <a:ext cx="12192000" cy="933061"/>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800" b="1">
                <a:latin typeface="Tahoma" panose="020B0604030504040204" pitchFamily="34" charset="0"/>
                <a:ea typeface="Tahoma" panose="020B0604030504040204" pitchFamily="34" charset="0"/>
                <a:cs typeface="Tahoma" panose="020B0604030504040204" pitchFamily="34" charset="0"/>
              </a:rPr>
              <a:t>QUY TRÌNH THỰC HIỆN MICROARRAY</a:t>
            </a:r>
          </a:p>
        </p:txBody>
      </p:sp>
    </p:spTree>
    <p:extLst>
      <p:ext uri="{BB962C8B-B14F-4D97-AF65-F5344CB8AC3E}">
        <p14:creationId xmlns:p14="http://schemas.microsoft.com/office/powerpoint/2010/main" val="22237046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5C20DEA-50C6-B6CE-3117-0DC43EF3875E}"/>
              </a:ext>
            </a:extLst>
          </p:cNvPr>
          <p:cNvPicPr>
            <a:picLocks noChangeAspect="1"/>
          </p:cNvPicPr>
          <p:nvPr/>
        </p:nvPicPr>
        <p:blipFill rotWithShape="1">
          <a:blip r:embed="rId2"/>
          <a:srcRect t="8417" b="9250"/>
          <a:stretch/>
        </p:blipFill>
        <p:spPr>
          <a:xfrm>
            <a:off x="172616" y="533400"/>
            <a:ext cx="11846768" cy="5486399"/>
          </a:xfrm>
          <a:prstGeom prst="rect">
            <a:avLst/>
          </a:prstGeom>
        </p:spPr>
      </p:pic>
      <p:sp>
        <p:nvSpPr>
          <p:cNvPr id="3" name="Title 1">
            <a:extLst>
              <a:ext uri="{FF2B5EF4-FFF2-40B4-BE49-F238E27FC236}">
                <a16:creationId xmlns:a16="http://schemas.microsoft.com/office/drawing/2014/main" id="{78DFAC94-5928-3163-4879-D27B451D3DB8}"/>
              </a:ext>
            </a:extLst>
          </p:cNvPr>
          <p:cNvSpPr>
            <a:spLocks noGrp="1"/>
          </p:cNvSpPr>
          <p:nvPr>
            <p:ph type="title"/>
          </p:nvPr>
        </p:nvSpPr>
        <p:spPr>
          <a:xfrm>
            <a:off x="0" y="0"/>
            <a:ext cx="12192000" cy="597159"/>
          </a:xfrm>
        </p:spPr>
        <p:txBody>
          <a:bodyPr>
            <a:normAutofit fontScale="90000"/>
          </a:bodyPr>
          <a:lstStyle/>
          <a:p>
            <a:r>
              <a:rPr lang="en-US"/>
              <a:t> </a:t>
            </a:r>
          </a:p>
        </p:txBody>
      </p:sp>
    </p:spTree>
    <p:extLst>
      <p:ext uri="{BB962C8B-B14F-4D97-AF65-F5344CB8AC3E}">
        <p14:creationId xmlns:p14="http://schemas.microsoft.com/office/powerpoint/2010/main" val="292999035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B506066-7D70-86AB-E250-C817917F1806}"/>
              </a:ext>
            </a:extLst>
          </p:cNvPr>
          <p:cNvPicPr>
            <a:picLocks noChangeAspect="1"/>
          </p:cNvPicPr>
          <p:nvPr/>
        </p:nvPicPr>
        <p:blipFill rotWithShape="1">
          <a:blip r:embed="rId2"/>
          <a:srcRect t="8198" b="14408"/>
          <a:stretch/>
        </p:blipFill>
        <p:spPr>
          <a:xfrm>
            <a:off x="597159" y="1527109"/>
            <a:ext cx="10997682" cy="4788515"/>
          </a:xfrm>
          <a:prstGeom prst="rect">
            <a:avLst/>
          </a:prstGeom>
        </p:spPr>
      </p:pic>
      <p:pic>
        <p:nvPicPr>
          <p:cNvPr id="2" name="Picture 1">
            <a:extLst>
              <a:ext uri="{FF2B5EF4-FFF2-40B4-BE49-F238E27FC236}">
                <a16:creationId xmlns:a16="http://schemas.microsoft.com/office/drawing/2014/main" id="{AFD71FAD-6588-9CEF-1834-BEA1FF034D01}"/>
              </a:ext>
            </a:extLst>
          </p:cNvPr>
          <p:cNvPicPr>
            <a:picLocks noChangeAspect="1"/>
          </p:cNvPicPr>
          <p:nvPr/>
        </p:nvPicPr>
        <p:blipFill rotWithShape="1">
          <a:blip r:embed="rId2"/>
          <a:srcRect r="10181" b="92757"/>
          <a:stretch/>
        </p:blipFill>
        <p:spPr>
          <a:xfrm>
            <a:off x="1523999" y="774157"/>
            <a:ext cx="9878008" cy="448152"/>
          </a:xfrm>
          <a:prstGeom prst="rect">
            <a:avLst/>
          </a:prstGeom>
        </p:spPr>
      </p:pic>
      <p:sp>
        <p:nvSpPr>
          <p:cNvPr id="5" name="Title 1">
            <a:extLst>
              <a:ext uri="{FF2B5EF4-FFF2-40B4-BE49-F238E27FC236}">
                <a16:creationId xmlns:a16="http://schemas.microsoft.com/office/drawing/2014/main" id="{55042192-B18B-D3CB-55CF-CDE4F07CFE08}"/>
              </a:ext>
            </a:extLst>
          </p:cNvPr>
          <p:cNvSpPr>
            <a:spLocks noGrp="1"/>
          </p:cNvSpPr>
          <p:nvPr>
            <p:ph type="title"/>
          </p:nvPr>
        </p:nvSpPr>
        <p:spPr>
          <a:xfrm>
            <a:off x="0" y="0"/>
            <a:ext cx="12192000" cy="597159"/>
          </a:xfrm>
        </p:spPr>
        <p:txBody>
          <a:bodyPr>
            <a:normAutofit fontScale="90000"/>
          </a:bodyPr>
          <a:lstStyle/>
          <a:p>
            <a:r>
              <a:rPr lang="en-US"/>
              <a:t> </a:t>
            </a:r>
          </a:p>
        </p:txBody>
      </p:sp>
    </p:spTree>
    <p:extLst>
      <p:ext uri="{BB962C8B-B14F-4D97-AF65-F5344CB8AC3E}">
        <p14:creationId xmlns:p14="http://schemas.microsoft.com/office/powerpoint/2010/main" val="104640737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B65E14F-6F2C-8214-8D42-F3EA437D869C}"/>
              </a:ext>
            </a:extLst>
          </p:cNvPr>
          <p:cNvPicPr>
            <a:picLocks noChangeAspect="1"/>
          </p:cNvPicPr>
          <p:nvPr/>
        </p:nvPicPr>
        <p:blipFill rotWithShape="1">
          <a:blip r:embed="rId2"/>
          <a:srcRect b="9387"/>
          <a:stretch/>
        </p:blipFill>
        <p:spPr>
          <a:xfrm>
            <a:off x="445798" y="1013289"/>
            <a:ext cx="11300403" cy="5760735"/>
          </a:xfrm>
          <a:prstGeom prst="rect">
            <a:avLst/>
          </a:prstGeom>
        </p:spPr>
      </p:pic>
      <p:sp>
        <p:nvSpPr>
          <p:cNvPr id="2" name="Title 1">
            <a:extLst>
              <a:ext uri="{FF2B5EF4-FFF2-40B4-BE49-F238E27FC236}">
                <a16:creationId xmlns:a16="http://schemas.microsoft.com/office/drawing/2014/main" id="{DC8A92D3-9AAE-4681-262A-03418EBE8D07}"/>
              </a:ext>
            </a:extLst>
          </p:cNvPr>
          <p:cNvSpPr>
            <a:spLocks noGrp="1"/>
          </p:cNvSpPr>
          <p:nvPr>
            <p:ph type="title"/>
          </p:nvPr>
        </p:nvSpPr>
        <p:spPr>
          <a:xfrm>
            <a:off x="0" y="0"/>
            <a:ext cx="12192000" cy="597159"/>
          </a:xfrm>
        </p:spPr>
        <p:txBody>
          <a:bodyPr>
            <a:normAutofit fontScale="90000"/>
          </a:bodyPr>
          <a:lstStyle/>
          <a:p>
            <a:r>
              <a:rPr lang="en-US"/>
              <a:t> </a:t>
            </a:r>
          </a:p>
        </p:txBody>
      </p:sp>
    </p:spTree>
    <p:extLst>
      <p:ext uri="{BB962C8B-B14F-4D97-AF65-F5344CB8AC3E}">
        <p14:creationId xmlns:p14="http://schemas.microsoft.com/office/powerpoint/2010/main" val="348353039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742D20F-CCC0-B8B1-FD42-61319C073A89}"/>
              </a:ext>
            </a:extLst>
          </p:cNvPr>
          <p:cNvPicPr>
            <a:picLocks noChangeAspect="1"/>
          </p:cNvPicPr>
          <p:nvPr/>
        </p:nvPicPr>
        <p:blipFill rotWithShape="1">
          <a:blip r:embed="rId2"/>
          <a:srcRect b="15102"/>
          <a:stretch/>
        </p:blipFill>
        <p:spPr>
          <a:xfrm>
            <a:off x="849609" y="1090521"/>
            <a:ext cx="10492782" cy="5011699"/>
          </a:xfrm>
          <a:prstGeom prst="rect">
            <a:avLst/>
          </a:prstGeom>
        </p:spPr>
      </p:pic>
      <p:sp>
        <p:nvSpPr>
          <p:cNvPr id="4" name="Title 1">
            <a:extLst>
              <a:ext uri="{FF2B5EF4-FFF2-40B4-BE49-F238E27FC236}">
                <a16:creationId xmlns:a16="http://schemas.microsoft.com/office/drawing/2014/main" id="{3C34A26A-F3C6-833A-3DCA-4E1B58B9F60A}"/>
              </a:ext>
            </a:extLst>
          </p:cNvPr>
          <p:cNvSpPr>
            <a:spLocks noGrp="1"/>
          </p:cNvSpPr>
          <p:nvPr>
            <p:ph type="title"/>
          </p:nvPr>
        </p:nvSpPr>
        <p:spPr>
          <a:xfrm>
            <a:off x="0" y="0"/>
            <a:ext cx="12192000" cy="597159"/>
          </a:xfrm>
        </p:spPr>
        <p:txBody>
          <a:bodyPr>
            <a:normAutofit fontScale="90000"/>
          </a:bodyPr>
          <a:lstStyle/>
          <a:p>
            <a:r>
              <a:rPr lang="en-US"/>
              <a:t> </a:t>
            </a:r>
          </a:p>
        </p:txBody>
      </p:sp>
    </p:spTree>
    <p:extLst>
      <p:ext uri="{BB962C8B-B14F-4D97-AF65-F5344CB8AC3E}">
        <p14:creationId xmlns:p14="http://schemas.microsoft.com/office/powerpoint/2010/main" val="1292082942"/>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A819BE8-7227-6CC4-3BEE-95B266A51A01}"/>
              </a:ext>
            </a:extLst>
          </p:cNvPr>
          <p:cNvPicPr>
            <a:picLocks noChangeAspect="1"/>
          </p:cNvPicPr>
          <p:nvPr/>
        </p:nvPicPr>
        <p:blipFill rotWithShape="1">
          <a:blip r:embed="rId2"/>
          <a:srcRect b="7866"/>
          <a:stretch/>
        </p:blipFill>
        <p:spPr>
          <a:xfrm>
            <a:off x="928263" y="609702"/>
            <a:ext cx="10880035" cy="5638595"/>
          </a:xfrm>
          <a:prstGeom prst="rect">
            <a:avLst/>
          </a:prstGeom>
        </p:spPr>
      </p:pic>
      <p:sp>
        <p:nvSpPr>
          <p:cNvPr id="2" name="Rectangle 1">
            <a:extLst>
              <a:ext uri="{FF2B5EF4-FFF2-40B4-BE49-F238E27FC236}">
                <a16:creationId xmlns:a16="http://schemas.microsoft.com/office/drawing/2014/main" id="{CCF2A7A3-42E6-9775-B5B0-1039B26E4036}"/>
              </a:ext>
            </a:extLst>
          </p:cNvPr>
          <p:cNvSpPr/>
          <p:nvPr/>
        </p:nvSpPr>
        <p:spPr>
          <a:xfrm>
            <a:off x="9190653" y="326571"/>
            <a:ext cx="2733869" cy="111967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879420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73C201E-3BB3-4B7C-A280-98E24F95D968}"/>
              </a:ext>
            </a:extLst>
          </p:cNvPr>
          <p:cNvPicPr>
            <a:picLocks noChangeAspect="1"/>
          </p:cNvPicPr>
          <p:nvPr/>
        </p:nvPicPr>
        <p:blipFill>
          <a:blip r:embed="rId2"/>
          <a:stretch>
            <a:fillRect/>
          </a:stretch>
        </p:blipFill>
        <p:spPr>
          <a:xfrm>
            <a:off x="1483360" y="741679"/>
            <a:ext cx="9885680" cy="5560695"/>
          </a:xfrm>
          <a:prstGeom prst="rect">
            <a:avLst/>
          </a:prstGeom>
        </p:spPr>
      </p:pic>
      <p:sp>
        <p:nvSpPr>
          <p:cNvPr id="2" name="Rectangle 1">
            <a:extLst>
              <a:ext uri="{FF2B5EF4-FFF2-40B4-BE49-F238E27FC236}">
                <a16:creationId xmlns:a16="http://schemas.microsoft.com/office/drawing/2014/main" id="{0A988BC1-4B25-5A10-1DCF-099A61AB345B}"/>
              </a:ext>
            </a:extLst>
          </p:cNvPr>
          <p:cNvSpPr/>
          <p:nvPr/>
        </p:nvSpPr>
        <p:spPr>
          <a:xfrm>
            <a:off x="9190653" y="326571"/>
            <a:ext cx="2733869" cy="111967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247417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C883BEE-768C-9646-44E4-1ABE315B7968}"/>
              </a:ext>
            </a:extLst>
          </p:cNvPr>
          <p:cNvPicPr>
            <a:picLocks noChangeAspect="1"/>
          </p:cNvPicPr>
          <p:nvPr/>
        </p:nvPicPr>
        <p:blipFill rotWithShape="1">
          <a:blip r:embed="rId2"/>
          <a:srcRect b="21926"/>
          <a:stretch/>
        </p:blipFill>
        <p:spPr>
          <a:xfrm>
            <a:off x="108622" y="263906"/>
            <a:ext cx="11974755" cy="5259816"/>
          </a:xfrm>
          <a:prstGeom prst="rect">
            <a:avLst/>
          </a:prstGeom>
        </p:spPr>
      </p:pic>
      <p:sp>
        <p:nvSpPr>
          <p:cNvPr id="6" name="TextBox 5">
            <a:extLst>
              <a:ext uri="{FF2B5EF4-FFF2-40B4-BE49-F238E27FC236}">
                <a16:creationId xmlns:a16="http://schemas.microsoft.com/office/drawing/2014/main" id="{17F69715-3EB3-93AE-BE93-ECC408246330}"/>
              </a:ext>
            </a:extLst>
          </p:cNvPr>
          <p:cNvSpPr txBox="1"/>
          <p:nvPr/>
        </p:nvSpPr>
        <p:spPr>
          <a:xfrm>
            <a:off x="292049" y="6006263"/>
            <a:ext cx="11607901" cy="43088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a:ln>
                  <a:noFill/>
                </a:ln>
                <a:solidFill>
                  <a:srgbClr val="FF0000"/>
                </a:solidFill>
                <a:effectLst/>
                <a:uLnTx/>
                <a:uFillTx/>
                <a:latin typeface="Tw Cen MT" panose="020B0602020104020603"/>
                <a:ea typeface="+mn-ea"/>
                <a:cs typeface="+mn-cs"/>
                <a:hlinkClick r:id="rId3"/>
              </a:rPr>
              <a:t>https://www.thermofisher.com/ae/en/home/life-science/microarray-analysis/microarray-analysis-instruments-software-services/microarray-analysis-software/chromosome-analysis-suite.html</a:t>
            </a:r>
            <a:endParaRPr kumimoji="0" lang="en-US" sz="1100" b="1" i="1" u="none" strike="noStrike" kern="1200" cap="none" spc="0" normalizeH="0" baseline="0" noProof="0">
              <a:ln>
                <a:noFill/>
              </a:ln>
              <a:solidFill>
                <a:srgbClr val="FF0000"/>
              </a:solidFill>
              <a:effectLst/>
              <a:uLnTx/>
              <a:uFillTx/>
              <a:latin typeface="Tw Cen MT" panose="020B0602020104020603"/>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1" u="none" strike="noStrike" kern="1200" cap="none" spc="0" normalizeH="0" baseline="0" noProof="0">
              <a:ln>
                <a:noFill/>
              </a:ln>
              <a:solidFill>
                <a:srgbClr val="FF0000"/>
              </a:solidFill>
              <a:effectLst/>
              <a:uLnTx/>
              <a:uFillTx/>
              <a:latin typeface="Tw Cen MT" panose="020B0602020104020603"/>
              <a:ea typeface="+mn-ea"/>
              <a:cs typeface="+mn-cs"/>
            </a:endParaRPr>
          </a:p>
        </p:txBody>
      </p:sp>
      <p:sp>
        <p:nvSpPr>
          <p:cNvPr id="2" name="Rectangle 1">
            <a:extLst>
              <a:ext uri="{FF2B5EF4-FFF2-40B4-BE49-F238E27FC236}">
                <a16:creationId xmlns:a16="http://schemas.microsoft.com/office/drawing/2014/main" id="{8EAC57D6-6651-C929-2FE7-E99D83930920}"/>
              </a:ext>
            </a:extLst>
          </p:cNvPr>
          <p:cNvSpPr/>
          <p:nvPr/>
        </p:nvSpPr>
        <p:spPr>
          <a:xfrm>
            <a:off x="9209314" y="263906"/>
            <a:ext cx="2746621" cy="73447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333832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object 18"/>
          <p:cNvSpPr/>
          <p:nvPr/>
        </p:nvSpPr>
        <p:spPr>
          <a:xfrm>
            <a:off x="10296144" y="0"/>
            <a:ext cx="1591055" cy="694944"/>
          </a:xfrm>
          <a:custGeom>
            <a:avLst/>
            <a:gdLst/>
            <a:ahLst/>
            <a:cxnLst/>
            <a:rect l="l" t="t" r="r" b="b"/>
            <a:pathLst>
              <a:path w="1591055" h="694944">
                <a:moveTo>
                  <a:pt x="0" y="694944"/>
                </a:moveTo>
                <a:lnTo>
                  <a:pt x="1591055" y="694944"/>
                </a:lnTo>
                <a:lnTo>
                  <a:pt x="1591055" y="0"/>
                </a:lnTo>
                <a:lnTo>
                  <a:pt x="0" y="0"/>
                </a:lnTo>
                <a:lnTo>
                  <a:pt x="0" y="694944"/>
                </a:lnTo>
                <a:close/>
              </a:path>
            </a:pathLst>
          </a:custGeom>
          <a:solidFill>
            <a:srgbClr val="E71213"/>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9" name="object 19"/>
          <p:cNvSpPr/>
          <p:nvPr/>
        </p:nvSpPr>
        <p:spPr>
          <a:xfrm>
            <a:off x="10894753" y="253816"/>
            <a:ext cx="153332" cy="96098"/>
          </a:xfrm>
          <a:custGeom>
            <a:avLst/>
            <a:gdLst/>
            <a:ahLst/>
            <a:cxnLst/>
            <a:rect l="l" t="t" r="r" b="b"/>
            <a:pathLst>
              <a:path w="153332" h="96098">
                <a:moveTo>
                  <a:pt x="32827" y="36797"/>
                </a:moveTo>
                <a:lnTo>
                  <a:pt x="31531" y="20778"/>
                </a:lnTo>
                <a:lnTo>
                  <a:pt x="57016" y="20778"/>
                </a:lnTo>
                <a:lnTo>
                  <a:pt x="59608" y="29869"/>
                </a:lnTo>
                <a:lnTo>
                  <a:pt x="59608" y="96098"/>
                </a:lnTo>
                <a:lnTo>
                  <a:pt x="92412" y="96098"/>
                </a:lnTo>
                <a:lnTo>
                  <a:pt x="92412" y="36797"/>
                </a:lnTo>
                <a:lnTo>
                  <a:pt x="91145" y="20778"/>
                </a:lnTo>
                <a:lnTo>
                  <a:pt x="116596" y="20778"/>
                </a:lnTo>
                <a:lnTo>
                  <a:pt x="118784" y="29869"/>
                </a:lnTo>
                <a:lnTo>
                  <a:pt x="118784" y="96098"/>
                </a:lnTo>
                <a:lnTo>
                  <a:pt x="153332" y="96098"/>
                </a:lnTo>
                <a:lnTo>
                  <a:pt x="152469" y="87439"/>
                </a:lnTo>
                <a:lnTo>
                  <a:pt x="151605" y="80517"/>
                </a:lnTo>
                <a:lnTo>
                  <a:pt x="151605" y="30734"/>
                </a:lnTo>
                <a:lnTo>
                  <a:pt x="148427" y="16280"/>
                </a:lnTo>
                <a:lnTo>
                  <a:pt x="139786" y="6059"/>
                </a:lnTo>
                <a:lnTo>
                  <a:pt x="127021" y="682"/>
                </a:lnTo>
                <a:lnTo>
                  <a:pt x="119647" y="0"/>
                </a:lnTo>
                <a:lnTo>
                  <a:pt x="106264" y="2519"/>
                </a:lnTo>
                <a:lnTo>
                  <a:pt x="95131" y="9137"/>
                </a:lnTo>
                <a:lnTo>
                  <a:pt x="88957" y="16884"/>
                </a:lnTo>
                <a:lnTo>
                  <a:pt x="80814" y="6340"/>
                </a:lnTo>
                <a:lnTo>
                  <a:pt x="68358" y="1349"/>
                </a:lnTo>
                <a:lnTo>
                  <a:pt x="62631" y="865"/>
                </a:lnTo>
                <a:lnTo>
                  <a:pt x="49206" y="2697"/>
                </a:lnTo>
                <a:lnTo>
                  <a:pt x="38227" y="9078"/>
                </a:lnTo>
                <a:lnTo>
                  <a:pt x="32395" y="16884"/>
                </a:lnTo>
                <a:lnTo>
                  <a:pt x="31963" y="2595"/>
                </a:lnTo>
                <a:lnTo>
                  <a:pt x="0" y="2595"/>
                </a:lnTo>
                <a:lnTo>
                  <a:pt x="0" y="96098"/>
                </a:lnTo>
                <a:lnTo>
                  <a:pt x="32827" y="96098"/>
                </a:lnTo>
                <a:lnTo>
                  <a:pt x="32827" y="36797"/>
                </a:lnTo>
                <a:close/>
              </a:path>
            </a:pathLst>
          </a:custGeom>
          <a:solidFill>
            <a:srgbClr val="FFFFFF"/>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0" name="object 20"/>
          <p:cNvSpPr/>
          <p:nvPr/>
        </p:nvSpPr>
        <p:spPr>
          <a:xfrm>
            <a:off x="11054592" y="253816"/>
            <a:ext cx="73074" cy="98694"/>
          </a:xfrm>
          <a:custGeom>
            <a:avLst/>
            <a:gdLst/>
            <a:ahLst/>
            <a:cxnLst/>
            <a:rect l="l" t="t" r="r" b="b"/>
            <a:pathLst>
              <a:path w="73074" h="98694">
                <a:moveTo>
                  <a:pt x="1875" y="65505"/>
                </a:moveTo>
                <a:lnTo>
                  <a:pt x="7289" y="78467"/>
                </a:lnTo>
                <a:lnTo>
                  <a:pt x="15924" y="88236"/>
                </a:lnTo>
                <a:lnTo>
                  <a:pt x="27463" y="94812"/>
                </a:lnTo>
                <a:lnTo>
                  <a:pt x="41588" y="98194"/>
                </a:lnTo>
                <a:lnTo>
                  <a:pt x="50498" y="98694"/>
                </a:lnTo>
                <a:lnTo>
                  <a:pt x="50498" y="79213"/>
                </a:lnTo>
                <a:lnTo>
                  <a:pt x="39280" y="74296"/>
                </a:lnTo>
                <a:lnTo>
                  <a:pt x="34474" y="61504"/>
                </a:lnTo>
                <a:lnTo>
                  <a:pt x="33684" y="48917"/>
                </a:lnTo>
                <a:lnTo>
                  <a:pt x="35251" y="33148"/>
                </a:lnTo>
                <a:lnTo>
                  <a:pt x="41851" y="22024"/>
                </a:lnTo>
                <a:lnTo>
                  <a:pt x="50498" y="19480"/>
                </a:lnTo>
                <a:lnTo>
                  <a:pt x="50498" y="19913"/>
                </a:lnTo>
                <a:lnTo>
                  <a:pt x="61884" y="25369"/>
                </a:lnTo>
                <a:lnTo>
                  <a:pt x="66353" y="38675"/>
                </a:lnTo>
                <a:lnTo>
                  <a:pt x="73074" y="3875"/>
                </a:lnTo>
                <a:lnTo>
                  <a:pt x="58993" y="475"/>
                </a:lnTo>
                <a:lnTo>
                  <a:pt x="50498" y="0"/>
                </a:lnTo>
                <a:lnTo>
                  <a:pt x="35067" y="1631"/>
                </a:lnTo>
                <a:lnTo>
                  <a:pt x="22043" y="6494"/>
                </a:lnTo>
                <a:lnTo>
                  <a:pt x="11744" y="14543"/>
                </a:lnTo>
                <a:lnTo>
                  <a:pt x="4489" y="25734"/>
                </a:lnTo>
                <a:lnTo>
                  <a:pt x="594" y="40019"/>
                </a:lnTo>
                <a:lnTo>
                  <a:pt x="0" y="49349"/>
                </a:lnTo>
                <a:lnTo>
                  <a:pt x="1875" y="65505"/>
                </a:lnTo>
                <a:close/>
              </a:path>
            </a:pathLst>
          </a:custGeom>
          <a:solidFill>
            <a:srgbClr val="FFFFFF"/>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1" name="object 21"/>
          <p:cNvSpPr/>
          <p:nvPr/>
        </p:nvSpPr>
        <p:spPr>
          <a:xfrm>
            <a:off x="10769079" y="253816"/>
            <a:ext cx="13613" cy="19913"/>
          </a:xfrm>
          <a:custGeom>
            <a:avLst/>
            <a:gdLst/>
            <a:ahLst/>
            <a:cxnLst/>
            <a:rect l="l" t="t" r="r" b="b"/>
            <a:pathLst>
              <a:path w="13613" h="19913">
                <a:moveTo>
                  <a:pt x="0" y="17350"/>
                </a:moveTo>
                <a:lnTo>
                  <a:pt x="6025" y="17317"/>
                </a:lnTo>
                <a:lnTo>
                  <a:pt x="9912" y="19913"/>
                </a:lnTo>
                <a:lnTo>
                  <a:pt x="13613" y="1106"/>
                </a:lnTo>
                <a:lnTo>
                  <a:pt x="411" y="0"/>
                </a:lnTo>
                <a:lnTo>
                  <a:pt x="0" y="17350"/>
                </a:lnTo>
                <a:close/>
              </a:path>
            </a:pathLst>
          </a:custGeom>
          <a:solidFill>
            <a:srgbClr val="FFFFFF"/>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2" name="object 22"/>
          <p:cNvSpPr/>
          <p:nvPr/>
        </p:nvSpPr>
        <p:spPr>
          <a:xfrm>
            <a:off x="10621766" y="215727"/>
            <a:ext cx="93730" cy="134187"/>
          </a:xfrm>
          <a:custGeom>
            <a:avLst/>
            <a:gdLst/>
            <a:ahLst/>
            <a:cxnLst/>
            <a:rect l="l" t="t" r="r" b="b"/>
            <a:pathLst>
              <a:path w="93730" h="134187">
                <a:moveTo>
                  <a:pt x="92435" y="119039"/>
                </a:moveTo>
                <a:lnTo>
                  <a:pt x="92435" y="68824"/>
                </a:lnTo>
                <a:lnTo>
                  <a:pt x="89257" y="54371"/>
                </a:lnTo>
                <a:lnTo>
                  <a:pt x="80616" y="44150"/>
                </a:lnTo>
                <a:lnTo>
                  <a:pt x="67851" y="38772"/>
                </a:lnTo>
                <a:lnTo>
                  <a:pt x="60471" y="38089"/>
                </a:lnTo>
                <a:lnTo>
                  <a:pt x="54857" y="38089"/>
                </a:lnTo>
                <a:lnTo>
                  <a:pt x="49243" y="38954"/>
                </a:lnTo>
                <a:lnTo>
                  <a:pt x="44924" y="41118"/>
                </a:lnTo>
                <a:lnTo>
                  <a:pt x="40606" y="43287"/>
                </a:lnTo>
                <a:lnTo>
                  <a:pt x="36281" y="46315"/>
                </a:lnTo>
                <a:lnTo>
                  <a:pt x="32827" y="50642"/>
                </a:lnTo>
                <a:lnTo>
                  <a:pt x="32827" y="0"/>
                </a:lnTo>
                <a:lnTo>
                  <a:pt x="0" y="0"/>
                </a:lnTo>
                <a:lnTo>
                  <a:pt x="0" y="134187"/>
                </a:lnTo>
                <a:lnTo>
                  <a:pt x="32827" y="134187"/>
                </a:lnTo>
                <a:lnTo>
                  <a:pt x="32827" y="74887"/>
                </a:lnTo>
                <a:lnTo>
                  <a:pt x="31531" y="58867"/>
                </a:lnTo>
                <a:lnTo>
                  <a:pt x="57016" y="58867"/>
                </a:lnTo>
                <a:lnTo>
                  <a:pt x="59176" y="67959"/>
                </a:lnTo>
                <a:lnTo>
                  <a:pt x="59176" y="134187"/>
                </a:lnTo>
                <a:lnTo>
                  <a:pt x="93730" y="134187"/>
                </a:lnTo>
                <a:lnTo>
                  <a:pt x="92866" y="125529"/>
                </a:lnTo>
                <a:lnTo>
                  <a:pt x="92435" y="119039"/>
                </a:lnTo>
                <a:close/>
              </a:path>
            </a:pathLst>
          </a:custGeom>
          <a:solidFill>
            <a:srgbClr val="FFFFFF"/>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3" name="object 23"/>
          <p:cNvSpPr/>
          <p:nvPr/>
        </p:nvSpPr>
        <p:spPr>
          <a:xfrm>
            <a:off x="10823916" y="255547"/>
            <a:ext cx="63062" cy="94367"/>
          </a:xfrm>
          <a:custGeom>
            <a:avLst/>
            <a:gdLst/>
            <a:ahLst/>
            <a:cxnLst/>
            <a:rect l="l" t="t" r="r" b="b"/>
            <a:pathLst>
              <a:path w="63062" h="94367">
                <a:moveTo>
                  <a:pt x="63062" y="0"/>
                </a:moveTo>
                <a:lnTo>
                  <a:pt x="49056" y="1999"/>
                </a:lnTo>
                <a:lnTo>
                  <a:pt x="38647" y="9153"/>
                </a:lnTo>
                <a:lnTo>
                  <a:pt x="33690" y="19047"/>
                </a:lnTo>
                <a:lnTo>
                  <a:pt x="32827" y="865"/>
                </a:lnTo>
                <a:lnTo>
                  <a:pt x="0" y="865"/>
                </a:lnTo>
                <a:lnTo>
                  <a:pt x="431" y="8658"/>
                </a:lnTo>
                <a:lnTo>
                  <a:pt x="431" y="94367"/>
                </a:lnTo>
                <a:lnTo>
                  <a:pt x="33690" y="94367"/>
                </a:lnTo>
                <a:lnTo>
                  <a:pt x="33690" y="53676"/>
                </a:lnTo>
                <a:lnTo>
                  <a:pt x="35992" y="38913"/>
                </a:lnTo>
                <a:lnTo>
                  <a:pt x="44876" y="30166"/>
                </a:lnTo>
                <a:lnTo>
                  <a:pt x="56153" y="28138"/>
                </a:lnTo>
                <a:lnTo>
                  <a:pt x="60903" y="28138"/>
                </a:lnTo>
                <a:lnTo>
                  <a:pt x="63062" y="28571"/>
                </a:lnTo>
                <a:lnTo>
                  <a:pt x="63062" y="0"/>
                </a:lnTo>
                <a:close/>
              </a:path>
            </a:pathLst>
          </a:custGeom>
          <a:solidFill>
            <a:srgbClr val="FFFFFF"/>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4" name="object 24"/>
          <p:cNvSpPr/>
          <p:nvPr/>
        </p:nvSpPr>
        <p:spPr>
          <a:xfrm>
            <a:off x="10721975" y="253816"/>
            <a:ext cx="94600" cy="98694"/>
          </a:xfrm>
          <a:custGeom>
            <a:avLst/>
            <a:gdLst/>
            <a:ahLst/>
            <a:cxnLst/>
            <a:rect l="l" t="t" r="r" b="b"/>
            <a:pathLst>
              <a:path w="94600" h="98694">
                <a:moveTo>
                  <a:pt x="46652" y="79652"/>
                </a:moveTo>
                <a:lnTo>
                  <a:pt x="35105" y="73423"/>
                </a:lnTo>
                <a:lnTo>
                  <a:pt x="31621" y="59326"/>
                </a:lnTo>
                <a:lnTo>
                  <a:pt x="31537" y="55839"/>
                </a:lnTo>
                <a:lnTo>
                  <a:pt x="94600" y="55839"/>
                </a:lnTo>
                <a:lnTo>
                  <a:pt x="93607" y="39342"/>
                </a:lnTo>
                <a:lnTo>
                  <a:pt x="90268" y="25292"/>
                </a:lnTo>
                <a:lnTo>
                  <a:pt x="84036" y="14018"/>
                </a:lnTo>
                <a:lnTo>
                  <a:pt x="74368" y="5847"/>
                </a:lnTo>
                <a:lnTo>
                  <a:pt x="60718" y="1106"/>
                </a:lnTo>
                <a:lnTo>
                  <a:pt x="57016" y="19913"/>
                </a:lnTo>
                <a:lnTo>
                  <a:pt x="59176" y="23806"/>
                </a:lnTo>
                <a:lnTo>
                  <a:pt x="61767" y="27706"/>
                </a:lnTo>
                <a:lnTo>
                  <a:pt x="63068" y="32898"/>
                </a:lnTo>
                <a:lnTo>
                  <a:pt x="63068" y="38095"/>
                </a:lnTo>
                <a:lnTo>
                  <a:pt x="32400" y="38095"/>
                </a:lnTo>
                <a:lnTo>
                  <a:pt x="35674" y="24429"/>
                </a:lnTo>
                <a:lnTo>
                  <a:pt x="47104" y="17350"/>
                </a:lnTo>
                <a:lnTo>
                  <a:pt x="47515" y="0"/>
                </a:lnTo>
                <a:lnTo>
                  <a:pt x="31836" y="1926"/>
                </a:lnTo>
                <a:lnTo>
                  <a:pt x="19023" y="7488"/>
                </a:lnTo>
                <a:lnTo>
                  <a:pt x="9310" y="16364"/>
                </a:lnTo>
                <a:lnTo>
                  <a:pt x="2931" y="28229"/>
                </a:lnTo>
                <a:lnTo>
                  <a:pt x="118" y="42760"/>
                </a:lnTo>
                <a:lnTo>
                  <a:pt x="0" y="46748"/>
                </a:lnTo>
                <a:lnTo>
                  <a:pt x="1256" y="63767"/>
                </a:lnTo>
                <a:lnTo>
                  <a:pt x="5280" y="77366"/>
                </a:lnTo>
                <a:lnTo>
                  <a:pt x="12452" y="87589"/>
                </a:lnTo>
                <a:lnTo>
                  <a:pt x="23153" y="94482"/>
                </a:lnTo>
                <a:lnTo>
                  <a:pt x="37764" y="98088"/>
                </a:lnTo>
                <a:lnTo>
                  <a:pt x="48811" y="98694"/>
                </a:lnTo>
                <a:lnTo>
                  <a:pt x="62496" y="97333"/>
                </a:lnTo>
                <a:lnTo>
                  <a:pt x="74183" y="93252"/>
                </a:lnTo>
                <a:lnTo>
                  <a:pt x="78183" y="90906"/>
                </a:lnTo>
                <a:lnTo>
                  <a:pt x="87225" y="82445"/>
                </a:lnTo>
                <a:lnTo>
                  <a:pt x="92951" y="70437"/>
                </a:lnTo>
                <a:lnTo>
                  <a:pt x="93736" y="65363"/>
                </a:lnTo>
                <a:lnTo>
                  <a:pt x="62636" y="65363"/>
                </a:lnTo>
                <a:lnTo>
                  <a:pt x="61767" y="74021"/>
                </a:lnTo>
                <a:lnTo>
                  <a:pt x="56585" y="79652"/>
                </a:lnTo>
                <a:lnTo>
                  <a:pt x="46652" y="79652"/>
                </a:lnTo>
                <a:close/>
              </a:path>
            </a:pathLst>
          </a:custGeom>
          <a:solidFill>
            <a:srgbClr val="FFFFFF"/>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5" name="object 25"/>
          <p:cNvSpPr/>
          <p:nvPr/>
        </p:nvSpPr>
        <p:spPr>
          <a:xfrm>
            <a:off x="11105091" y="257692"/>
            <a:ext cx="50095" cy="94818"/>
          </a:xfrm>
          <a:custGeom>
            <a:avLst/>
            <a:gdLst/>
            <a:ahLst/>
            <a:cxnLst/>
            <a:rect l="l" t="t" r="r" b="b"/>
            <a:pathLst>
              <a:path w="50095" h="94818">
                <a:moveTo>
                  <a:pt x="15854" y="34799"/>
                </a:moveTo>
                <a:lnTo>
                  <a:pt x="16410" y="45041"/>
                </a:lnTo>
                <a:lnTo>
                  <a:pt x="14818" y="61796"/>
                </a:lnTo>
                <a:lnTo>
                  <a:pt x="8553" y="72738"/>
                </a:lnTo>
                <a:lnTo>
                  <a:pt x="0" y="75338"/>
                </a:lnTo>
                <a:lnTo>
                  <a:pt x="0" y="94818"/>
                </a:lnTo>
                <a:lnTo>
                  <a:pt x="15309" y="93209"/>
                </a:lnTo>
                <a:lnTo>
                  <a:pt x="28254" y="88380"/>
                </a:lnTo>
                <a:lnTo>
                  <a:pt x="38499" y="80332"/>
                </a:lnTo>
                <a:lnTo>
                  <a:pt x="45707" y="69065"/>
                </a:lnTo>
                <a:lnTo>
                  <a:pt x="49544" y="54578"/>
                </a:lnTo>
                <a:lnTo>
                  <a:pt x="50095" y="45474"/>
                </a:lnTo>
                <a:lnTo>
                  <a:pt x="48207" y="29416"/>
                </a:lnTo>
                <a:lnTo>
                  <a:pt x="42767" y="16454"/>
                </a:lnTo>
                <a:lnTo>
                  <a:pt x="34112" y="6633"/>
                </a:lnTo>
                <a:lnTo>
                  <a:pt x="22575" y="0"/>
                </a:lnTo>
                <a:lnTo>
                  <a:pt x="15854" y="34799"/>
                </a:lnTo>
                <a:close/>
              </a:path>
            </a:pathLst>
          </a:custGeom>
          <a:solidFill>
            <a:srgbClr val="FFFFFF"/>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6" name="object 26"/>
          <p:cNvSpPr/>
          <p:nvPr/>
        </p:nvSpPr>
        <p:spPr>
          <a:xfrm>
            <a:off x="10501255" y="215727"/>
            <a:ext cx="112306" cy="134187"/>
          </a:xfrm>
          <a:custGeom>
            <a:avLst/>
            <a:gdLst/>
            <a:ahLst/>
            <a:cxnLst/>
            <a:rect l="l" t="t" r="r" b="b"/>
            <a:pathLst>
              <a:path w="112306" h="134187">
                <a:moveTo>
                  <a:pt x="38446" y="134187"/>
                </a:moveTo>
                <a:lnTo>
                  <a:pt x="73433" y="134187"/>
                </a:lnTo>
                <a:lnTo>
                  <a:pt x="73433" y="25104"/>
                </a:lnTo>
                <a:lnTo>
                  <a:pt x="112306" y="25104"/>
                </a:lnTo>
                <a:lnTo>
                  <a:pt x="112306" y="0"/>
                </a:lnTo>
                <a:lnTo>
                  <a:pt x="0" y="0"/>
                </a:lnTo>
                <a:lnTo>
                  <a:pt x="0" y="25104"/>
                </a:lnTo>
                <a:lnTo>
                  <a:pt x="38446" y="25104"/>
                </a:lnTo>
                <a:lnTo>
                  <a:pt x="38446" y="134187"/>
                </a:lnTo>
                <a:close/>
              </a:path>
            </a:pathLst>
          </a:custGeom>
          <a:solidFill>
            <a:srgbClr val="FFFFFF"/>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7" name="object 27"/>
          <p:cNvSpPr/>
          <p:nvPr/>
        </p:nvSpPr>
        <p:spPr>
          <a:xfrm>
            <a:off x="11313305" y="253816"/>
            <a:ext cx="85104" cy="98694"/>
          </a:xfrm>
          <a:custGeom>
            <a:avLst/>
            <a:gdLst/>
            <a:ahLst/>
            <a:cxnLst/>
            <a:rect l="l" t="t" r="r" b="b"/>
            <a:pathLst>
              <a:path w="85104" h="98694">
                <a:moveTo>
                  <a:pt x="863" y="29004"/>
                </a:moveTo>
                <a:lnTo>
                  <a:pt x="4510" y="41928"/>
                </a:lnTo>
                <a:lnTo>
                  <a:pt x="13699" y="50092"/>
                </a:lnTo>
                <a:lnTo>
                  <a:pt x="25804" y="55179"/>
                </a:lnTo>
                <a:lnTo>
                  <a:pt x="38199" y="58872"/>
                </a:lnTo>
                <a:lnTo>
                  <a:pt x="48258" y="62855"/>
                </a:lnTo>
                <a:lnTo>
                  <a:pt x="53355" y="68810"/>
                </a:lnTo>
                <a:lnTo>
                  <a:pt x="53550" y="70560"/>
                </a:lnTo>
                <a:lnTo>
                  <a:pt x="53550" y="76617"/>
                </a:lnTo>
                <a:lnTo>
                  <a:pt x="48828" y="79652"/>
                </a:lnTo>
                <a:lnTo>
                  <a:pt x="38464" y="79652"/>
                </a:lnTo>
                <a:lnTo>
                  <a:pt x="35412" y="77483"/>
                </a:lnTo>
                <a:lnTo>
                  <a:pt x="33684" y="74887"/>
                </a:lnTo>
                <a:lnTo>
                  <a:pt x="31554" y="72724"/>
                </a:lnTo>
                <a:lnTo>
                  <a:pt x="31093" y="69262"/>
                </a:lnTo>
                <a:lnTo>
                  <a:pt x="31554" y="65796"/>
                </a:lnTo>
                <a:lnTo>
                  <a:pt x="0" y="65796"/>
                </a:lnTo>
                <a:lnTo>
                  <a:pt x="2812" y="81847"/>
                </a:lnTo>
                <a:lnTo>
                  <a:pt x="10981" y="91735"/>
                </a:lnTo>
                <a:lnTo>
                  <a:pt x="23141" y="96858"/>
                </a:lnTo>
                <a:lnTo>
                  <a:pt x="37924" y="98614"/>
                </a:lnTo>
                <a:lnTo>
                  <a:pt x="42782" y="98694"/>
                </a:lnTo>
                <a:lnTo>
                  <a:pt x="58145" y="97202"/>
                </a:lnTo>
                <a:lnTo>
                  <a:pt x="71467" y="92324"/>
                </a:lnTo>
                <a:lnTo>
                  <a:pt x="81019" y="83455"/>
                </a:lnTo>
                <a:lnTo>
                  <a:pt x="85069" y="69990"/>
                </a:lnTo>
                <a:lnTo>
                  <a:pt x="85104" y="68391"/>
                </a:lnTo>
                <a:lnTo>
                  <a:pt x="81616" y="54016"/>
                </a:lnTo>
                <a:lnTo>
                  <a:pt x="72533" y="45421"/>
                </a:lnTo>
                <a:lnTo>
                  <a:pt x="66966" y="42854"/>
                </a:lnTo>
                <a:lnTo>
                  <a:pt x="49010" y="37581"/>
                </a:lnTo>
                <a:lnTo>
                  <a:pt x="36561" y="33655"/>
                </a:lnTo>
                <a:lnTo>
                  <a:pt x="31957" y="28138"/>
                </a:lnTo>
                <a:lnTo>
                  <a:pt x="31957" y="22508"/>
                </a:lnTo>
                <a:lnTo>
                  <a:pt x="35412" y="19480"/>
                </a:lnTo>
                <a:lnTo>
                  <a:pt x="44913" y="19480"/>
                </a:lnTo>
                <a:lnTo>
                  <a:pt x="47504" y="20345"/>
                </a:lnTo>
                <a:lnTo>
                  <a:pt x="49692" y="22076"/>
                </a:lnTo>
                <a:lnTo>
                  <a:pt x="51419" y="24239"/>
                </a:lnTo>
                <a:lnTo>
                  <a:pt x="51823" y="27273"/>
                </a:lnTo>
                <a:lnTo>
                  <a:pt x="51823" y="31167"/>
                </a:lnTo>
                <a:lnTo>
                  <a:pt x="83377" y="31167"/>
                </a:lnTo>
                <a:lnTo>
                  <a:pt x="79646" y="16141"/>
                </a:lnTo>
                <a:lnTo>
                  <a:pt x="70715" y="6626"/>
                </a:lnTo>
                <a:lnTo>
                  <a:pt x="58077" y="1591"/>
                </a:lnTo>
                <a:lnTo>
                  <a:pt x="43221" y="8"/>
                </a:lnTo>
                <a:lnTo>
                  <a:pt x="41919" y="0"/>
                </a:lnTo>
                <a:lnTo>
                  <a:pt x="27873" y="1397"/>
                </a:lnTo>
                <a:lnTo>
                  <a:pt x="14485" y="6203"/>
                </a:lnTo>
                <a:lnTo>
                  <a:pt x="4552" y="15339"/>
                </a:lnTo>
                <a:lnTo>
                  <a:pt x="863" y="29004"/>
                </a:lnTo>
                <a:close/>
              </a:path>
            </a:pathLst>
          </a:custGeom>
          <a:solidFill>
            <a:srgbClr val="FFFFFF"/>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8" name="object 28"/>
          <p:cNvSpPr/>
          <p:nvPr/>
        </p:nvSpPr>
        <p:spPr>
          <a:xfrm>
            <a:off x="11406586" y="215727"/>
            <a:ext cx="93742" cy="134187"/>
          </a:xfrm>
          <a:custGeom>
            <a:avLst/>
            <a:gdLst/>
            <a:ahLst/>
            <a:cxnLst/>
            <a:rect l="l" t="t" r="r" b="b"/>
            <a:pathLst>
              <a:path w="93742" h="134187">
                <a:moveTo>
                  <a:pt x="92475" y="119039"/>
                </a:moveTo>
                <a:lnTo>
                  <a:pt x="92475" y="68824"/>
                </a:lnTo>
                <a:lnTo>
                  <a:pt x="89301" y="54381"/>
                </a:lnTo>
                <a:lnTo>
                  <a:pt x="80665" y="44164"/>
                </a:lnTo>
                <a:lnTo>
                  <a:pt x="67895" y="38779"/>
                </a:lnTo>
                <a:lnTo>
                  <a:pt x="60460" y="38089"/>
                </a:lnTo>
                <a:lnTo>
                  <a:pt x="54874" y="38089"/>
                </a:lnTo>
                <a:lnTo>
                  <a:pt x="49692" y="38954"/>
                </a:lnTo>
                <a:lnTo>
                  <a:pt x="44913" y="41118"/>
                </a:lnTo>
                <a:lnTo>
                  <a:pt x="40594" y="43287"/>
                </a:lnTo>
                <a:lnTo>
                  <a:pt x="36276" y="46315"/>
                </a:lnTo>
                <a:lnTo>
                  <a:pt x="32821" y="50642"/>
                </a:lnTo>
                <a:lnTo>
                  <a:pt x="32821" y="0"/>
                </a:lnTo>
                <a:lnTo>
                  <a:pt x="0" y="0"/>
                </a:lnTo>
                <a:lnTo>
                  <a:pt x="0" y="134187"/>
                </a:lnTo>
                <a:lnTo>
                  <a:pt x="32821" y="134187"/>
                </a:lnTo>
                <a:lnTo>
                  <a:pt x="32821" y="74887"/>
                </a:lnTo>
                <a:lnTo>
                  <a:pt x="31554" y="58867"/>
                </a:lnTo>
                <a:lnTo>
                  <a:pt x="57005" y="58867"/>
                </a:lnTo>
                <a:lnTo>
                  <a:pt x="59193" y="67959"/>
                </a:lnTo>
                <a:lnTo>
                  <a:pt x="59193" y="134187"/>
                </a:lnTo>
                <a:lnTo>
                  <a:pt x="93742" y="134187"/>
                </a:lnTo>
                <a:lnTo>
                  <a:pt x="92878" y="125529"/>
                </a:lnTo>
                <a:lnTo>
                  <a:pt x="92475" y="119039"/>
                </a:lnTo>
                <a:close/>
              </a:path>
            </a:pathLst>
          </a:custGeom>
          <a:solidFill>
            <a:srgbClr val="FFFFFF"/>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9" name="object 29"/>
          <p:cNvSpPr/>
          <p:nvPr/>
        </p:nvSpPr>
        <p:spPr>
          <a:xfrm>
            <a:off x="11608753" y="253816"/>
            <a:ext cx="63512" cy="96098"/>
          </a:xfrm>
          <a:custGeom>
            <a:avLst/>
            <a:gdLst/>
            <a:ahLst/>
            <a:cxnLst/>
            <a:rect l="l" t="t" r="r" b="b"/>
            <a:pathLst>
              <a:path w="63512" h="96098">
                <a:moveTo>
                  <a:pt x="63512" y="0"/>
                </a:moveTo>
                <a:lnTo>
                  <a:pt x="49495" y="2060"/>
                </a:lnTo>
                <a:lnTo>
                  <a:pt x="38907" y="9120"/>
                </a:lnTo>
                <a:lnTo>
                  <a:pt x="33684" y="19047"/>
                </a:lnTo>
                <a:lnTo>
                  <a:pt x="33281" y="2595"/>
                </a:lnTo>
                <a:lnTo>
                  <a:pt x="0" y="2595"/>
                </a:lnTo>
                <a:lnTo>
                  <a:pt x="863" y="10389"/>
                </a:lnTo>
                <a:lnTo>
                  <a:pt x="863" y="96098"/>
                </a:lnTo>
                <a:lnTo>
                  <a:pt x="33684" y="96098"/>
                </a:lnTo>
                <a:lnTo>
                  <a:pt x="33684" y="55406"/>
                </a:lnTo>
                <a:lnTo>
                  <a:pt x="35941" y="40588"/>
                </a:lnTo>
                <a:lnTo>
                  <a:pt x="44311" y="31070"/>
                </a:lnTo>
                <a:lnTo>
                  <a:pt x="56602" y="28571"/>
                </a:lnTo>
                <a:lnTo>
                  <a:pt x="63512" y="28571"/>
                </a:lnTo>
                <a:lnTo>
                  <a:pt x="63512" y="0"/>
                </a:lnTo>
                <a:close/>
              </a:path>
            </a:pathLst>
          </a:custGeom>
          <a:solidFill>
            <a:srgbClr val="FFFFFF"/>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0" name="object 30"/>
          <p:cNvSpPr/>
          <p:nvPr/>
        </p:nvSpPr>
        <p:spPr>
          <a:xfrm>
            <a:off x="11272249" y="215727"/>
            <a:ext cx="40594" cy="24672"/>
          </a:xfrm>
          <a:custGeom>
            <a:avLst/>
            <a:gdLst/>
            <a:ahLst/>
            <a:cxnLst/>
            <a:rect l="l" t="t" r="r" b="b"/>
            <a:pathLst>
              <a:path w="40594" h="24672">
                <a:moveTo>
                  <a:pt x="7773" y="0"/>
                </a:moveTo>
                <a:lnTo>
                  <a:pt x="0" y="24672"/>
                </a:lnTo>
                <a:lnTo>
                  <a:pt x="32418" y="24672"/>
                </a:lnTo>
                <a:lnTo>
                  <a:pt x="40594" y="0"/>
                </a:lnTo>
                <a:lnTo>
                  <a:pt x="7773" y="0"/>
                </a:lnTo>
                <a:close/>
              </a:path>
            </a:pathLst>
          </a:custGeom>
          <a:solidFill>
            <a:srgbClr val="FFFFFF"/>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1" name="object 31"/>
          <p:cNvSpPr/>
          <p:nvPr/>
        </p:nvSpPr>
        <p:spPr>
          <a:xfrm>
            <a:off x="11180695" y="215727"/>
            <a:ext cx="88559" cy="134187"/>
          </a:xfrm>
          <a:custGeom>
            <a:avLst/>
            <a:gdLst/>
            <a:ahLst/>
            <a:cxnLst/>
            <a:rect l="l" t="t" r="r" b="b"/>
            <a:pathLst>
              <a:path w="88559" h="134187">
                <a:moveTo>
                  <a:pt x="34548" y="24672"/>
                </a:moveTo>
                <a:lnTo>
                  <a:pt x="80786" y="24672"/>
                </a:lnTo>
                <a:lnTo>
                  <a:pt x="88559" y="0"/>
                </a:lnTo>
                <a:lnTo>
                  <a:pt x="0" y="0"/>
                </a:lnTo>
                <a:lnTo>
                  <a:pt x="0" y="134187"/>
                </a:lnTo>
                <a:lnTo>
                  <a:pt x="34548" y="134187"/>
                </a:lnTo>
                <a:lnTo>
                  <a:pt x="34548" y="81376"/>
                </a:lnTo>
                <a:lnTo>
                  <a:pt x="63051" y="81376"/>
                </a:lnTo>
                <a:lnTo>
                  <a:pt x="70824" y="56704"/>
                </a:lnTo>
                <a:lnTo>
                  <a:pt x="34548" y="56704"/>
                </a:lnTo>
                <a:lnTo>
                  <a:pt x="34548" y="24672"/>
                </a:lnTo>
                <a:close/>
              </a:path>
            </a:pathLst>
          </a:custGeom>
          <a:solidFill>
            <a:srgbClr val="FFFFFF"/>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2" name="object 32"/>
          <p:cNvSpPr/>
          <p:nvPr/>
        </p:nvSpPr>
        <p:spPr>
          <a:xfrm>
            <a:off x="11288257" y="256412"/>
            <a:ext cx="0" cy="93502"/>
          </a:xfrm>
          <a:custGeom>
            <a:avLst/>
            <a:gdLst/>
            <a:ahLst/>
            <a:cxnLst/>
            <a:rect l="l" t="t" r="r" b="b"/>
            <a:pathLst>
              <a:path h="93502">
                <a:moveTo>
                  <a:pt x="0" y="0"/>
                </a:moveTo>
                <a:lnTo>
                  <a:pt x="0" y="93502"/>
                </a:lnTo>
              </a:path>
            </a:pathLst>
          </a:custGeom>
          <a:ln w="34091">
            <a:solidFill>
              <a:srgbClr val="FFFFFF"/>
            </a:solid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3" name="object 33"/>
          <p:cNvSpPr/>
          <p:nvPr/>
        </p:nvSpPr>
        <p:spPr>
          <a:xfrm>
            <a:off x="11553904" y="253816"/>
            <a:ext cx="14265" cy="19913"/>
          </a:xfrm>
          <a:custGeom>
            <a:avLst/>
            <a:gdLst/>
            <a:ahLst/>
            <a:cxnLst/>
            <a:rect l="l" t="t" r="r" b="b"/>
            <a:pathLst>
              <a:path w="14265" h="19913">
                <a:moveTo>
                  <a:pt x="0" y="17352"/>
                </a:moveTo>
                <a:lnTo>
                  <a:pt x="6020" y="17317"/>
                </a:lnTo>
                <a:lnTo>
                  <a:pt x="9935" y="19913"/>
                </a:lnTo>
                <a:lnTo>
                  <a:pt x="14265" y="1222"/>
                </a:lnTo>
                <a:lnTo>
                  <a:pt x="434" y="0"/>
                </a:lnTo>
                <a:lnTo>
                  <a:pt x="0" y="17352"/>
                </a:lnTo>
                <a:close/>
              </a:path>
            </a:pathLst>
          </a:custGeom>
          <a:solidFill>
            <a:srgbClr val="FFFFFF"/>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4" name="object 34"/>
          <p:cNvSpPr/>
          <p:nvPr/>
        </p:nvSpPr>
        <p:spPr>
          <a:xfrm>
            <a:off x="11507238" y="253816"/>
            <a:ext cx="94145" cy="98694"/>
          </a:xfrm>
          <a:custGeom>
            <a:avLst/>
            <a:gdLst/>
            <a:ahLst/>
            <a:cxnLst/>
            <a:rect l="l" t="t" r="r" b="b"/>
            <a:pathLst>
              <a:path w="94145" h="98694">
                <a:moveTo>
                  <a:pt x="98" y="43110"/>
                </a:moveTo>
                <a:lnTo>
                  <a:pt x="0" y="46748"/>
                </a:lnTo>
                <a:lnTo>
                  <a:pt x="1258" y="63764"/>
                </a:lnTo>
                <a:lnTo>
                  <a:pt x="5285" y="77362"/>
                </a:lnTo>
                <a:lnTo>
                  <a:pt x="12460" y="87585"/>
                </a:lnTo>
                <a:lnTo>
                  <a:pt x="23161" y="94479"/>
                </a:lnTo>
                <a:lnTo>
                  <a:pt x="37769" y="98087"/>
                </a:lnTo>
                <a:lnTo>
                  <a:pt x="48828" y="98694"/>
                </a:lnTo>
                <a:lnTo>
                  <a:pt x="62342" y="97292"/>
                </a:lnTo>
                <a:lnTo>
                  <a:pt x="74056" y="93087"/>
                </a:lnTo>
                <a:lnTo>
                  <a:pt x="77734" y="90906"/>
                </a:lnTo>
                <a:lnTo>
                  <a:pt x="86968" y="82444"/>
                </a:lnTo>
                <a:lnTo>
                  <a:pt x="92524" y="70435"/>
                </a:lnTo>
                <a:lnTo>
                  <a:pt x="93281" y="65363"/>
                </a:lnTo>
                <a:lnTo>
                  <a:pt x="62187" y="65363"/>
                </a:lnTo>
                <a:lnTo>
                  <a:pt x="61323" y="74021"/>
                </a:lnTo>
                <a:lnTo>
                  <a:pt x="56141" y="79652"/>
                </a:lnTo>
                <a:lnTo>
                  <a:pt x="46640" y="79652"/>
                </a:lnTo>
                <a:lnTo>
                  <a:pt x="34894" y="73614"/>
                </a:lnTo>
                <a:lnTo>
                  <a:pt x="31527" y="59861"/>
                </a:lnTo>
                <a:lnTo>
                  <a:pt x="31554" y="55839"/>
                </a:lnTo>
                <a:lnTo>
                  <a:pt x="94145" y="55839"/>
                </a:lnTo>
                <a:lnTo>
                  <a:pt x="93335" y="39461"/>
                </a:lnTo>
                <a:lnTo>
                  <a:pt x="90100" y="25490"/>
                </a:lnTo>
                <a:lnTo>
                  <a:pt x="83949" y="14246"/>
                </a:lnTo>
                <a:lnTo>
                  <a:pt x="74390" y="6051"/>
                </a:lnTo>
                <a:lnTo>
                  <a:pt x="60932" y="1222"/>
                </a:lnTo>
                <a:lnTo>
                  <a:pt x="56602" y="19913"/>
                </a:lnTo>
                <a:lnTo>
                  <a:pt x="58732" y="23806"/>
                </a:lnTo>
                <a:lnTo>
                  <a:pt x="61323" y="27706"/>
                </a:lnTo>
                <a:lnTo>
                  <a:pt x="62648" y="32898"/>
                </a:lnTo>
                <a:lnTo>
                  <a:pt x="62648" y="38095"/>
                </a:lnTo>
                <a:lnTo>
                  <a:pt x="31957" y="38095"/>
                </a:lnTo>
                <a:lnTo>
                  <a:pt x="35240" y="24437"/>
                </a:lnTo>
                <a:lnTo>
                  <a:pt x="46666" y="17352"/>
                </a:lnTo>
                <a:lnTo>
                  <a:pt x="47101" y="0"/>
                </a:lnTo>
                <a:lnTo>
                  <a:pt x="31562" y="1943"/>
                </a:lnTo>
                <a:lnTo>
                  <a:pt x="18835" y="7553"/>
                </a:lnTo>
                <a:lnTo>
                  <a:pt x="9178" y="16503"/>
                </a:lnTo>
                <a:lnTo>
                  <a:pt x="2847" y="28465"/>
                </a:lnTo>
                <a:lnTo>
                  <a:pt x="98" y="43110"/>
                </a:lnTo>
                <a:close/>
              </a:path>
            </a:pathLst>
          </a:custGeom>
          <a:solidFill>
            <a:srgbClr val="FFFFFF"/>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5" name="object 35"/>
          <p:cNvSpPr/>
          <p:nvPr/>
        </p:nvSpPr>
        <p:spPr>
          <a:xfrm>
            <a:off x="10535377" y="388010"/>
            <a:ext cx="1111379" cy="79213"/>
          </a:xfrm>
          <a:custGeom>
            <a:avLst/>
            <a:gdLst/>
            <a:ahLst/>
            <a:cxnLst/>
            <a:rect l="l" t="t" r="r" b="b"/>
            <a:pathLst>
              <a:path w="1111379" h="79213">
                <a:moveTo>
                  <a:pt x="144269" y="30729"/>
                </a:moveTo>
                <a:lnTo>
                  <a:pt x="147292" y="23806"/>
                </a:lnTo>
                <a:lnTo>
                  <a:pt x="152043" y="18176"/>
                </a:lnTo>
                <a:lnTo>
                  <a:pt x="163220" y="11123"/>
                </a:lnTo>
                <a:lnTo>
                  <a:pt x="176232" y="9085"/>
                </a:lnTo>
                <a:lnTo>
                  <a:pt x="182278" y="9085"/>
                </a:lnTo>
                <a:lnTo>
                  <a:pt x="188330" y="10821"/>
                </a:lnTo>
                <a:lnTo>
                  <a:pt x="193513" y="13850"/>
                </a:lnTo>
                <a:lnTo>
                  <a:pt x="199990" y="6489"/>
                </a:lnTo>
                <a:lnTo>
                  <a:pt x="193944" y="2595"/>
                </a:lnTo>
                <a:lnTo>
                  <a:pt x="184438" y="0"/>
                </a:lnTo>
                <a:lnTo>
                  <a:pt x="175801" y="0"/>
                </a:lnTo>
                <a:lnTo>
                  <a:pt x="164823" y="1110"/>
                </a:lnTo>
                <a:lnTo>
                  <a:pt x="151533" y="5905"/>
                </a:lnTo>
                <a:lnTo>
                  <a:pt x="140753" y="14221"/>
                </a:lnTo>
                <a:lnTo>
                  <a:pt x="133523" y="25767"/>
                </a:lnTo>
                <a:lnTo>
                  <a:pt x="130881" y="40252"/>
                </a:lnTo>
                <a:lnTo>
                  <a:pt x="131916" y="49765"/>
                </a:lnTo>
                <a:lnTo>
                  <a:pt x="137420" y="62186"/>
                </a:lnTo>
                <a:lnTo>
                  <a:pt x="147000" y="71284"/>
                </a:lnTo>
                <a:lnTo>
                  <a:pt x="159901" y="76876"/>
                </a:lnTo>
                <a:lnTo>
                  <a:pt x="175369" y="78780"/>
                </a:lnTo>
                <a:lnTo>
                  <a:pt x="177391" y="78740"/>
                </a:lnTo>
                <a:lnTo>
                  <a:pt x="190926" y="76519"/>
                </a:lnTo>
                <a:lnTo>
                  <a:pt x="201718" y="71852"/>
                </a:lnTo>
                <a:lnTo>
                  <a:pt x="196104" y="64498"/>
                </a:lnTo>
                <a:lnTo>
                  <a:pt x="190490" y="67526"/>
                </a:lnTo>
                <a:lnTo>
                  <a:pt x="183574" y="70122"/>
                </a:lnTo>
                <a:lnTo>
                  <a:pt x="168027" y="70122"/>
                </a:lnTo>
                <a:lnTo>
                  <a:pt x="158958" y="68391"/>
                </a:lnTo>
                <a:lnTo>
                  <a:pt x="153338" y="62761"/>
                </a:lnTo>
                <a:lnTo>
                  <a:pt x="147724" y="57137"/>
                </a:lnTo>
                <a:lnTo>
                  <a:pt x="144269" y="51074"/>
                </a:lnTo>
                <a:lnTo>
                  <a:pt x="144269" y="30729"/>
                </a:lnTo>
                <a:close/>
              </a:path>
              <a:path w="1111379" h="79213">
                <a:moveTo>
                  <a:pt x="371467" y="67959"/>
                </a:moveTo>
                <a:lnTo>
                  <a:pt x="371467" y="42421"/>
                </a:lnTo>
                <a:lnTo>
                  <a:pt x="407323" y="42421"/>
                </a:lnTo>
                <a:lnTo>
                  <a:pt x="407323" y="33330"/>
                </a:lnTo>
                <a:lnTo>
                  <a:pt x="371467" y="33330"/>
                </a:lnTo>
                <a:lnTo>
                  <a:pt x="371467" y="10389"/>
                </a:lnTo>
                <a:lnTo>
                  <a:pt x="413801" y="10389"/>
                </a:lnTo>
                <a:lnTo>
                  <a:pt x="415096" y="1297"/>
                </a:lnTo>
                <a:lnTo>
                  <a:pt x="359375" y="1297"/>
                </a:lnTo>
                <a:lnTo>
                  <a:pt x="359375" y="77483"/>
                </a:lnTo>
                <a:lnTo>
                  <a:pt x="416824" y="77483"/>
                </a:lnTo>
                <a:lnTo>
                  <a:pt x="416824" y="67959"/>
                </a:lnTo>
                <a:lnTo>
                  <a:pt x="371467" y="67959"/>
                </a:lnTo>
                <a:close/>
              </a:path>
              <a:path w="1111379" h="79213">
                <a:moveTo>
                  <a:pt x="849212" y="10389"/>
                </a:moveTo>
                <a:lnTo>
                  <a:pt x="891074" y="10389"/>
                </a:lnTo>
                <a:lnTo>
                  <a:pt x="892801" y="1297"/>
                </a:lnTo>
                <a:lnTo>
                  <a:pt x="837120" y="1297"/>
                </a:lnTo>
                <a:lnTo>
                  <a:pt x="837120" y="77483"/>
                </a:lnTo>
                <a:lnTo>
                  <a:pt x="849212" y="77483"/>
                </a:lnTo>
                <a:lnTo>
                  <a:pt x="849212" y="41989"/>
                </a:lnTo>
                <a:lnTo>
                  <a:pt x="884625" y="41989"/>
                </a:lnTo>
                <a:lnTo>
                  <a:pt x="884625" y="32898"/>
                </a:lnTo>
                <a:lnTo>
                  <a:pt x="849212" y="32898"/>
                </a:lnTo>
                <a:lnTo>
                  <a:pt x="849212" y="10389"/>
                </a:lnTo>
                <a:close/>
              </a:path>
              <a:path w="1111379" h="79213">
                <a:moveTo>
                  <a:pt x="746833" y="1297"/>
                </a:moveTo>
                <a:lnTo>
                  <a:pt x="746833" y="77483"/>
                </a:lnTo>
                <a:lnTo>
                  <a:pt x="758925" y="77483"/>
                </a:lnTo>
                <a:lnTo>
                  <a:pt x="758925" y="1297"/>
                </a:lnTo>
                <a:lnTo>
                  <a:pt x="746833" y="1297"/>
                </a:lnTo>
                <a:close/>
              </a:path>
              <a:path w="1111379" h="79213">
                <a:moveTo>
                  <a:pt x="494570" y="77483"/>
                </a:moveTo>
                <a:lnTo>
                  <a:pt x="494570" y="38522"/>
                </a:lnTo>
                <a:lnTo>
                  <a:pt x="494167" y="27267"/>
                </a:lnTo>
                <a:lnTo>
                  <a:pt x="493303" y="14715"/>
                </a:lnTo>
                <a:lnTo>
                  <a:pt x="499218" y="23690"/>
                </a:lnTo>
                <a:lnTo>
                  <a:pt x="508389" y="36791"/>
                </a:lnTo>
                <a:lnTo>
                  <a:pt x="538619" y="77483"/>
                </a:lnTo>
                <a:lnTo>
                  <a:pt x="551575" y="77483"/>
                </a:lnTo>
                <a:lnTo>
                  <a:pt x="551575" y="1297"/>
                </a:lnTo>
                <a:lnTo>
                  <a:pt x="539483" y="1297"/>
                </a:lnTo>
                <a:lnTo>
                  <a:pt x="539944" y="39820"/>
                </a:lnTo>
                <a:lnTo>
                  <a:pt x="539944" y="49776"/>
                </a:lnTo>
                <a:lnTo>
                  <a:pt x="541671" y="63632"/>
                </a:lnTo>
                <a:lnTo>
                  <a:pt x="533437" y="51074"/>
                </a:lnTo>
                <a:lnTo>
                  <a:pt x="527391" y="42854"/>
                </a:lnTo>
                <a:lnTo>
                  <a:pt x="497161" y="1297"/>
                </a:lnTo>
                <a:lnTo>
                  <a:pt x="482478" y="1297"/>
                </a:lnTo>
                <a:lnTo>
                  <a:pt x="482478" y="77483"/>
                </a:lnTo>
                <a:lnTo>
                  <a:pt x="494570" y="77483"/>
                </a:lnTo>
                <a:close/>
              </a:path>
              <a:path w="1111379" h="79213">
                <a:moveTo>
                  <a:pt x="643187" y="77483"/>
                </a:moveTo>
                <a:lnTo>
                  <a:pt x="654818" y="77483"/>
                </a:lnTo>
                <a:lnTo>
                  <a:pt x="654818" y="10389"/>
                </a:lnTo>
                <a:lnTo>
                  <a:pt x="683321" y="10389"/>
                </a:lnTo>
                <a:lnTo>
                  <a:pt x="684645" y="1297"/>
                </a:lnTo>
                <a:lnTo>
                  <a:pt x="615087" y="1297"/>
                </a:lnTo>
                <a:lnTo>
                  <a:pt x="615087" y="10389"/>
                </a:lnTo>
                <a:lnTo>
                  <a:pt x="643187" y="10389"/>
                </a:lnTo>
                <a:lnTo>
                  <a:pt x="643187" y="77483"/>
                </a:lnTo>
                <a:close/>
              </a:path>
              <a:path w="1111379" h="79213">
                <a:moveTo>
                  <a:pt x="957177" y="1297"/>
                </a:moveTo>
                <a:lnTo>
                  <a:pt x="957177" y="77483"/>
                </a:lnTo>
                <a:lnTo>
                  <a:pt x="969269" y="77483"/>
                </a:lnTo>
                <a:lnTo>
                  <a:pt x="969269" y="1297"/>
                </a:lnTo>
                <a:lnTo>
                  <a:pt x="957177" y="1297"/>
                </a:lnTo>
                <a:close/>
              </a:path>
              <a:path w="1111379" h="79213">
                <a:moveTo>
                  <a:pt x="1068597" y="68391"/>
                </a:moveTo>
                <a:lnTo>
                  <a:pt x="1063011" y="62761"/>
                </a:lnTo>
                <a:lnTo>
                  <a:pt x="1056965" y="57137"/>
                </a:lnTo>
                <a:lnTo>
                  <a:pt x="1053913" y="51074"/>
                </a:lnTo>
                <a:lnTo>
                  <a:pt x="1053913" y="30729"/>
                </a:lnTo>
                <a:lnTo>
                  <a:pt x="1056505" y="23806"/>
                </a:lnTo>
                <a:lnTo>
                  <a:pt x="1061284" y="18176"/>
                </a:lnTo>
                <a:lnTo>
                  <a:pt x="1061593" y="17851"/>
                </a:lnTo>
                <a:lnTo>
                  <a:pt x="1072442" y="11124"/>
                </a:lnTo>
                <a:lnTo>
                  <a:pt x="1085468" y="9085"/>
                </a:lnTo>
                <a:lnTo>
                  <a:pt x="1091917" y="9085"/>
                </a:lnTo>
                <a:lnTo>
                  <a:pt x="1097560" y="10821"/>
                </a:lnTo>
                <a:lnTo>
                  <a:pt x="1103203" y="13850"/>
                </a:lnTo>
                <a:lnTo>
                  <a:pt x="1109249" y="6489"/>
                </a:lnTo>
                <a:lnTo>
                  <a:pt x="1103203" y="2595"/>
                </a:lnTo>
                <a:lnTo>
                  <a:pt x="1094105" y="0"/>
                </a:lnTo>
                <a:lnTo>
                  <a:pt x="1085468" y="0"/>
                </a:lnTo>
                <a:lnTo>
                  <a:pt x="1074487" y="1109"/>
                </a:lnTo>
                <a:lnTo>
                  <a:pt x="1061194" y="5904"/>
                </a:lnTo>
                <a:lnTo>
                  <a:pt x="1050418" y="14220"/>
                </a:lnTo>
                <a:lnTo>
                  <a:pt x="1043193" y="25766"/>
                </a:lnTo>
                <a:lnTo>
                  <a:pt x="1040555" y="40252"/>
                </a:lnTo>
                <a:lnTo>
                  <a:pt x="1041496" y="49448"/>
                </a:lnTo>
                <a:lnTo>
                  <a:pt x="1046836" y="62003"/>
                </a:lnTo>
                <a:lnTo>
                  <a:pt x="1056274" y="71200"/>
                </a:lnTo>
                <a:lnTo>
                  <a:pt x="1069100" y="76855"/>
                </a:lnTo>
                <a:lnTo>
                  <a:pt x="1084604" y="78780"/>
                </a:lnTo>
                <a:lnTo>
                  <a:pt x="1087044" y="78721"/>
                </a:lnTo>
                <a:lnTo>
                  <a:pt x="1100579" y="76465"/>
                </a:lnTo>
                <a:lnTo>
                  <a:pt x="1111379" y="71852"/>
                </a:lnTo>
                <a:lnTo>
                  <a:pt x="1105333" y="64498"/>
                </a:lnTo>
                <a:lnTo>
                  <a:pt x="1100151" y="67526"/>
                </a:lnTo>
                <a:lnTo>
                  <a:pt x="1093241" y="70122"/>
                </a:lnTo>
                <a:lnTo>
                  <a:pt x="1077694" y="70122"/>
                </a:lnTo>
                <a:lnTo>
                  <a:pt x="1068597" y="68391"/>
                </a:lnTo>
                <a:close/>
              </a:path>
              <a:path w="1111379" h="79213">
                <a:moveTo>
                  <a:pt x="268667" y="1297"/>
                </a:moveTo>
                <a:lnTo>
                  <a:pt x="268667" y="77483"/>
                </a:lnTo>
                <a:lnTo>
                  <a:pt x="280765" y="77483"/>
                </a:lnTo>
                <a:lnTo>
                  <a:pt x="280765" y="1297"/>
                </a:lnTo>
                <a:lnTo>
                  <a:pt x="268667" y="1297"/>
                </a:lnTo>
                <a:close/>
              </a:path>
              <a:path w="1111379" h="79213">
                <a:moveTo>
                  <a:pt x="15984" y="12552"/>
                </a:moveTo>
                <a:lnTo>
                  <a:pt x="23757" y="8652"/>
                </a:lnTo>
                <a:lnTo>
                  <a:pt x="42333" y="8652"/>
                </a:lnTo>
                <a:lnTo>
                  <a:pt x="50107" y="10389"/>
                </a:lnTo>
                <a:lnTo>
                  <a:pt x="57448" y="14715"/>
                </a:lnTo>
                <a:lnTo>
                  <a:pt x="63068" y="6489"/>
                </a:lnTo>
                <a:lnTo>
                  <a:pt x="59304" y="4568"/>
                </a:lnTo>
                <a:lnTo>
                  <a:pt x="47235" y="882"/>
                </a:lnTo>
                <a:lnTo>
                  <a:pt x="33696" y="-432"/>
                </a:lnTo>
                <a:lnTo>
                  <a:pt x="17908" y="2313"/>
                </a:lnTo>
                <a:lnTo>
                  <a:pt x="7010" y="10065"/>
                </a:lnTo>
                <a:lnTo>
                  <a:pt x="3028" y="21643"/>
                </a:lnTo>
                <a:lnTo>
                  <a:pt x="3202" y="23981"/>
                </a:lnTo>
                <a:lnTo>
                  <a:pt x="9362" y="34684"/>
                </a:lnTo>
                <a:lnTo>
                  <a:pt x="22894" y="41118"/>
                </a:lnTo>
                <a:lnTo>
                  <a:pt x="35423" y="44152"/>
                </a:lnTo>
                <a:lnTo>
                  <a:pt x="47084" y="46748"/>
                </a:lnTo>
                <a:lnTo>
                  <a:pt x="51834" y="50642"/>
                </a:lnTo>
                <a:lnTo>
                  <a:pt x="51834" y="61463"/>
                </a:lnTo>
                <a:lnTo>
                  <a:pt x="49675" y="64498"/>
                </a:lnTo>
                <a:lnTo>
                  <a:pt x="45356" y="67093"/>
                </a:lnTo>
                <a:lnTo>
                  <a:pt x="41469" y="68824"/>
                </a:lnTo>
                <a:lnTo>
                  <a:pt x="37583" y="70122"/>
                </a:lnTo>
                <a:lnTo>
                  <a:pt x="29329" y="70082"/>
                </a:lnTo>
                <a:lnTo>
                  <a:pt x="16958" y="68236"/>
                </a:lnTo>
                <a:lnTo>
                  <a:pt x="4756" y="63632"/>
                </a:lnTo>
                <a:lnTo>
                  <a:pt x="0" y="72285"/>
                </a:lnTo>
                <a:lnTo>
                  <a:pt x="5408" y="74584"/>
                </a:lnTo>
                <a:lnTo>
                  <a:pt x="17697" y="77999"/>
                </a:lnTo>
                <a:lnTo>
                  <a:pt x="30667" y="79213"/>
                </a:lnTo>
                <a:lnTo>
                  <a:pt x="38878" y="79213"/>
                </a:lnTo>
                <a:lnTo>
                  <a:pt x="46220" y="77915"/>
                </a:lnTo>
                <a:lnTo>
                  <a:pt x="51834" y="74887"/>
                </a:lnTo>
                <a:lnTo>
                  <a:pt x="60471" y="70555"/>
                </a:lnTo>
                <a:lnTo>
                  <a:pt x="65659" y="63200"/>
                </a:lnTo>
                <a:lnTo>
                  <a:pt x="65659" y="50209"/>
                </a:lnTo>
                <a:lnTo>
                  <a:pt x="63068" y="45017"/>
                </a:lnTo>
                <a:lnTo>
                  <a:pt x="59608" y="41550"/>
                </a:lnTo>
                <a:lnTo>
                  <a:pt x="55721" y="38089"/>
                </a:lnTo>
                <a:lnTo>
                  <a:pt x="49243" y="35493"/>
                </a:lnTo>
                <a:lnTo>
                  <a:pt x="42765" y="33763"/>
                </a:lnTo>
                <a:lnTo>
                  <a:pt x="31531" y="31167"/>
                </a:lnTo>
                <a:lnTo>
                  <a:pt x="20734" y="28565"/>
                </a:lnTo>
                <a:lnTo>
                  <a:pt x="15984" y="25537"/>
                </a:lnTo>
                <a:lnTo>
                  <a:pt x="15984" y="12552"/>
                </a:lnTo>
                <a:close/>
              </a:path>
            </a:pathLst>
          </a:custGeom>
          <a:solidFill>
            <a:srgbClr val="FFFFFF"/>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6" name="object 36"/>
          <p:cNvSpPr/>
          <p:nvPr/>
        </p:nvSpPr>
        <p:spPr>
          <a:xfrm>
            <a:off x="11288257" y="389308"/>
            <a:ext cx="0" cy="76185"/>
          </a:xfrm>
          <a:custGeom>
            <a:avLst/>
            <a:gdLst/>
            <a:ahLst/>
            <a:cxnLst/>
            <a:rect l="l" t="t" r="r" b="b"/>
            <a:pathLst>
              <a:path h="76185">
                <a:moveTo>
                  <a:pt x="0" y="0"/>
                </a:moveTo>
                <a:lnTo>
                  <a:pt x="0" y="76185"/>
                </a:lnTo>
              </a:path>
            </a:pathLst>
          </a:custGeom>
          <a:ln w="13362">
            <a:solidFill>
              <a:srgbClr val="FFFFFF"/>
            </a:solid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7" name="object 37"/>
          <p:cNvSpPr/>
          <p:nvPr/>
        </p:nvSpPr>
        <p:spPr>
          <a:xfrm>
            <a:off x="11498601" y="389308"/>
            <a:ext cx="0" cy="76185"/>
          </a:xfrm>
          <a:custGeom>
            <a:avLst/>
            <a:gdLst/>
            <a:ahLst/>
            <a:cxnLst/>
            <a:rect l="l" t="t" r="r" b="b"/>
            <a:pathLst>
              <a:path h="76185">
                <a:moveTo>
                  <a:pt x="0" y="0"/>
                </a:moveTo>
                <a:lnTo>
                  <a:pt x="0" y="76185"/>
                </a:lnTo>
              </a:path>
            </a:pathLst>
          </a:custGeom>
          <a:ln w="13362">
            <a:solidFill>
              <a:srgbClr val="FFFFFF"/>
            </a:solid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8" name="object 38"/>
          <p:cNvSpPr/>
          <p:nvPr/>
        </p:nvSpPr>
        <p:spPr>
          <a:xfrm>
            <a:off x="10810094" y="389308"/>
            <a:ext cx="0" cy="76185"/>
          </a:xfrm>
          <a:custGeom>
            <a:avLst/>
            <a:gdLst/>
            <a:ahLst/>
            <a:cxnLst/>
            <a:rect l="l" t="t" r="r" b="b"/>
            <a:pathLst>
              <a:path h="76185">
                <a:moveTo>
                  <a:pt x="0" y="0"/>
                </a:moveTo>
                <a:lnTo>
                  <a:pt x="0" y="76185"/>
                </a:lnTo>
              </a:path>
            </a:pathLst>
          </a:custGeom>
          <a:ln w="13367">
            <a:solidFill>
              <a:srgbClr val="FFFFFF"/>
            </a:solid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9" name="object 39"/>
          <p:cNvSpPr/>
          <p:nvPr/>
        </p:nvSpPr>
        <p:spPr>
          <a:xfrm>
            <a:off x="5559552" y="0"/>
            <a:ext cx="6632447" cy="6857998"/>
          </a:xfrm>
          <a:prstGeom prst="rect">
            <a:avLst/>
          </a:prstGeom>
          <a:blipFill>
            <a:blip r:embed="rId2" cstate="print"/>
            <a:stretch>
              <a:fillRect/>
            </a:stretch>
          </a:blip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1" name="object 41"/>
          <p:cNvSpPr/>
          <p:nvPr/>
        </p:nvSpPr>
        <p:spPr>
          <a:xfrm>
            <a:off x="746760" y="1594103"/>
            <a:ext cx="6092951" cy="0"/>
          </a:xfrm>
          <a:custGeom>
            <a:avLst/>
            <a:gdLst/>
            <a:ahLst/>
            <a:cxnLst/>
            <a:rect l="l" t="t" r="r" b="b"/>
            <a:pathLst>
              <a:path w="6092951">
                <a:moveTo>
                  <a:pt x="0" y="0"/>
                </a:moveTo>
                <a:lnTo>
                  <a:pt x="6092951" y="0"/>
                </a:lnTo>
              </a:path>
            </a:pathLst>
          </a:custGeom>
          <a:ln w="6350">
            <a:solidFill>
              <a:srgbClr val="CACDCD"/>
            </a:solid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2" name="object 42"/>
          <p:cNvSpPr/>
          <p:nvPr/>
        </p:nvSpPr>
        <p:spPr>
          <a:xfrm>
            <a:off x="304800" y="1213103"/>
            <a:ext cx="573024" cy="381000"/>
          </a:xfrm>
          <a:custGeom>
            <a:avLst/>
            <a:gdLst/>
            <a:ahLst/>
            <a:cxnLst/>
            <a:rect l="l" t="t" r="r" b="b"/>
            <a:pathLst>
              <a:path w="573024" h="381000">
                <a:moveTo>
                  <a:pt x="0" y="381000"/>
                </a:moveTo>
                <a:lnTo>
                  <a:pt x="451700" y="381000"/>
                </a:lnTo>
                <a:lnTo>
                  <a:pt x="573024" y="0"/>
                </a:lnTo>
                <a:lnTo>
                  <a:pt x="121323" y="0"/>
                </a:lnTo>
                <a:lnTo>
                  <a:pt x="0" y="381000"/>
                </a:lnTo>
                <a:close/>
              </a:path>
            </a:pathLst>
          </a:custGeom>
          <a:solidFill>
            <a:srgbClr val="E71215"/>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3" name="object 43"/>
          <p:cNvSpPr/>
          <p:nvPr/>
        </p:nvSpPr>
        <p:spPr>
          <a:xfrm>
            <a:off x="304800" y="1213103"/>
            <a:ext cx="573024" cy="381000"/>
          </a:xfrm>
          <a:custGeom>
            <a:avLst/>
            <a:gdLst/>
            <a:ahLst/>
            <a:cxnLst/>
            <a:rect l="l" t="t" r="r" b="b"/>
            <a:pathLst>
              <a:path w="573024" h="381000">
                <a:moveTo>
                  <a:pt x="0" y="381000"/>
                </a:moveTo>
                <a:lnTo>
                  <a:pt x="121323" y="0"/>
                </a:lnTo>
                <a:lnTo>
                  <a:pt x="573024" y="0"/>
                </a:lnTo>
                <a:lnTo>
                  <a:pt x="451700" y="381000"/>
                </a:lnTo>
                <a:lnTo>
                  <a:pt x="0" y="381000"/>
                </a:lnTo>
                <a:close/>
              </a:path>
            </a:pathLst>
          </a:custGeom>
          <a:ln w="6350">
            <a:solidFill>
              <a:srgbClr val="E71215"/>
            </a:solid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4" name="object 44"/>
          <p:cNvSpPr/>
          <p:nvPr/>
        </p:nvSpPr>
        <p:spPr>
          <a:xfrm>
            <a:off x="746760" y="2484120"/>
            <a:ext cx="5810758" cy="0"/>
          </a:xfrm>
          <a:custGeom>
            <a:avLst/>
            <a:gdLst/>
            <a:ahLst/>
            <a:cxnLst/>
            <a:rect l="l" t="t" r="r" b="b"/>
            <a:pathLst>
              <a:path w="5810758">
                <a:moveTo>
                  <a:pt x="0" y="0"/>
                </a:moveTo>
                <a:lnTo>
                  <a:pt x="5810758" y="0"/>
                </a:lnTo>
              </a:path>
            </a:pathLst>
          </a:custGeom>
          <a:ln w="6350">
            <a:solidFill>
              <a:srgbClr val="CACDCD"/>
            </a:solid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5" name="object 45"/>
          <p:cNvSpPr/>
          <p:nvPr/>
        </p:nvSpPr>
        <p:spPr>
          <a:xfrm>
            <a:off x="304800" y="2103120"/>
            <a:ext cx="573024" cy="381000"/>
          </a:xfrm>
          <a:custGeom>
            <a:avLst/>
            <a:gdLst/>
            <a:ahLst/>
            <a:cxnLst/>
            <a:rect l="l" t="t" r="r" b="b"/>
            <a:pathLst>
              <a:path w="573024" h="381000">
                <a:moveTo>
                  <a:pt x="0" y="381000"/>
                </a:moveTo>
                <a:lnTo>
                  <a:pt x="451700" y="381000"/>
                </a:lnTo>
                <a:lnTo>
                  <a:pt x="573024" y="0"/>
                </a:lnTo>
                <a:lnTo>
                  <a:pt x="121323" y="0"/>
                </a:lnTo>
                <a:lnTo>
                  <a:pt x="0" y="381000"/>
                </a:lnTo>
                <a:close/>
              </a:path>
            </a:pathLst>
          </a:custGeom>
          <a:solidFill>
            <a:srgbClr val="E71215"/>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6" name="object 46"/>
          <p:cNvSpPr/>
          <p:nvPr/>
        </p:nvSpPr>
        <p:spPr>
          <a:xfrm>
            <a:off x="304800" y="2103120"/>
            <a:ext cx="573024" cy="381000"/>
          </a:xfrm>
          <a:custGeom>
            <a:avLst/>
            <a:gdLst/>
            <a:ahLst/>
            <a:cxnLst/>
            <a:rect l="l" t="t" r="r" b="b"/>
            <a:pathLst>
              <a:path w="573024" h="381000">
                <a:moveTo>
                  <a:pt x="0" y="381000"/>
                </a:moveTo>
                <a:lnTo>
                  <a:pt x="121323" y="0"/>
                </a:lnTo>
                <a:lnTo>
                  <a:pt x="573024" y="0"/>
                </a:lnTo>
                <a:lnTo>
                  <a:pt x="451700" y="381000"/>
                </a:lnTo>
                <a:lnTo>
                  <a:pt x="0" y="381000"/>
                </a:lnTo>
                <a:close/>
              </a:path>
            </a:pathLst>
          </a:custGeom>
          <a:ln w="6350">
            <a:solidFill>
              <a:srgbClr val="E71215"/>
            </a:solid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7" name="object 47"/>
          <p:cNvSpPr/>
          <p:nvPr/>
        </p:nvSpPr>
        <p:spPr>
          <a:xfrm>
            <a:off x="746760" y="3374136"/>
            <a:ext cx="5551043" cy="0"/>
          </a:xfrm>
          <a:custGeom>
            <a:avLst/>
            <a:gdLst/>
            <a:ahLst/>
            <a:cxnLst/>
            <a:rect l="l" t="t" r="r" b="b"/>
            <a:pathLst>
              <a:path w="5551043">
                <a:moveTo>
                  <a:pt x="0" y="0"/>
                </a:moveTo>
                <a:lnTo>
                  <a:pt x="5551043" y="0"/>
                </a:lnTo>
              </a:path>
            </a:pathLst>
          </a:custGeom>
          <a:ln w="6350">
            <a:solidFill>
              <a:srgbClr val="CACDCD"/>
            </a:solid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8" name="object 48"/>
          <p:cNvSpPr/>
          <p:nvPr/>
        </p:nvSpPr>
        <p:spPr>
          <a:xfrm>
            <a:off x="304800" y="2993136"/>
            <a:ext cx="573024" cy="381000"/>
          </a:xfrm>
          <a:custGeom>
            <a:avLst/>
            <a:gdLst/>
            <a:ahLst/>
            <a:cxnLst/>
            <a:rect l="l" t="t" r="r" b="b"/>
            <a:pathLst>
              <a:path w="573024" h="381000">
                <a:moveTo>
                  <a:pt x="0" y="381000"/>
                </a:moveTo>
                <a:lnTo>
                  <a:pt x="451700" y="381000"/>
                </a:lnTo>
                <a:lnTo>
                  <a:pt x="573024" y="0"/>
                </a:lnTo>
                <a:lnTo>
                  <a:pt x="121323" y="0"/>
                </a:lnTo>
                <a:lnTo>
                  <a:pt x="0" y="381000"/>
                </a:lnTo>
                <a:close/>
              </a:path>
            </a:pathLst>
          </a:custGeom>
          <a:solidFill>
            <a:srgbClr val="E71215"/>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9" name="object 49"/>
          <p:cNvSpPr/>
          <p:nvPr/>
        </p:nvSpPr>
        <p:spPr>
          <a:xfrm>
            <a:off x="304800" y="2993136"/>
            <a:ext cx="573024" cy="381000"/>
          </a:xfrm>
          <a:custGeom>
            <a:avLst/>
            <a:gdLst/>
            <a:ahLst/>
            <a:cxnLst/>
            <a:rect l="l" t="t" r="r" b="b"/>
            <a:pathLst>
              <a:path w="573024" h="381000">
                <a:moveTo>
                  <a:pt x="0" y="381000"/>
                </a:moveTo>
                <a:lnTo>
                  <a:pt x="121323" y="0"/>
                </a:lnTo>
                <a:lnTo>
                  <a:pt x="573024" y="0"/>
                </a:lnTo>
                <a:lnTo>
                  <a:pt x="451700" y="381000"/>
                </a:lnTo>
                <a:lnTo>
                  <a:pt x="0" y="381000"/>
                </a:lnTo>
                <a:close/>
              </a:path>
            </a:pathLst>
          </a:custGeom>
          <a:ln w="6350">
            <a:solidFill>
              <a:srgbClr val="E71215"/>
            </a:solid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0" name="object 50"/>
          <p:cNvSpPr/>
          <p:nvPr/>
        </p:nvSpPr>
        <p:spPr>
          <a:xfrm>
            <a:off x="746760" y="4264152"/>
            <a:ext cx="5268849" cy="0"/>
          </a:xfrm>
          <a:custGeom>
            <a:avLst/>
            <a:gdLst/>
            <a:ahLst/>
            <a:cxnLst/>
            <a:rect l="l" t="t" r="r" b="b"/>
            <a:pathLst>
              <a:path w="5268849">
                <a:moveTo>
                  <a:pt x="0" y="0"/>
                </a:moveTo>
                <a:lnTo>
                  <a:pt x="5268849" y="0"/>
                </a:lnTo>
              </a:path>
            </a:pathLst>
          </a:custGeom>
          <a:ln w="6350">
            <a:solidFill>
              <a:srgbClr val="CACDCD"/>
            </a:solid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1" name="object 51"/>
          <p:cNvSpPr/>
          <p:nvPr/>
        </p:nvSpPr>
        <p:spPr>
          <a:xfrm>
            <a:off x="304800" y="3883152"/>
            <a:ext cx="573024" cy="381000"/>
          </a:xfrm>
          <a:custGeom>
            <a:avLst/>
            <a:gdLst/>
            <a:ahLst/>
            <a:cxnLst/>
            <a:rect l="l" t="t" r="r" b="b"/>
            <a:pathLst>
              <a:path w="573024" h="381000">
                <a:moveTo>
                  <a:pt x="0" y="381000"/>
                </a:moveTo>
                <a:lnTo>
                  <a:pt x="451700" y="381000"/>
                </a:lnTo>
                <a:lnTo>
                  <a:pt x="573024" y="0"/>
                </a:lnTo>
                <a:lnTo>
                  <a:pt x="121323" y="0"/>
                </a:lnTo>
                <a:lnTo>
                  <a:pt x="0" y="381000"/>
                </a:lnTo>
                <a:close/>
              </a:path>
            </a:pathLst>
          </a:custGeom>
          <a:solidFill>
            <a:srgbClr val="E71215"/>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2" name="object 52"/>
          <p:cNvSpPr/>
          <p:nvPr/>
        </p:nvSpPr>
        <p:spPr>
          <a:xfrm>
            <a:off x="304800" y="3883152"/>
            <a:ext cx="573024" cy="381000"/>
          </a:xfrm>
          <a:custGeom>
            <a:avLst/>
            <a:gdLst/>
            <a:ahLst/>
            <a:cxnLst/>
            <a:rect l="l" t="t" r="r" b="b"/>
            <a:pathLst>
              <a:path w="573024" h="381000">
                <a:moveTo>
                  <a:pt x="0" y="381000"/>
                </a:moveTo>
                <a:lnTo>
                  <a:pt x="121323" y="0"/>
                </a:lnTo>
                <a:lnTo>
                  <a:pt x="573024" y="0"/>
                </a:lnTo>
                <a:lnTo>
                  <a:pt x="451700" y="381000"/>
                </a:lnTo>
                <a:lnTo>
                  <a:pt x="0" y="381000"/>
                </a:lnTo>
                <a:close/>
              </a:path>
            </a:pathLst>
          </a:custGeom>
          <a:ln w="6350">
            <a:solidFill>
              <a:srgbClr val="E71215"/>
            </a:solid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6" name="object 16"/>
          <p:cNvSpPr txBox="1"/>
          <p:nvPr/>
        </p:nvSpPr>
        <p:spPr>
          <a:xfrm>
            <a:off x="292100" y="305134"/>
            <a:ext cx="4051300" cy="382015"/>
          </a:xfrm>
          <a:prstGeom prst="rect">
            <a:avLst/>
          </a:prstGeom>
        </p:spPr>
        <p:txBody>
          <a:bodyPr wrap="square" lIns="0" tIns="18859" rIns="0" bIns="0" rtlCol="0">
            <a:noAutofit/>
          </a:bodyPr>
          <a:lstStyle/>
          <a:p>
            <a:pPr marL="12700" marR="0" lvl="0" indent="0" algn="l" defTabSz="914400" rtl="0" eaLnBrk="1" fontAlgn="auto" latinLnBrk="0" hangingPunct="1">
              <a:lnSpc>
                <a:spcPts val="2970"/>
              </a:lnSpc>
              <a:spcBef>
                <a:spcPts val="0"/>
              </a:spcBef>
              <a:spcAft>
                <a:spcPts val="0"/>
              </a:spcAft>
              <a:buClrTx/>
              <a:buSzTx/>
              <a:buFontTx/>
              <a:buNone/>
              <a:tabLst/>
              <a:defRPr/>
            </a:pPr>
            <a:r>
              <a:rPr kumimoji="0" lang="en-US" sz="2800" b="1" i="0" u="none" strike="noStrike" kern="1200" cap="none" spc="-19" normalizeH="0" baseline="0" noProof="0">
                <a:ln>
                  <a:noFill/>
                </a:ln>
                <a:solidFill>
                  <a:srgbClr val="E71215"/>
                </a:solidFill>
                <a:effectLst/>
                <a:uLnTx/>
                <a:uFillTx/>
                <a:latin typeface="Arial"/>
                <a:ea typeface="+mn-ea"/>
                <a:cs typeface="Arial"/>
              </a:rPr>
              <a:t>NỘI DUNG</a:t>
            </a:r>
            <a:endParaRPr kumimoji="0" sz="2800" b="0" i="0" u="none" strike="noStrike" kern="1200" cap="none" spc="0" normalizeH="0" baseline="0" noProof="0">
              <a:ln>
                <a:noFill/>
              </a:ln>
              <a:solidFill>
                <a:prstClr val="black"/>
              </a:solidFill>
              <a:effectLst/>
              <a:uLnTx/>
              <a:uFillTx/>
              <a:latin typeface="Arial"/>
              <a:ea typeface="+mn-ea"/>
              <a:cs typeface="Arial"/>
            </a:endParaRPr>
          </a:p>
        </p:txBody>
      </p:sp>
      <p:sp>
        <p:nvSpPr>
          <p:cNvPr id="15" name="object 15"/>
          <p:cNvSpPr txBox="1"/>
          <p:nvPr/>
        </p:nvSpPr>
        <p:spPr>
          <a:xfrm>
            <a:off x="527710" y="1316233"/>
            <a:ext cx="150209" cy="202184"/>
          </a:xfrm>
          <a:prstGeom prst="rect">
            <a:avLst/>
          </a:prstGeom>
        </p:spPr>
        <p:txBody>
          <a:bodyPr wrap="square" lIns="0" tIns="9683" rIns="0" bIns="0" rtlCol="0">
            <a:noAutofit/>
          </a:bodyPr>
          <a:lstStyle/>
          <a:p>
            <a:pPr marL="12700" marR="0" lvl="0" indent="0" algn="l" defTabSz="914400" rtl="0" eaLnBrk="1" fontAlgn="auto" latinLnBrk="0" hangingPunct="1">
              <a:lnSpc>
                <a:spcPts val="1525"/>
              </a:lnSpc>
              <a:spcBef>
                <a:spcPts val="0"/>
              </a:spcBef>
              <a:spcAft>
                <a:spcPts val="0"/>
              </a:spcAft>
              <a:buClrTx/>
              <a:buSzTx/>
              <a:buFontTx/>
              <a:buNone/>
              <a:tabLst/>
              <a:defRPr/>
            </a:pPr>
            <a:r>
              <a:rPr kumimoji="0" sz="1400" b="1" i="0" u="none" strike="noStrike" kern="1200" cap="none" spc="0" normalizeH="0" baseline="0" noProof="0" dirty="0">
                <a:ln>
                  <a:noFill/>
                </a:ln>
                <a:solidFill>
                  <a:srgbClr val="FFFFFF"/>
                </a:solidFill>
                <a:effectLst/>
                <a:uLnTx/>
                <a:uFillTx/>
                <a:latin typeface="Arial"/>
                <a:ea typeface="+mn-ea"/>
                <a:cs typeface="Arial"/>
              </a:rPr>
              <a:t>1</a:t>
            </a:r>
            <a:endParaRPr kumimoji="0" sz="1400" b="0" i="0" u="none" strike="noStrike" kern="1200" cap="none" spc="0" normalizeH="0" baseline="0" noProof="0">
              <a:ln>
                <a:noFill/>
              </a:ln>
              <a:solidFill>
                <a:prstClr val="black"/>
              </a:solidFill>
              <a:effectLst/>
              <a:uLnTx/>
              <a:uFillTx/>
              <a:latin typeface="Arial"/>
              <a:ea typeface="+mn-ea"/>
              <a:cs typeface="Arial"/>
            </a:endParaRPr>
          </a:p>
        </p:txBody>
      </p:sp>
      <p:sp>
        <p:nvSpPr>
          <p:cNvPr id="14" name="object 14"/>
          <p:cNvSpPr txBox="1"/>
          <p:nvPr/>
        </p:nvSpPr>
        <p:spPr>
          <a:xfrm>
            <a:off x="1000455" y="1326743"/>
            <a:ext cx="2480257" cy="343557"/>
          </a:xfrm>
          <a:prstGeom prst="rect">
            <a:avLst/>
          </a:prstGeom>
        </p:spPr>
        <p:txBody>
          <a:bodyPr wrap="square" lIns="0" tIns="10445" rIns="0" bIns="0" rtlCol="0">
            <a:noAutofit/>
          </a:bodyPr>
          <a:lstStyle/>
          <a:p>
            <a:pPr marL="12700" marR="0" lvl="0" indent="0" algn="l" defTabSz="914400" rtl="0" eaLnBrk="1" fontAlgn="auto" latinLnBrk="0" hangingPunct="1">
              <a:lnSpc>
                <a:spcPts val="1645"/>
              </a:lnSpc>
              <a:spcBef>
                <a:spcPts val="0"/>
              </a:spcBef>
              <a:spcAft>
                <a:spcPts val="0"/>
              </a:spcAft>
              <a:buClrTx/>
              <a:buSzTx/>
              <a:buFontTx/>
              <a:buNone/>
              <a:tabLst/>
              <a:defRPr/>
            </a:pPr>
            <a:r>
              <a:rPr kumimoji="0" lang="en-US" sz="1500" b="0" i="0" u="none" strike="noStrike" kern="1200" cap="none" spc="-3" normalizeH="0" baseline="0" noProof="0">
                <a:ln>
                  <a:noFill/>
                </a:ln>
                <a:solidFill>
                  <a:srgbClr val="212121"/>
                </a:solidFill>
                <a:effectLst/>
                <a:uLnTx/>
                <a:uFillTx/>
                <a:latin typeface="Arial"/>
                <a:ea typeface="+mn-ea"/>
                <a:cs typeface="Arial"/>
              </a:rPr>
              <a:t>Giới thiệu kĩ thuật Microarray</a:t>
            </a:r>
            <a:endParaRPr kumimoji="0" sz="1500" b="0" i="0" u="none" strike="noStrike" kern="1200" cap="none" spc="0" normalizeH="0" baseline="0" noProof="0">
              <a:ln>
                <a:noFill/>
              </a:ln>
              <a:solidFill>
                <a:prstClr val="black"/>
              </a:solidFill>
              <a:effectLst/>
              <a:uLnTx/>
              <a:uFillTx/>
              <a:latin typeface="Arial"/>
              <a:ea typeface="+mn-ea"/>
              <a:cs typeface="Arial"/>
            </a:endParaRPr>
          </a:p>
        </p:txBody>
      </p:sp>
      <p:sp>
        <p:nvSpPr>
          <p:cNvPr id="13" name="object 13"/>
          <p:cNvSpPr txBox="1"/>
          <p:nvPr/>
        </p:nvSpPr>
        <p:spPr>
          <a:xfrm>
            <a:off x="527710" y="2206249"/>
            <a:ext cx="150209" cy="202184"/>
          </a:xfrm>
          <a:prstGeom prst="rect">
            <a:avLst/>
          </a:prstGeom>
        </p:spPr>
        <p:txBody>
          <a:bodyPr wrap="square" lIns="0" tIns="9683" rIns="0" bIns="0" rtlCol="0">
            <a:noAutofit/>
          </a:bodyPr>
          <a:lstStyle/>
          <a:p>
            <a:pPr marL="12700" marR="0" lvl="0" indent="0" algn="l" defTabSz="914400" rtl="0" eaLnBrk="1" fontAlgn="auto" latinLnBrk="0" hangingPunct="1">
              <a:lnSpc>
                <a:spcPts val="1525"/>
              </a:lnSpc>
              <a:spcBef>
                <a:spcPts val="0"/>
              </a:spcBef>
              <a:spcAft>
                <a:spcPts val="0"/>
              </a:spcAft>
              <a:buClrTx/>
              <a:buSzTx/>
              <a:buFontTx/>
              <a:buNone/>
              <a:tabLst/>
              <a:defRPr/>
            </a:pPr>
            <a:r>
              <a:rPr kumimoji="0" sz="1400" b="1" i="0" u="none" strike="noStrike" kern="1200" cap="none" spc="0" normalizeH="0" baseline="0" noProof="0" dirty="0">
                <a:ln>
                  <a:noFill/>
                </a:ln>
                <a:solidFill>
                  <a:srgbClr val="FFFFFF"/>
                </a:solidFill>
                <a:effectLst/>
                <a:uLnTx/>
                <a:uFillTx/>
                <a:latin typeface="Arial"/>
                <a:ea typeface="+mn-ea"/>
                <a:cs typeface="Arial"/>
              </a:rPr>
              <a:t>2</a:t>
            </a:r>
            <a:endParaRPr kumimoji="0" sz="1400" b="0" i="0" u="none" strike="noStrike" kern="1200" cap="none" spc="0" normalizeH="0" baseline="0" noProof="0">
              <a:ln>
                <a:noFill/>
              </a:ln>
              <a:solidFill>
                <a:prstClr val="black"/>
              </a:solidFill>
              <a:effectLst/>
              <a:uLnTx/>
              <a:uFillTx/>
              <a:latin typeface="Arial"/>
              <a:ea typeface="+mn-ea"/>
              <a:cs typeface="Arial"/>
            </a:endParaRPr>
          </a:p>
        </p:txBody>
      </p:sp>
      <p:sp>
        <p:nvSpPr>
          <p:cNvPr id="12" name="object 12"/>
          <p:cNvSpPr txBox="1"/>
          <p:nvPr/>
        </p:nvSpPr>
        <p:spPr>
          <a:xfrm>
            <a:off x="1000455" y="2216760"/>
            <a:ext cx="4436466" cy="283182"/>
          </a:xfrm>
          <a:prstGeom prst="rect">
            <a:avLst/>
          </a:prstGeom>
        </p:spPr>
        <p:txBody>
          <a:bodyPr wrap="square" lIns="0" tIns="10445" rIns="0" bIns="0" rtlCol="0">
            <a:noAutofit/>
          </a:bodyPr>
          <a:lstStyle/>
          <a:p>
            <a:pPr marL="12700" marR="0" lvl="0" indent="0" algn="l" defTabSz="914400" rtl="0" eaLnBrk="1" fontAlgn="auto" latinLnBrk="0" hangingPunct="1">
              <a:lnSpc>
                <a:spcPts val="1645"/>
              </a:lnSpc>
              <a:spcBef>
                <a:spcPts val="0"/>
              </a:spcBef>
              <a:spcAft>
                <a:spcPts val="0"/>
              </a:spcAft>
              <a:buClrTx/>
              <a:buSzTx/>
              <a:buFontTx/>
              <a:buNone/>
              <a:tabLst/>
              <a:defRPr/>
            </a:pPr>
            <a:r>
              <a:rPr kumimoji="0" lang="en-US" sz="1500" b="0" i="0" u="none" strike="noStrike" kern="1200" cap="none" spc="0" normalizeH="0" baseline="0" noProof="0">
                <a:ln>
                  <a:noFill/>
                </a:ln>
                <a:solidFill>
                  <a:srgbClr val="212121"/>
                </a:solidFill>
                <a:effectLst/>
                <a:uLnTx/>
                <a:uFillTx/>
                <a:latin typeface="Arial"/>
                <a:ea typeface="+mn-ea"/>
                <a:cs typeface="Arial"/>
              </a:rPr>
              <a:t>Quy trình thực hiện</a:t>
            </a:r>
            <a:endParaRPr kumimoji="0" sz="1500" b="0" i="0" u="none" strike="noStrike" kern="1200" cap="none" spc="0" normalizeH="0" baseline="0" noProof="0">
              <a:ln>
                <a:noFill/>
              </a:ln>
              <a:solidFill>
                <a:prstClr val="black"/>
              </a:solidFill>
              <a:effectLst/>
              <a:uLnTx/>
              <a:uFillTx/>
              <a:latin typeface="Arial"/>
              <a:ea typeface="+mn-ea"/>
              <a:cs typeface="Arial"/>
            </a:endParaRPr>
          </a:p>
        </p:txBody>
      </p:sp>
      <p:sp>
        <p:nvSpPr>
          <p:cNvPr id="11" name="object 11"/>
          <p:cNvSpPr txBox="1"/>
          <p:nvPr/>
        </p:nvSpPr>
        <p:spPr>
          <a:xfrm>
            <a:off x="527710" y="3096018"/>
            <a:ext cx="150424" cy="202488"/>
          </a:xfrm>
          <a:prstGeom prst="rect">
            <a:avLst/>
          </a:prstGeom>
        </p:spPr>
        <p:txBody>
          <a:bodyPr wrap="square" lIns="0" tIns="9683" rIns="0" bIns="0" rtlCol="0">
            <a:noAutofit/>
          </a:bodyPr>
          <a:lstStyle/>
          <a:p>
            <a:pPr marL="12700" marR="0" lvl="0" indent="0" algn="l" defTabSz="914400" rtl="0" eaLnBrk="1" fontAlgn="auto" latinLnBrk="0" hangingPunct="1">
              <a:lnSpc>
                <a:spcPts val="1525"/>
              </a:lnSpc>
              <a:spcBef>
                <a:spcPts val="0"/>
              </a:spcBef>
              <a:spcAft>
                <a:spcPts val="0"/>
              </a:spcAft>
              <a:buClrTx/>
              <a:buSzTx/>
              <a:buFontTx/>
              <a:buNone/>
              <a:tabLst/>
              <a:defRPr/>
            </a:pPr>
            <a:r>
              <a:rPr kumimoji="0" sz="1400" b="1" i="0" u="none" strike="noStrike" kern="1200" cap="none" spc="0" normalizeH="0" baseline="0" noProof="0" dirty="0">
                <a:ln>
                  <a:noFill/>
                </a:ln>
                <a:solidFill>
                  <a:srgbClr val="FFFFFF"/>
                </a:solidFill>
                <a:effectLst/>
                <a:uLnTx/>
                <a:uFillTx/>
                <a:latin typeface="Arial"/>
                <a:ea typeface="+mn-ea"/>
                <a:cs typeface="Arial"/>
              </a:rPr>
              <a:t>3</a:t>
            </a:r>
            <a:endParaRPr kumimoji="0" sz="1400" b="0" i="0" u="none" strike="noStrike" kern="1200" cap="none" spc="0" normalizeH="0" baseline="0" noProof="0">
              <a:ln>
                <a:noFill/>
              </a:ln>
              <a:solidFill>
                <a:prstClr val="black"/>
              </a:solidFill>
              <a:effectLst/>
              <a:uLnTx/>
              <a:uFillTx/>
              <a:latin typeface="Arial"/>
              <a:ea typeface="+mn-ea"/>
              <a:cs typeface="Arial"/>
            </a:endParaRPr>
          </a:p>
        </p:txBody>
      </p:sp>
      <p:sp>
        <p:nvSpPr>
          <p:cNvPr id="10" name="object 10"/>
          <p:cNvSpPr txBox="1"/>
          <p:nvPr/>
        </p:nvSpPr>
        <p:spPr>
          <a:xfrm>
            <a:off x="1000455" y="3106776"/>
            <a:ext cx="4251080" cy="217424"/>
          </a:xfrm>
          <a:prstGeom prst="rect">
            <a:avLst/>
          </a:prstGeom>
        </p:spPr>
        <p:txBody>
          <a:bodyPr wrap="square" lIns="0" tIns="10445" rIns="0" bIns="0" rtlCol="0">
            <a:noAutofit/>
          </a:bodyPr>
          <a:lstStyle/>
          <a:p>
            <a:pPr marL="12700" marR="0" lvl="0" indent="0" algn="l" defTabSz="914400" rtl="0" eaLnBrk="1" fontAlgn="auto" latinLnBrk="0" hangingPunct="1">
              <a:lnSpc>
                <a:spcPts val="1645"/>
              </a:lnSpc>
              <a:spcBef>
                <a:spcPts val="0"/>
              </a:spcBef>
              <a:spcAft>
                <a:spcPts val="0"/>
              </a:spcAft>
              <a:buClrTx/>
              <a:buSzTx/>
              <a:buFontTx/>
              <a:buNone/>
              <a:tabLst/>
              <a:defRPr/>
            </a:pPr>
            <a:r>
              <a:rPr kumimoji="0" lang="en-US" sz="1500" b="0" i="0" u="none" strike="noStrike" kern="1200" cap="none" spc="-4" normalizeH="0" baseline="0" noProof="0">
                <a:ln>
                  <a:noFill/>
                </a:ln>
                <a:solidFill>
                  <a:srgbClr val="212121"/>
                </a:solidFill>
                <a:effectLst/>
                <a:uLnTx/>
                <a:uFillTx/>
                <a:latin typeface="Arial"/>
                <a:ea typeface="+mn-ea"/>
                <a:cs typeface="Arial"/>
              </a:rPr>
              <a:t>Các ứng dụng chính và tế bào học</a:t>
            </a:r>
            <a:endParaRPr kumimoji="0" sz="1500" b="0" i="0" u="none" strike="noStrike" kern="1200" cap="none" spc="0" normalizeH="0" baseline="0" noProof="0">
              <a:ln>
                <a:noFill/>
              </a:ln>
              <a:solidFill>
                <a:prstClr val="black"/>
              </a:solidFill>
              <a:effectLst/>
              <a:uLnTx/>
              <a:uFillTx/>
              <a:latin typeface="Arial"/>
              <a:ea typeface="+mn-ea"/>
              <a:cs typeface="Arial"/>
            </a:endParaRPr>
          </a:p>
        </p:txBody>
      </p:sp>
      <p:sp>
        <p:nvSpPr>
          <p:cNvPr id="9" name="object 9"/>
          <p:cNvSpPr txBox="1"/>
          <p:nvPr/>
        </p:nvSpPr>
        <p:spPr>
          <a:xfrm>
            <a:off x="527710" y="3986034"/>
            <a:ext cx="150424" cy="202488"/>
          </a:xfrm>
          <a:prstGeom prst="rect">
            <a:avLst/>
          </a:prstGeom>
        </p:spPr>
        <p:txBody>
          <a:bodyPr wrap="square" lIns="0" tIns="9683" rIns="0" bIns="0" rtlCol="0">
            <a:noAutofit/>
          </a:bodyPr>
          <a:lstStyle/>
          <a:p>
            <a:pPr marL="12700" marR="0" lvl="0" indent="0" algn="l" defTabSz="914400" rtl="0" eaLnBrk="1" fontAlgn="auto" latinLnBrk="0" hangingPunct="1">
              <a:lnSpc>
                <a:spcPts val="1525"/>
              </a:lnSpc>
              <a:spcBef>
                <a:spcPts val="0"/>
              </a:spcBef>
              <a:spcAft>
                <a:spcPts val="0"/>
              </a:spcAft>
              <a:buClrTx/>
              <a:buSzTx/>
              <a:buFontTx/>
              <a:buNone/>
              <a:tabLst/>
              <a:defRPr/>
            </a:pPr>
            <a:r>
              <a:rPr kumimoji="0" sz="1400" b="1" i="0" u="none" strike="noStrike" kern="1200" cap="none" spc="0" normalizeH="0" baseline="0" noProof="0" dirty="0">
                <a:ln>
                  <a:noFill/>
                </a:ln>
                <a:solidFill>
                  <a:srgbClr val="FFFFFF"/>
                </a:solidFill>
                <a:effectLst/>
                <a:uLnTx/>
                <a:uFillTx/>
                <a:latin typeface="Arial"/>
                <a:ea typeface="+mn-ea"/>
                <a:cs typeface="Arial"/>
              </a:rPr>
              <a:t>4</a:t>
            </a:r>
            <a:endParaRPr kumimoji="0" sz="1400" b="0" i="0" u="none" strike="noStrike" kern="1200" cap="none" spc="0" normalizeH="0" baseline="0" noProof="0">
              <a:ln>
                <a:noFill/>
              </a:ln>
              <a:solidFill>
                <a:prstClr val="black"/>
              </a:solidFill>
              <a:effectLst/>
              <a:uLnTx/>
              <a:uFillTx/>
              <a:latin typeface="Arial"/>
              <a:ea typeface="+mn-ea"/>
              <a:cs typeface="Arial"/>
            </a:endParaRPr>
          </a:p>
        </p:txBody>
      </p:sp>
      <p:sp>
        <p:nvSpPr>
          <p:cNvPr id="8" name="object 8"/>
          <p:cNvSpPr txBox="1"/>
          <p:nvPr/>
        </p:nvSpPr>
        <p:spPr>
          <a:xfrm>
            <a:off x="1000454" y="3996792"/>
            <a:ext cx="3627529" cy="191727"/>
          </a:xfrm>
          <a:prstGeom prst="rect">
            <a:avLst/>
          </a:prstGeom>
        </p:spPr>
        <p:txBody>
          <a:bodyPr wrap="square" lIns="0" tIns="10445" rIns="0" bIns="0" rtlCol="0">
            <a:noAutofit/>
          </a:bodyPr>
          <a:lstStyle/>
          <a:p>
            <a:pPr marL="12700" marR="0" lvl="0" indent="0" algn="l" defTabSz="914400" rtl="0" eaLnBrk="1" fontAlgn="auto" latinLnBrk="0" hangingPunct="1">
              <a:lnSpc>
                <a:spcPts val="1645"/>
              </a:lnSpc>
              <a:spcBef>
                <a:spcPts val="0"/>
              </a:spcBef>
              <a:spcAft>
                <a:spcPts val="0"/>
              </a:spcAft>
              <a:buClrTx/>
              <a:buSzTx/>
              <a:buFontTx/>
              <a:buNone/>
              <a:tabLst/>
              <a:defRPr/>
            </a:pPr>
            <a:r>
              <a:rPr lang="en-US" sz="1500">
                <a:solidFill>
                  <a:prstClr val="black"/>
                </a:solidFill>
                <a:latin typeface="Arial"/>
                <a:cs typeface="Arial"/>
              </a:rPr>
              <a:t>Cách phân tích kết quả</a:t>
            </a:r>
            <a:endParaRPr kumimoji="0" sz="1500" b="0" i="0" u="none" strike="noStrike" kern="1200" cap="none" spc="0" normalizeH="0" baseline="0" noProof="0">
              <a:ln>
                <a:noFill/>
              </a:ln>
              <a:solidFill>
                <a:prstClr val="black"/>
              </a:solidFill>
              <a:effectLst/>
              <a:uLnTx/>
              <a:uFillTx/>
              <a:latin typeface="Arial"/>
              <a:ea typeface="+mn-ea"/>
              <a:cs typeface="Arial"/>
            </a:endParaRPr>
          </a:p>
        </p:txBody>
      </p:sp>
      <p:sp>
        <p:nvSpPr>
          <p:cNvPr id="7" name="object 7"/>
          <p:cNvSpPr txBox="1"/>
          <p:nvPr/>
        </p:nvSpPr>
        <p:spPr>
          <a:xfrm>
            <a:off x="527710" y="4876551"/>
            <a:ext cx="150209" cy="202183"/>
          </a:xfrm>
          <a:prstGeom prst="rect">
            <a:avLst/>
          </a:prstGeom>
        </p:spPr>
        <p:txBody>
          <a:bodyPr wrap="square" lIns="0" tIns="9683" rIns="0" bIns="0" rtlCol="0">
            <a:noAutofit/>
          </a:bodyPr>
          <a:lstStyle/>
          <a:p>
            <a:pPr marL="12700" marR="0" lvl="0" indent="0" algn="l" defTabSz="914400" rtl="0" eaLnBrk="1" fontAlgn="auto" latinLnBrk="0" hangingPunct="1">
              <a:lnSpc>
                <a:spcPts val="1525"/>
              </a:lnSpc>
              <a:spcBef>
                <a:spcPts val="0"/>
              </a:spcBef>
              <a:spcAft>
                <a:spcPts val="0"/>
              </a:spcAft>
              <a:buClrTx/>
              <a:buSzTx/>
              <a:buFontTx/>
              <a:buNone/>
              <a:tabLst/>
              <a:defRPr/>
            </a:pPr>
            <a:r>
              <a:rPr kumimoji="0" sz="1400" b="1" i="0" u="none" strike="noStrike" kern="1200" cap="none" spc="0" normalizeH="0" baseline="0" noProof="0" dirty="0">
                <a:ln>
                  <a:noFill/>
                </a:ln>
                <a:solidFill>
                  <a:srgbClr val="FFFFFF"/>
                </a:solidFill>
                <a:effectLst/>
                <a:uLnTx/>
                <a:uFillTx/>
                <a:latin typeface="Arial"/>
                <a:ea typeface="+mn-ea"/>
                <a:cs typeface="Arial"/>
              </a:rPr>
              <a:t>5</a:t>
            </a:r>
            <a:endParaRPr kumimoji="0" sz="1400" b="0" i="0" u="none" strike="noStrike" kern="1200" cap="none" spc="0" normalizeH="0" baseline="0" noProof="0">
              <a:ln>
                <a:noFill/>
              </a:ln>
              <a:solidFill>
                <a:prstClr val="black"/>
              </a:solidFill>
              <a:effectLst/>
              <a:uLnTx/>
              <a:uFillTx/>
              <a:latin typeface="Arial"/>
              <a:ea typeface="+mn-ea"/>
              <a:cs typeface="Arial"/>
            </a:endParaRPr>
          </a:p>
        </p:txBody>
      </p:sp>
      <p:sp>
        <p:nvSpPr>
          <p:cNvPr id="5" name="object 5"/>
          <p:cNvSpPr txBox="1"/>
          <p:nvPr/>
        </p:nvSpPr>
        <p:spPr>
          <a:xfrm>
            <a:off x="527710" y="5766618"/>
            <a:ext cx="150209" cy="202183"/>
          </a:xfrm>
          <a:prstGeom prst="rect">
            <a:avLst/>
          </a:prstGeom>
        </p:spPr>
        <p:txBody>
          <a:bodyPr wrap="square" lIns="0" tIns="9683" rIns="0" bIns="0" rtlCol="0">
            <a:noAutofit/>
          </a:bodyPr>
          <a:lstStyle/>
          <a:p>
            <a:pPr marL="12700" marR="0" lvl="0" indent="0" algn="l" defTabSz="914400" rtl="0" eaLnBrk="1" fontAlgn="auto" latinLnBrk="0" hangingPunct="1">
              <a:lnSpc>
                <a:spcPts val="1525"/>
              </a:lnSpc>
              <a:spcBef>
                <a:spcPts val="0"/>
              </a:spcBef>
              <a:spcAft>
                <a:spcPts val="0"/>
              </a:spcAft>
              <a:buClrTx/>
              <a:buSzTx/>
              <a:buFontTx/>
              <a:buNone/>
              <a:tabLst/>
              <a:defRPr/>
            </a:pPr>
            <a:r>
              <a:rPr kumimoji="0" sz="1400" b="1" i="0" u="none" strike="noStrike" kern="1200" cap="none" spc="0" normalizeH="0" baseline="0" noProof="0" dirty="0">
                <a:ln>
                  <a:noFill/>
                </a:ln>
                <a:solidFill>
                  <a:srgbClr val="FFFFFF"/>
                </a:solidFill>
                <a:effectLst/>
                <a:uLnTx/>
                <a:uFillTx/>
                <a:latin typeface="Arial"/>
                <a:ea typeface="+mn-ea"/>
                <a:cs typeface="Arial"/>
              </a:rPr>
              <a:t>6</a:t>
            </a:r>
            <a:endParaRPr kumimoji="0" sz="1400" b="0" i="0" u="none" strike="noStrike" kern="1200" cap="none" spc="0" normalizeH="0" baseline="0" noProof="0">
              <a:ln>
                <a:noFill/>
              </a:ln>
              <a:solidFill>
                <a:prstClr val="black"/>
              </a:solidFill>
              <a:effectLst/>
              <a:uLnTx/>
              <a:uFillTx/>
              <a:latin typeface="Arial"/>
              <a:ea typeface="+mn-ea"/>
              <a:cs typeface="Arial"/>
            </a:endParaRPr>
          </a:p>
        </p:txBody>
      </p:sp>
      <p:sp>
        <p:nvSpPr>
          <p:cNvPr id="3" name="object 3"/>
          <p:cNvSpPr txBox="1"/>
          <p:nvPr/>
        </p:nvSpPr>
        <p:spPr>
          <a:xfrm>
            <a:off x="104038" y="6640982"/>
            <a:ext cx="115779" cy="153416"/>
          </a:xfrm>
          <a:prstGeom prst="rect">
            <a:avLst/>
          </a:prstGeom>
        </p:spPr>
        <p:txBody>
          <a:bodyPr wrap="square" lIns="0" tIns="7175" rIns="0" bIns="0" rtlCol="0">
            <a:noAutofit/>
          </a:bodyPr>
          <a:lstStyle/>
          <a:p>
            <a:pPr marL="12700" marR="0" lvl="0" indent="0" algn="l" defTabSz="914400" rtl="0" eaLnBrk="1" fontAlgn="auto" latinLnBrk="0" hangingPunct="1">
              <a:lnSpc>
                <a:spcPts val="1130"/>
              </a:lnSpc>
              <a:spcBef>
                <a:spcPts val="0"/>
              </a:spcBef>
              <a:spcAft>
                <a:spcPts val="0"/>
              </a:spcAft>
              <a:buClrTx/>
              <a:buSzTx/>
              <a:buFontTx/>
              <a:buNone/>
              <a:tabLst/>
              <a:defRPr/>
            </a:pPr>
            <a:r>
              <a:rPr kumimoji="0" sz="1000" b="0" i="0" u="none" strike="noStrike" kern="1200" cap="none" spc="0" normalizeH="0" baseline="0" noProof="0" dirty="0">
                <a:ln>
                  <a:noFill/>
                </a:ln>
                <a:solidFill>
                  <a:srgbClr val="535758"/>
                </a:solidFill>
                <a:effectLst/>
                <a:uLnTx/>
                <a:uFillTx/>
                <a:latin typeface="Arial"/>
                <a:ea typeface="+mn-ea"/>
                <a:cs typeface="Arial"/>
              </a:rPr>
              <a:t>2</a:t>
            </a:r>
            <a:endParaRPr kumimoji="0" sz="1000" b="0" i="0" u="none" strike="noStrike" kern="1200" cap="none" spc="0" normalizeH="0" baseline="0" noProof="0">
              <a:ln>
                <a:noFill/>
              </a:ln>
              <a:solidFill>
                <a:prstClr val="black"/>
              </a:solidFill>
              <a:effectLst/>
              <a:uLnTx/>
              <a:uFillTx/>
              <a:latin typeface="Arial"/>
              <a:ea typeface="+mn-ea"/>
              <a:cs typeface="Arial"/>
            </a:endParaRPr>
          </a:p>
        </p:txBody>
      </p:sp>
      <p:sp>
        <p:nvSpPr>
          <p:cNvPr id="4" name="Rectangle 3">
            <a:extLst>
              <a:ext uri="{FF2B5EF4-FFF2-40B4-BE49-F238E27FC236}">
                <a16:creationId xmlns:a16="http://schemas.microsoft.com/office/drawing/2014/main" id="{9BB4CB9C-8A43-C0AE-1F15-277E789F107D}"/>
              </a:ext>
            </a:extLst>
          </p:cNvPr>
          <p:cNvSpPr/>
          <p:nvPr/>
        </p:nvSpPr>
        <p:spPr>
          <a:xfrm>
            <a:off x="9937102" y="0"/>
            <a:ext cx="2127380" cy="88640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89006F1E-66CD-4A4B-9370-B4A3080F0E6C}" type="slidenum">
              <a:rPr lang="en-US" smtClean="0"/>
              <a:pPr/>
              <a:t>20</a:t>
            </a:fld>
            <a:endParaRPr lang="en-US" dirty="0"/>
          </a:p>
        </p:txBody>
      </p:sp>
      <p:sp>
        <p:nvSpPr>
          <p:cNvPr id="5" name="Text Placeholder 4"/>
          <p:cNvSpPr>
            <a:spLocks noGrp="1"/>
          </p:cNvSpPr>
          <p:nvPr>
            <p:ph type="body" sz="quarter" idx="17"/>
          </p:nvPr>
        </p:nvSpPr>
        <p:spPr>
          <a:xfrm>
            <a:off x="637660" y="2257386"/>
            <a:ext cx="8748936" cy="2258630"/>
          </a:xfrm>
        </p:spPr>
        <p:txBody>
          <a:bodyPr>
            <a:normAutofit fontScale="47500" lnSpcReduction="20000"/>
          </a:bodyPr>
          <a:lstStyle/>
          <a:p>
            <a:pPr marL="70553" marR="0" lvl="0" indent="0" algn="l" defTabSz="945990" rtl="0" eaLnBrk="0" fontAlgn="base" latinLnBrk="0" hangingPunct="0">
              <a:lnSpc>
                <a:spcPct val="170000"/>
              </a:lnSpc>
              <a:spcBef>
                <a:spcPct val="20000"/>
              </a:spcBef>
              <a:spcAft>
                <a:spcPct val="0"/>
              </a:spcAft>
              <a:buClr>
                <a:srgbClr val="94C600"/>
              </a:buClr>
              <a:buSzPct val="76000"/>
              <a:buFont typeface="Wingdings 2" pitchFamily="18" charset="2"/>
              <a:buNone/>
              <a:tabLst/>
              <a:defRPr/>
            </a:pPr>
            <a:r>
              <a:rPr kumimoji="0" lang="en-US" sz="9600" b="1" i="0" u="none" strike="noStrike" kern="1200" cap="none" spc="0" normalizeH="0" baseline="0" noProof="0">
                <a:ln>
                  <a:noFill/>
                </a:ln>
                <a:solidFill>
                  <a:srgbClr val="FF0000"/>
                </a:solidFill>
                <a:effectLst>
                  <a:outerShdw blurRad="38100" dist="38100" dir="2700000" algn="tl">
                    <a:srgbClr val="000000">
                      <a:alpha val="43137"/>
                    </a:srgbClr>
                  </a:outerShdw>
                </a:effectLst>
                <a:uLnTx/>
                <a:uFillTx/>
                <a:latin typeface="Tahoma" panose="020B0604030504040204" pitchFamily="34" charset="0"/>
                <a:ea typeface="Tahoma" panose="020B0604030504040204" pitchFamily="34" charset="0"/>
                <a:cs typeface="Tahoma" panose="020B0604030504040204" pitchFamily="34" charset="0"/>
              </a:rPr>
              <a:t>CÁC ỨNG DỤNG</a:t>
            </a:r>
          </a:p>
          <a:p>
            <a:pPr marL="70553" marR="0" lvl="0" indent="0" algn="l" defTabSz="945990" rtl="0" eaLnBrk="0" fontAlgn="base" latinLnBrk="0" hangingPunct="0">
              <a:lnSpc>
                <a:spcPct val="170000"/>
              </a:lnSpc>
              <a:spcBef>
                <a:spcPct val="20000"/>
              </a:spcBef>
              <a:spcAft>
                <a:spcPct val="0"/>
              </a:spcAft>
              <a:buClr>
                <a:srgbClr val="94C600"/>
              </a:buClr>
              <a:buSzPct val="76000"/>
              <a:buFont typeface="Wingdings 2" pitchFamily="18" charset="2"/>
              <a:buNone/>
              <a:tabLst/>
              <a:defRPr/>
            </a:pPr>
            <a:r>
              <a:rPr kumimoji="0" lang="en-US" sz="9600" b="1" i="0" u="none" strike="noStrike" kern="1200" cap="none" spc="0" normalizeH="0" baseline="0" noProof="0">
                <a:ln>
                  <a:noFill/>
                </a:ln>
                <a:solidFill>
                  <a:srgbClr val="FF0000"/>
                </a:solidFill>
                <a:effectLst>
                  <a:outerShdw blurRad="38100" dist="38100" dir="2700000" algn="tl">
                    <a:srgbClr val="000000">
                      <a:alpha val="43137"/>
                    </a:srgbClr>
                  </a:outerShdw>
                </a:effectLst>
                <a:uLnTx/>
                <a:uFillTx/>
                <a:latin typeface="Tahoma" panose="020B0604030504040204" pitchFamily="34" charset="0"/>
                <a:ea typeface="Tahoma" panose="020B0604030504040204" pitchFamily="34" charset="0"/>
                <a:cs typeface="Tahoma" panose="020B0604030504040204" pitchFamily="34" charset="0"/>
              </a:rPr>
              <a:t>PHÂN TÍCH TẾ BÀO HỌC</a:t>
            </a:r>
          </a:p>
        </p:txBody>
      </p:sp>
      <p:sp>
        <p:nvSpPr>
          <p:cNvPr id="4" name="Rectangle 3">
            <a:extLst>
              <a:ext uri="{FF2B5EF4-FFF2-40B4-BE49-F238E27FC236}">
                <a16:creationId xmlns:a16="http://schemas.microsoft.com/office/drawing/2014/main" id="{C399223E-A88E-ED12-1C3D-F713F75D9105}"/>
              </a:ext>
            </a:extLst>
          </p:cNvPr>
          <p:cNvSpPr/>
          <p:nvPr/>
        </p:nvSpPr>
        <p:spPr>
          <a:xfrm>
            <a:off x="0" y="0"/>
            <a:ext cx="12192000" cy="9144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03873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8">
            <a:extLst>
              <a:ext uri="{FF2B5EF4-FFF2-40B4-BE49-F238E27FC236}">
                <a16:creationId xmlns:a16="http://schemas.microsoft.com/office/drawing/2014/main" id="{8F16A10B-0E4C-A038-9268-BDEFF5BA4F5C}"/>
              </a:ext>
            </a:extLst>
          </p:cNvPr>
          <p:cNvSpPr txBox="1">
            <a:spLocks/>
          </p:cNvSpPr>
          <p:nvPr/>
        </p:nvSpPr>
        <p:spPr>
          <a:xfrm>
            <a:off x="1361519" y="1954761"/>
            <a:ext cx="9468961" cy="1021703"/>
          </a:xfrm>
          <a:prstGeom prst="rect">
            <a:avLst/>
          </a:prstGeom>
        </p:spPr>
        <p:txBody>
          <a:bodyPr/>
          <a:lstStyle>
            <a:lvl1pPr marL="354206" indent="-283653" algn="l" defTabSz="945990" rtl="0" eaLnBrk="0" fontAlgn="base" hangingPunct="0">
              <a:spcBef>
                <a:spcPct val="20000"/>
              </a:spcBef>
              <a:spcAft>
                <a:spcPct val="0"/>
              </a:spcAft>
              <a:buClr>
                <a:schemeClr val="accent1"/>
              </a:buClr>
              <a:buSzPct val="76000"/>
              <a:buFont typeface="Wingdings 2" pitchFamily="18" charset="2"/>
              <a:buChar char=""/>
              <a:defRPr sz="2449" kern="1200">
                <a:solidFill>
                  <a:schemeClr val="tx2"/>
                </a:solidFill>
                <a:latin typeface="+mn-lt"/>
                <a:ea typeface="+mn-ea"/>
                <a:cs typeface="+mn-cs"/>
              </a:defRPr>
            </a:lvl1pPr>
            <a:lvl2pPr marL="660897" indent="-283653" algn="l" defTabSz="945990" rtl="0" eaLnBrk="0" fontAlgn="base" hangingPunct="0">
              <a:spcBef>
                <a:spcPct val="20000"/>
              </a:spcBef>
              <a:spcAft>
                <a:spcPct val="0"/>
              </a:spcAft>
              <a:buClr>
                <a:schemeClr val="accent1"/>
              </a:buClr>
              <a:buSzPct val="76000"/>
              <a:buFont typeface="Wingdings 2" pitchFamily="18" charset="2"/>
              <a:buChar char=""/>
              <a:defRPr sz="2268" kern="1200">
                <a:solidFill>
                  <a:schemeClr val="tx2"/>
                </a:solidFill>
                <a:latin typeface="+mn-lt"/>
                <a:ea typeface="+mn-ea"/>
                <a:cs typeface="+mn-cs"/>
              </a:defRPr>
            </a:lvl2pPr>
            <a:lvl3pPr marL="945990" indent="-236137" algn="l" defTabSz="945990" rtl="0" eaLnBrk="0" fontAlgn="base" hangingPunct="0">
              <a:spcBef>
                <a:spcPct val="20000"/>
              </a:spcBef>
              <a:spcAft>
                <a:spcPct val="0"/>
              </a:spcAft>
              <a:buClr>
                <a:schemeClr val="accent1"/>
              </a:buClr>
              <a:buSzPct val="76000"/>
              <a:buFont typeface="Wingdings 2" pitchFamily="18" charset="2"/>
              <a:buChar char=""/>
              <a:defRPr sz="2086" kern="1200">
                <a:solidFill>
                  <a:schemeClr val="tx2"/>
                </a:solidFill>
                <a:latin typeface="+mn-lt"/>
                <a:ea typeface="+mn-ea"/>
                <a:cs typeface="+mn-cs"/>
              </a:defRPr>
            </a:lvl3pPr>
            <a:lvl4pPr marL="1163409" indent="-236137" algn="l" defTabSz="945990" rtl="0" eaLnBrk="0" fontAlgn="base" hangingPunct="0">
              <a:spcBef>
                <a:spcPct val="20000"/>
              </a:spcBef>
              <a:spcAft>
                <a:spcPct val="0"/>
              </a:spcAft>
              <a:buClr>
                <a:schemeClr val="accent1"/>
              </a:buClr>
              <a:buSzPct val="76000"/>
              <a:buFont typeface="Wingdings 2" pitchFamily="18" charset="2"/>
              <a:buChar char=""/>
              <a:defRPr sz="1905" kern="1200">
                <a:solidFill>
                  <a:schemeClr val="tx2"/>
                </a:solidFill>
                <a:latin typeface="+mn-lt"/>
                <a:ea typeface="+mn-ea"/>
                <a:cs typeface="+mn-cs"/>
              </a:defRPr>
            </a:lvl4pPr>
            <a:lvl5pPr marL="1370749" indent="-236137" algn="l" defTabSz="945990" rtl="0" eaLnBrk="0" fontAlgn="base" hangingPunct="0">
              <a:spcBef>
                <a:spcPct val="20000"/>
              </a:spcBef>
              <a:spcAft>
                <a:spcPct val="0"/>
              </a:spcAft>
              <a:buClr>
                <a:schemeClr val="accent1"/>
              </a:buClr>
              <a:buSzPct val="76000"/>
              <a:buFont typeface="Wingdings 2" pitchFamily="18" charset="2"/>
              <a:buChar char=""/>
              <a:defRPr kern="1200">
                <a:solidFill>
                  <a:schemeClr val="tx2"/>
                </a:solidFill>
                <a:latin typeface="+mn-lt"/>
                <a:ea typeface="+mn-ea"/>
                <a:cs typeface="+mn-cs"/>
              </a:defRPr>
            </a:lvl5pPr>
            <a:lvl6pPr marL="1570446" indent="-236513" algn="l" defTabSz="946052" rtl="0" eaLnBrk="1" latinLnBrk="0" hangingPunct="1">
              <a:spcBef>
                <a:spcPct val="20000"/>
              </a:spcBef>
              <a:buClr>
                <a:schemeClr val="accent1"/>
              </a:buClr>
              <a:buSzPct val="76000"/>
              <a:buFont typeface="Wingdings 2" pitchFamily="18" charset="2"/>
              <a:buChar char=""/>
              <a:defRPr sz="1451" kern="1200">
                <a:solidFill>
                  <a:schemeClr val="tx2"/>
                </a:solidFill>
                <a:latin typeface="+mn-lt"/>
                <a:ea typeface="+mn-ea"/>
                <a:cs typeface="+mn-cs"/>
              </a:defRPr>
            </a:lvl6pPr>
            <a:lvl7pPr marL="1778577" indent="-236513" algn="l" defTabSz="946052" rtl="0" eaLnBrk="1" latinLnBrk="0" hangingPunct="1">
              <a:spcBef>
                <a:spcPct val="20000"/>
              </a:spcBef>
              <a:buClr>
                <a:schemeClr val="accent1"/>
              </a:buClr>
              <a:buSzPct val="76000"/>
              <a:buFont typeface="Wingdings 2" pitchFamily="18" charset="2"/>
              <a:buChar char=""/>
              <a:defRPr sz="1451" kern="1200">
                <a:solidFill>
                  <a:schemeClr val="tx2"/>
                </a:solidFill>
                <a:latin typeface="+mn-lt"/>
                <a:ea typeface="+mn-ea"/>
                <a:cs typeface="+mn-cs"/>
              </a:defRPr>
            </a:lvl7pPr>
            <a:lvl8pPr marL="1986709" indent="-236513" algn="l" defTabSz="946052" rtl="0" eaLnBrk="1" latinLnBrk="0" hangingPunct="1">
              <a:spcBef>
                <a:spcPct val="20000"/>
              </a:spcBef>
              <a:buClr>
                <a:schemeClr val="accent1"/>
              </a:buClr>
              <a:buSzPct val="76000"/>
              <a:buFont typeface="Wingdings 2" pitchFamily="18" charset="2"/>
              <a:buChar char=""/>
              <a:defRPr sz="1451" kern="1200">
                <a:solidFill>
                  <a:schemeClr val="tx2"/>
                </a:solidFill>
                <a:latin typeface="+mn-lt"/>
                <a:ea typeface="+mn-ea"/>
                <a:cs typeface="+mn-cs"/>
              </a:defRPr>
            </a:lvl8pPr>
            <a:lvl9pPr marL="2194840" indent="-236513" algn="l" defTabSz="946052" rtl="0" eaLnBrk="1" latinLnBrk="0" hangingPunct="1">
              <a:spcBef>
                <a:spcPct val="20000"/>
              </a:spcBef>
              <a:buClr>
                <a:schemeClr val="accent1"/>
              </a:buClr>
              <a:buSzPct val="76000"/>
              <a:buFont typeface="Wingdings 2" pitchFamily="18" charset="2"/>
              <a:buChar char=""/>
              <a:defRPr sz="1451" kern="1200">
                <a:solidFill>
                  <a:schemeClr val="tx2"/>
                </a:solidFill>
                <a:latin typeface="+mn-lt"/>
                <a:ea typeface="+mn-ea"/>
                <a:cs typeface="+mn-cs"/>
              </a:defRPr>
            </a:lvl9pPr>
          </a:lstStyle>
          <a:p>
            <a:pPr marL="70553" marR="0" lvl="0" indent="0" algn="l" defTabSz="945990" rtl="0" eaLnBrk="0" fontAlgn="base" latinLnBrk="0" hangingPunct="0">
              <a:lnSpc>
                <a:spcPct val="100000"/>
              </a:lnSpc>
              <a:spcBef>
                <a:spcPct val="20000"/>
              </a:spcBef>
              <a:spcAft>
                <a:spcPct val="0"/>
              </a:spcAft>
              <a:buClr>
                <a:srgbClr val="94C600"/>
              </a:buClr>
              <a:buSzPct val="76000"/>
              <a:buFont typeface="Wingdings 2" pitchFamily="18" charset="2"/>
              <a:buNone/>
              <a:tabLst/>
              <a:defRPr/>
            </a:pPr>
            <a:r>
              <a:rPr kumimoji="0" lang="en-US" sz="3200" b="1" i="0" u="none" strike="noStrike" kern="1200" cap="none" spc="0" normalizeH="0" baseline="0" noProof="0">
                <a:ln>
                  <a:noFill/>
                </a:ln>
                <a:solidFill>
                  <a:srgbClr val="FF0000"/>
                </a:solidFill>
                <a:effectLst>
                  <a:outerShdw blurRad="38100" dist="38100" dir="2700000" algn="tl">
                    <a:srgbClr val="000000">
                      <a:alpha val="43137"/>
                    </a:srgbClr>
                  </a:outerShdw>
                </a:effectLst>
                <a:uLnTx/>
                <a:uFillTx/>
                <a:latin typeface="Tahoma" panose="020B0604030504040204" pitchFamily="34" charset="0"/>
                <a:ea typeface="Tahoma" panose="020B0604030504040204" pitchFamily="34" charset="0"/>
                <a:cs typeface="Tahoma" panose="020B0604030504040204" pitchFamily="34" charset="0"/>
              </a:rPr>
              <a:t>CÁC ỨNG DỤNG VÀ PHÂN TÍCH TẾ BÀO HỌC</a:t>
            </a:r>
          </a:p>
        </p:txBody>
      </p:sp>
      <p:sp>
        <p:nvSpPr>
          <p:cNvPr id="2" name="Rectangle 1">
            <a:extLst>
              <a:ext uri="{FF2B5EF4-FFF2-40B4-BE49-F238E27FC236}">
                <a16:creationId xmlns:a16="http://schemas.microsoft.com/office/drawing/2014/main" id="{7B75E7A3-1F10-B132-FB16-10814D914ABB}"/>
              </a:ext>
            </a:extLst>
          </p:cNvPr>
          <p:cNvSpPr/>
          <p:nvPr/>
        </p:nvSpPr>
        <p:spPr>
          <a:xfrm>
            <a:off x="0" y="0"/>
            <a:ext cx="12192000" cy="9144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a:ea typeface="+mn-ea"/>
              <a:cs typeface="+mn-cs"/>
            </a:endParaRPr>
          </a:p>
        </p:txBody>
      </p:sp>
    </p:spTree>
    <p:extLst>
      <p:ext uri="{BB962C8B-B14F-4D97-AF65-F5344CB8AC3E}">
        <p14:creationId xmlns:p14="http://schemas.microsoft.com/office/powerpoint/2010/main" val="194321214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54B5BE5-21FD-BBCD-C948-F9BED207DDA5}"/>
              </a:ext>
            </a:extLst>
          </p:cNvPr>
          <p:cNvSpPr>
            <a:spLocks noGrp="1"/>
          </p:cNvSpPr>
          <p:nvPr>
            <p:ph type="sldNum" sz="quarter" idx="12"/>
          </p:nvPr>
        </p:nvSpPr>
        <p:spPr/>
        <p:txBody>
          <a:bodyPr/>
          <a:lstStyle/>
          <a:p>
            <a:pPr>
              <a:defRPr/>
            </a:pPr>
            <a:fld id="{029B2883-1697-4DC4-AE1B-2197BBD741C2}" type="slidenum">
              <a:rPr lang="vi-VN" smtClean="0"/>
              <a:pPr>
                <a:defRPr/>
              </a:pPr>
              <a:t>22</a:t>
            </a:fld>
            <a:endParaRPr lang="vi-VN"/>
          </a:p>
        </p:txBody>
      </p:sp>
      <p:pic>
        <p:nvPicPr>
          <p:cNvPr id="6" name="Picture 5">
            <a:extLst>
              <a:ext uri="{FF2B5EF4-FFF2-40B4-BE49-F238E27FC236}">
                <a16:creationId xmlns:a16="http://schemas.microsoft.com/office/drawing/2014/main" id="{339DAFF8-54D3-5F6F-C9C1-163AD2B98872}"/>
              </a:ext>
            </a:extLst>
          </p:cNvPr>
          <p:cNvPicPr>
            <a:picLocks noChangeAspect="1"/>
          </p:cNvPicPr>
          <p:nvPr/>
        </p:nvPicPr>
        <p:blipFill>
          <a:blip r:embed="rId2"/>
          <a:stretch>
            <a:fillRect/>
          </a:stretch>
        </p:blipFill>
        <p:spPr>
          <a:xfrm>
            <a:off x="0" y="1558587"/>
            <a:ext cx="12192000" cy="955264"/>
          </a:xfrm>
          <a:prstGeom prst="rect">
            <a:avLst/>
          </a:prstGeom>
        </p:spPr>
      </p:pic>
      <p:pic>
        <p:nvPicPr>
          <p:cNvPr id="8" name="Picture 7">
            <a:extLst>
              <a:ext uri="{FF2B5EF4-FFF2-40B4-BE49-F238E27FC236}">
                <a16:creationId xmlns:a16="http://schemas.microsoft.com/office/drawing/2014/main" id="{F38B9E3E-0D16-0DD7-70BF-1011149F4F32}"/>
              </a:ext>
            </a:extLst>
          </p:cNvPr>
          <p:cNvPicPr>
            <a:picLocks noChangeAspect="1"/>
          </p:cNvPicPr>
          <p:nvPr/>
        </p:nvPicPr>
        <p:blipFill>
          <a:blip r:embed="rId3"/>
          <a:stretch>
            <a:fillRect/>
          </a:stretch>
        </p:blipFill>
        <p:spPr>
          <a:xfrm>
            <a:off x="0" y="4344150"/>
            <a:ext cx="12192000" cy="1450925"/>
          </a:xfrm>
          <a:prstGeom prst="rect">
            <a:avLst/>
          </a:prstGeom>
        </p:spPr>
      </p:pic>
      <p:sp>
        <p:nvSpPr>
          <p:cNvPr id="12" name="TextBox 11">
            <a:extLst>
              <a:ext uri="{FF2B5EF4-FFF2-40B4-BE49-F238E27FC236}">
                <a16:creationId xmlns:a16="http://schemas.microsoft.com/office/drawing/2014/main" id="{B10EAC28-046B-9CE4-428D-7950B8A5F7E5}"/>
              </a:ext>
            </a:extLst>
          </p:cNvPr>
          <p:cNvSpPr txBox="1"/>
          <p:nvPr/>
        </p:nvSpPr>
        <p:spPr>
          <a:xfrm>
            <a:off x="3426408" y="774715"/>
            <a:ext cx="4643120" cy="523220"/>
          </a:xfrm>
          <a:prstGeom prst="rect">
            <a:avLst/>
          </a:prstGeom>
          <a:noFill/>
        </p:spPr>
        <p:txBody>
          <a:bodyPr wrap="square" rtlCol="0">
            <a:spAutoFit/>
          </a:bodyPr>
          <a:lstStyle/>
          <a:p>
            <a:pPr algn="ctr"/>
            <a:r>
              <a:rPr lang="en-US" sz="2800" b="1"/>
              <a:t>PREDICTIVE GENOMICS</a:t>
            </a:r>
          </a:p>
        </p:txBody>
      </p:sp>
      <p:sp>
        <p:nvSpPr>
          <p:cNvPr id="13" name="Rectangle 12">
            <a:extLst>
              <a:ext uri="{FF2B5EF4-FFF2-40B4-BE49-F238E27FC236}">
                <a16:creationId xmlns:a16="http://schemas.microsoft.com/office/drawing/2014/main" id="{5D0E1D1D-04E6-90DB-A208-A677F8C173BF}"/>
              </a:ext>
            </a:extLst>
          </p:cNvPr>
          <p:cNvSpPr/>
          <p:nvPr/>
        </p:nvSpPr>
        <p:spPr>
          <a:xfrm>
            <a:off x="0" y="0"/>
            <a:ext cx="12192000" cy="53902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b="1"/>
              <a:t>CÁC ỨNG DỤNG</a:t>
            </a:r>
          </a:p>
        </p:txBody>
      </p:sp>
      <p:sp>
        <p:nvSpPr>
          <p:cNvPr id="14" name="TextBox 13">
            <a:extLst>
              <a:ext uri="{FF2B5EF4-FFF2-40B4-BE49-F238E27FC236}">
                <a16:creationId xmlns:a16="http://schemas.microsoft.com/office/drawing/2014/main" id="{1F6D1760-DF8B-143D-E880-C5CE4FD52E5A}"/>
              </a:ext>
            </a:extLst>
          </p:cNvPr>
          <p:cNvSpPr txBox="1"/>
          <p:nvPr/>
        </p:nvSpPr>
        <p:spPr>
          <a:xfrm>
            <a:off x="3522824" y="3177302"/>
            <a:ext cx="4643120" cy="954107"/>
          </a:xfrm>
          <a:prstGeom prst="rect">
            <a:avLst/>
          </a:prstGeom>
          <a:noFill/>
        </p:spPr>
        <p:txBody>
          <a:bodyPr wrap="square" rtlCol="0">
            <a:spAutoFit/>
          </a:bodyPr>
          <a:lstStyle/>
          <a:p>
            <a:pPr algn="ctr"/>
            <a:r>
              <a:rPr lang="en-US" sz="2800" b="1"/>
              <a:t>REPRODUCTIVE HEALTH RESEARCH</a:t>
            </a:r>
          </a:p>
        </p:txBody>
      </p:sp>
    </p:spTree>
    <p:extLst>
      <p:ext uri="{BB962C8B-B14F-4D97-AF65-F5344CB8AC3E}">
        <p14:creationId xmlns:p14="http://schemas.microsoft.com/office/powerpoint/2010/main" val="272836757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54B5BE5-21FD-BBCD-C948-F9BED207DDA5}"/>
              </a:ext>
            </a:extLst>
          </p:cNvPr>
          <p:cNvSpPr>
            <a:spLocks noGrp="1"/>
          </p:cNvSpPr>
          <p:nvPr>
            <p:ph type="sldNum" sz="quarter" idx="12"/>
          </p:nvPr>
        </p:nvSpPr>
        <p:spPr/>
        <p:txBody>
          <a:bodyPr/>
          <a:lstStyle/>
          <a:p>
            <a:pPr>
              <a:defRPr/>
            </a:pPr>
            <a:fld id="{029B2883-1697-4DC4-AE1B-2197BBD741C2}" type="slidenum">
              <a:rPr lang="vi-VN" smtClean="0"/>
              <a:pPr>
                <a:defRPr/>
              </a:pPr>
              <a:t>23</a:t>
            </a:fld>
            <a:endParaRPr lang="vi-VN"/>
          </a:p>
        </p:txBody>
      </p:sp>
      <p:pic>
        <p:nvPicPr>
          <p:cNvPr id="5" name="Picture 4">
            <a:extLst>
              <a:ext uri="{FF2B5EF4-FFF2-40B4-BE49-F238E27FC236}">
                <a16:creationId xmlns:a16="http://schemas.microsoft.com/office/drawing/2014/main" id="{8188AA4E-058A-A172-EEE2-6DA68B2E55D8}"/>
              </a:ext>
            </a:extLst>
          </p:cNvPr>
          <p:cNvPicPr>
            <a:picLocks noChangeAspect="1"/>
          </p:cNvPicPr>
          <p:nvPr/>
        </p:nvPicPr>
        <p:blipFill>
          <a:blip r:embed="rId2"/>
          <a:stretch>
            <a:fillRect/>
          </a:stretch>
        </p:blipFill>
        <p:spPr>
          <a:xfrm>
            <a:off x="869301" y="1144101"/>
            <a:ext cx="9524999" cy="2284899"/>
          </a:xfrm>
          <a:prstGeom prst="rect">
            <a:avLst/>
          </a:prstGeom>
        </p:spPr>
      </p:pic>
      <p:pic>
        <p:nvPicPr>
          <p:cNvPr id="9" name="Picture 8">
            <a:extLst>
              <a:ext uri="{FF2B5EF4-FFF2-40B4-BE49-F238E27FC236}">
                <a16:creationId xmlns:a16="http://schemas.microsoft.com/office/drawing/2014/main" id="{04CB985D-FFEA-4253-BD20-111A98242D57}"/>
              </a:ext>
            </a:extLst>
          </p:cNvPr>
          <p:cNvPicPr>
            <a:picLocks noChangeAspect="1"/>
          </p:cNvPicPr>
          <p:nvPr/>
        </p:nvPicPr>
        <p:blipFill>
          <a:blip r:embed="rId3"/>
          <a:stretch>
            <a:fillRect/>
          </a:stretch>
        </p:blipFill>
        <p:spPr>
          <a:xfrm>
            <a:off x="503853" y="3801652"/>
            <a:ext cx="11184294" cy="2669052"/>
          </a:xfrm>
          <a:prstGeom prst="rect">
            <a:avLst/>
          </a:prstGeom>
        </p:spPr>
      </p:pic>
      <p:sp>
        <p:nvSpPr>
          <p:cNvPr id="15" name="Rectangle 14">
            <a:extLst>
              <a:ext uri="{FF2B5EF4-FFF2-40B4-BE49-F238E27FC236}">
                <a16:creationId xmlns:a16="http://schemas.microsoft.com/office/drawing/2014/main" id="{5C224589-B8CB-3679-6C8E-6C1FB2C59DE6}"/>
              </a:ext>
            </a:extLst>
          </p:cNvPr>
          <p:cNvSpPr/>
          <p:nvPr/>
        </p:nvSpPr>
        <p:spPr>
          <a:xfrm>
            <a:off x="0" y="0"/>
            <a:ext cx="12192000" cy="53902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b="1"/>
              <a:t>CÁC ỨNG DỤNG</a:t>
            </a:r>
          </a:p>
        </p:txBody>
      </p:sp>
      <p:sp>
        <p:nvSpPr>
          <p:cNvPr id="16" name="TextBox 15">
            <a:extLst>
              <a:ext uri="{FF2B5EF4-FFF2-40B4-BE49-F238E27FC236}">
                <a16:creationId xmlns:a16="http://schemas.microsoft.com/office/drawing/2014/main" id="{B798673D-97E7-366A-E3E3-7C84FE7CB010}"/>
              </a:ext>
            </a:extLst>
          </p:cNvPr>
          <p:cNvSpPr txBox="1"/>
          <p:nvPr/>
        </p:nvSpPr>
        <p:spPr>
          <a:xfrm>
            <a:off x="3389085" y="607811"/>
            <a:ext cx="4643120" cy="523220"/>
          </a:xfrm>
          <a:prstGeom prst="rect">
            <a:avLst/>
          </a:prstGeom>
          <a:noFill/>
        </p:spPr>
        <p:txBody>
          <a:bodyPr wrap="square" rtlCol="0">
            <a:spAutoFit/>
          </a:bodyPr>
          <a:lstStyle/>
          <a:p>
            <a:pPr algn="ctr"/>
            <a:r>
              <a:rPr lang="en-US" sz="2800" b="1"/>
              <a:t>Oncology research</a:t>
            </a:r>
          </a:p>
        </p:txBody>
      </p:sp>
    </p:spTree>
    <p:extLst>
      <p:ext uri="{BB962C8B-B14F-4D97-AF65-F5344CB8AC3E}">
        <p14:creationId xmlns:p14="http://schemas.microsoft.com/office/powerpoint/2010/main" val="148129695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54B5BE5-21FD-BBCD-C948-F9BED207DDA5}"/>
              </a:ext>
            </a:extLst>
          </p:cNvPr>
          <p:cNvSpPr>
            <a:spLocks noGrp="1"/>
          </p:cNvSpPr>
          <p:nvPr>
            <p:ph type="sldNum" sz="quarter" idx="12"/>
          </p:nvPr>
        </p:nvSpPr>
        <p:spPr/>
        <p:txBody>
          <a:bodyPr/>
          <a:lstStyle/>
          <a:p>
            <a:pPr>
              <a:defRPr/>
            </a:pPr>
            <a:fld id="{029B2883-1697-4DC4-AE1B-2197BBD741C2}" type="slidenum">
              <a:rPr lang="vi-VN" smtClean="0"/>
              <a:pPr>
                <a:defRPr/>
              </a:pPr>
              <a:t>24</a:t>
            </a:fld>
            <a:endParaRPr lang="vi-VN"/>
          </a:p>
        </p:txBody>
      </p:sp>
      <p:sp>
        <p:nvSpPr>
          <p:cNvPr id="15" name="Rectangle 14">
            <a:extLst>
              <a:ext uri="{FF2B5EF4-FFF2-40B4-BE49-F238E27FC236}">
                <a16:creationId xmlns:a16="http://schemas.microsoft.com/office/drawing/2014/main" id="{5C224589-B8CB-3679-6C8E-6C1FB2C59DE6}"/>
              </a:ext>
            </a:extLst>
          </p:cNvPr>
          <p:cNvSpPr/>
          <p:nvPr/>
        </p:nvSpPr>
        <p:spPr>
          <a:xfrm>
            <a:off x="0" y="0"/>
            <a:ext cx="12192000" cy="53902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b="1"/>
              <a:t>CÁC ỨNG DỤNG</a:t>
            </a:r>
          </a:p>
        </p:txBody>
      </p:sp>
      <p:sp>
        <p:nvSpPr>
          <p:cNvPr id="16" name="TextBox 15">
            <a:extLst>
              <a:ext uri="{FF2B5EF4-FFF2-40B4-BE49-F238E27FC236}">
                <a16:creationId xmlns:a16="http://schemas.microsoft.com/office/drawing/2014/main" id="{B798673D-97E7-366A-E3E3-7C84FE7CB010}"/>
              </a:ext>
            </a:extLst>
          </p:cNvPr>
          <p:cNvSpPr txBox="1"/>
          <p:nvPr/>
        </p:nvSpPr>
        <p:spPr>
          <a:xfrm>
            <a:off x="3389085" y="607811"/>
            <a:ext cx="4643120" cy="523220"/>
          </a:xfrm>
          <a:prstGeom prst="rect">
            <a:avLst/>
          </a:prstGeom>
          <a:noFill/>
        </p:spPr>
        <p:txBody>
          <a:bodyPr wrap="square" rtlCol="0">
            <a:spAutoFit/>
          </a:bodyPr>
          <a:lstStyle/>
          <a:p>
            <a:pPr algn="ctr"/>
            <a:r>
              <a:rPr lang="en-US" sz="2800" b="1"/>
              <a:t>Agrigenomic</a:t>
            </a:r>
          </a:p>
        </p:txBody>
      </p:sp>
      <p:pic>
        <p:nvPicPr>
          <p:cNvPr id="18" name="Picture 17">
            <a:extLst>
              <a:ext uri="{FF2B5EF4-FFF2-40B4-BE49-F238E27FC236}">
                <a16:creationId xmlns:a16="http://schemas.microsoft.com/office/drawing/2014/main" id="{1C41F2F8-00C3-ACF9-0AA2-FDD69DC7A57E}"/>
              </a:ext>
            </a:extLst>
          </p:cNvPr>
          <p:cNvPicPr>
            <a:picLocks noChangeAspect="1"/>
          </p:cNvPicPr>
          <p:nvPr/>
        </p:nvPicPr>
        <p:blipFill>
          <a:blip r:embed="rId2"/>
          <a:stretch>
            <a:fillRect/>
          </a:stretch>
        </p:blipFill>
        <p:spPr>
          <a:xfrm>
            <a:off x="130629" y="1199817"/>
            <a:ext cx="11491426" cy="2440657"/>
          </a:xfrm>
          <a:prstGeom prst="rect">
            <a:avLst/>
          </a:prstGeom>
        </p:spPr>
      </p:pic>
      <p:pic>
        <p:nvPicPr>
          <p:cNvPr id="20" name="Picture 19">
            <a:extLst>
              <a:ext uri="{FF2B5EF4-FFF2-40B4-BE49-F238E27FC236}">
                <a16:creationId xmlns:a16="http://schemas.microsoft.com/office/drawing/2014/main" id="{8A43DD60-25E7-28B0-949E-10C9236B22BD}"/>
              </a:ext>
            </a:extLst>
          </p:cNvPr>
          <p:cNvPicPr>
            <a:picLocks noChangeAspect="1"/>
          </p:cNvPicPr>
          <p:nvPr/>
        </p:nvPicPr>
        <p:blipFill>
          <a:blip r:embed="rId3"/>
          <a:stretch>
            <a:fillRect/>
          </a:stretch>
        </p:blipFill>
        <p:spPr>
          <a:xfrm>
            <a:off x="1959429" y="4180533"/>
            <a:ext cx="8784598" cy="2677467"/>
          </a:xfrm>
          <a:prstGeom prst="rect">
            <a:avLst/>
          </a:prstGeom>
        </p:spPr>
      </p:pic>
    </p:spTree>
    <p:extLst>
      <p:ext uri="{BB962C8B-B14F-4D97-AF65-F5344CB8AC3E}">
        <p14:creationId xmlns:p14="http://schemas.microsoft.com/office/powerpoint/2010/main" val="272919121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54B5BE5-21FD-BBCD-C948-F9BED207DDA5}"/>
              </a:ext>
            </a:extLst>
          </p:cNvPr>
          <p:cNvSpPr>
            <a:spLocks noGrp="1"/>
          </p:cNvSpPr>
          <p:nvPr>
            <p:ph type="sldNum" sz="quarter" idx="12"/>
          </p:nvPr>
        </p:nvSpPr>
        <p:spPr/>
        <p:txBody>
          <a:bodyPr/>
          <a:lstStyle/>
          <a:p>
            <a:pPr>
              <a:defRPr/>
            </a:pPr>
            <a:fld id="{029B2883-1697-4DC4-AE1B-2197BBD741C2}" type="slidenum">
              <a:rPr lang="vi-VN" smtClean="0"/>
              <a:pPr>
                <a:defRPr/>
              </a:pPr>
              <a:t>25</a:t>
            </a:fld>
            <a:endParaRPr lang="vi-VN"/>
          </a:p>
        </p:txBody>
      </p:sp>
      <p:sp>
        <p:nvSpPr>
          <p:cNvPr id="15" name="Rectangle 14">
            <a:extLst>
              <a:ext uri="{FF2B5EF4-FFF2-40B4-BE49-F238E27FC236}">
                <a16:creationId xmlns:a16="http://schemas.microsoft.com/office/drawing/2014/main" id="{5C224589-B8CB-3679-6C8E-6C1FB2C59DE6}"/>
              </a:ext>
            </a:extLst>
          </p:cNvPr>
          <p:cNvSpPr/>
          <p:nvPr/>
        </p:nvSpPr>
        <p:spPr>
          <a:xfrm>
            <a:off x="0" y="0"/>
            <a:ext cx="12192000" cy="53902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b="1"/>
              <a:t>CÁC ỨNG DỤNG</a:t>
            </a:r>
          </a:p>
        </p:txBody>
      </p:sp>
      <p:sp>
        <p:nvSpPr>
          <p:cNvPr id="16" name="TextBox 15">
            <a:extLst>
              <a:ext uri="{FF2B5EF4-FFF2-40B4-BE49-F238E27FC236}">
                <a16:creationId xmlns:a16="http://schemas.microsoft.com/office/drawing/2014/main" id="{B798673D-97E7-366A-E3E3-7C84FE7CB010}"/>
              </a:ext>
            </a:extLst>
          </p:cNvPr>
          <p:cNvSpPr txBox="1"/>
          <p:nvPr/>
        </p:nvSpPr>
        <p:spPr>
          <a:xfrm>
            <a:off x="1380931" y="539025"/>
            <a:ext cx="8518849" cy="769441"/>
          </a:xfrm>
          <a:prstGeom prst="rect">
            <a:avLst/>
          </a:prstGeom>
          <a:noFill/>
        </p:spPr>
        <p:txBody>
          <a:bodyPr wrap="square" rtlCol="0">
            <a:spAutoFit/>
          </a:bodyPr>
          <a:lstStyle/>
          <a:p>
            <a:pPr algn="ctr"/>
            <a:r>
              <a:rPr lang="en-US" sz="4400">
                <a:solidFill>
                  <a:srgbClr val="7030A0"/>
                </a:solidFill>
                <a:latin typeface="Arial" panose="020B0604020202020204" pitchFamily="34" charset="0"/>
              </a:rPr>
              <a:t>C</a:t>
            </a:r>
            <a:r>
              <a:rPr lang="en-US" sz="4400" b="0" i="0">
                <a:solidFill>
                  <a:srgbClr val="7030A0"/>
                </a:solidFill>
                <a:effectLst/>
                <a:latin typeface="Arial" panose="020B0604020202020204" pitchFamily="34" charset="0"/>
              </a:rPr>
              <a:t>ytogenetics – Tế bào học</a:t>
            </a:r>
            <a:r>
              <a:rPr lang="en-US" sz="4400"/>
              <a:t> </a:t>
            </a:r>
            <a:endParaRPr lang="en-US" sz="4400" b="1"/>
          </a:p>
        </p:txBody>
      </p:sp>
      <p:sp>
        <p:nvSpPr>
          <p:cNvPr id="6" name="TextBox 5">
            <a:extLst>
              <a:ext uri="{FF2B5EF4-FFF2-40B4-BE49-F238E27FC236}">
                <a16:creationId xmlns:a16="http://schemas.microsoft.com/office/drawing/2014/main" id="{98C7F5EC-28BD-EFDC-4CCD-7FB36DC45008}"/>
              </a:ext>
            </a:extLst>
          </p:cNvPr>
          <p:cNvSpPr txBox="1"/>
          <p:nvPr/>
        </p:nvSpPr>
        <p:spPr>
          <a:xfrm>
            <a:off x="802434" y="1847491"/>
            <a:ext cx="10786186" cy="3154710"/>
          </a:xfrm>
          <a:prstGeom prst="rect">
            <a:avLst/>
          </a:prstGeom>
          <a:noFill/>
        </p:spPr>
        <p:txBody>
          <a:bodyPr wrap="square">
            <a:spAutoFit/>
          </a:bodyPr>
          <a:lstStyle/>
          <a:p>
            <a:r>
              <a:rPr lang="en-US" sz="2400" b="0" i="0">
                <a:solidFill>
                  <a:srgbClr val="000000"/>
                </a:solidFill>
                <a:effectLst/>
                <a:latin typeface="Arial" panose="020B0604020202020204" pitchFamily="34" charset="0"/>
              </a:rPr>
              <a:t>• </a:t>
            </a:r>
            <a:r>
              <a:rPr lang="en-US" sz="2800" b="1" i="0">
                <a:solidFill>
                  <a:srgbClr val="000000"/>
                </a:solidFill>
                <a:effectLst/>
                <a:latin typeface="Arial" panose="020B0604020202020204" pitchFamily="34" charset="0"/>
              </a:rPr>
              <a:t>Phân tích toàn bộ bộ gen nguyên gốc:</a:t>
            </a:r>
          </a:p>
          <a:p>
            <a:endParaRPr lang="en-US" sz="1100" b="1" i="0">
              <a:solidFill>
                <a:srgbClr val="000000"/>
              </a:solidFill>
              <a:effectLst/>
              <a:latin typeface="Arial" panose="020B0604020202020204" pitchFamily="34" charset="0"/>
            </a:endParaRPr>
          </a:p>
          <a:p>
            <a:pPr marL="541338" indent="447675">
              <a:buFont typeface="Wingdings" panose="05000000000000000000" pitchFamily="2" charset="2"/>
              <a:buChar char="q"/>
            </a:pPr>
            <a:r>
              <a:rPr lang="en-US" sz="2200" b="0" i="0">
                <a:solidFill>
                  <a:srgbClr val="000000"/>
                </a:solidFill>
                <a:effectLst/>
                <a:latin typeface="Arial" panose="020B0604020202020204" pitchFamily="34" charset="0"/>
              </a:rPr>
              <a:t>Phân tích nhiễm sắc thể từ 1 vài mô quan tâm đến sự thay đổi cả bộ gen </a:t>
            </a:r>
          </a:p>
          <a:p>
            <a:pPr marL="541338"/>
            <a:r>
              <a:rPr lang="en-US" sz="2200">
                <a:solidFill>
                  <a:srgbClr val="000000"/>
                </a:solidFill>
                <a:latin typeface="Arial" panose="020B0604020202020204" pitchFamily="34" charset="0"/>
                <a:sym typeface="Wingdings" panose="05000000000000000000" pitchFamily="2" charset="2"/>
              </a:rPr>
              <a:t>  </a:t>
            </a:r>
            <a:r>
              <a:rPr lang="en-US" sz="2200" b="0" i="0">
                <a:solidFill>
                  <a:srgbClr val="000000"/>
                </a:solidFill>
                <a:effectLst/>
                <a:latin typeface="Arial" panose="020B0604020202020204" pitchFamily="34" charset="0"/>
                <a:sym typeface="Wingdings" panose="05000000000000000000" pitchFamily="2" charset="2"/>
              </a:rPr>
              <a:t> </a:t>
            </a:r>
            <a:r>
              <a:rPr lang="en-US" sz="2200" b="0" i="0">
                <a:solidFill>
                  <a:srgbClr val="000000"/>
                </a:solidFill>
                <a:effectLst/>
                <a:latin typeface="Arial" panose="020B0604020202020204" pitchFamily="34" charset="0"/>
              </a:rPr>
              <a:t>G-banded karyotype</a:t>
            </a:r>
          </a:p>
          <a:p>
            <a:pPr marL="541338"/>
            <a:endParaRPr lang="en-US" sz="2200" b="0" i="0">
              <a:solidFill>
                <a:srgbClr val="000000"/>
              </a:solidFill>
              <a:effectLst/>
              <a:latin typeface="Arial" panose="020B0604020202020204" pitchFamily="34" charset="0"/>
            </a:endParaRPr>
          </a:p>
          <a:p>
            <a:pPr marL="541338" indent="447675">
              <a:buFont typeface="Wingdings" panose="05000000000000000000" pitchFamily="2" charset="2"/>
              <a:buChar char="q"/>
            </a:pPr>
            <a:r>
              <a:rPr lang="en-US" sz="2200" b="0" i="0">
                <a:solidFill>
                  <a:srgbClr val="000000"/>
                </a:solidFill>
                <a:effectLst/>
                <a:latin typeface="Arial" panose="020B0604020202020204" pitchFamily="34" charset="0"/>
              </a:rPr>
              <a:t>Phân tích tế bào học ở mức phân tử với các vùng nhỏ cho mất cần bằng và tái sắp xếp.</a:t>
            </a:r>
          </a:p>
          <a:p>
            <a:pPr marL="541338"/>
            <a:r>
              <a:rPr lang="en-US" sz="2200">
                <a:solidFill>
                  <a:srgbClr val="000000"/>
                </a:solidFill>
                <a:latin typeface="Arial" panose="020B0604020202020204" pitchFamily="34" charset="0"/>
                <a:sym typeface="Wingdings" panose="05000000000000000000" pitchFamily="2" charset="2"/>
              </a:rPr>
              <a:t> </a:t>
            </a:r>
            <a:r>
              <a:rPr lang="en-US" sz="2200" b="0" i="0">
                <a:solidFill>
                  <a:srgbClr val="000000"/>
                </a:solidFill>
                <a:effectLst/>
                <a:latin typeface="Arial" panose="020B0604020202020204" pitchFamily="34" charset="0"/>
              </a:rPr>
              <a:t>FISH và </a:t>
            </a:r>
            <a:r>
              <a:rPr lang="en-US" sz="2800" b="1" i="0">
                <a:solidFill>
                  <a:srgbClr val="C00000"/>
                </a:solidFill>
                <a:effectLst/>
                <a:highlight>
                  <a:srgbClr val="FFFF00"/>
                </a:highlight>
                <a:latin typeface="Arial" panose="020B0604020202020204" pitchFamily="34" charset="0"/>
              </a:rPr>
              <a:t>genomic microarray</a:t>
            </a:r>
            <a:r>
              <a:rPr lang="en-US" sz="2800">
                <a:highlight>
                  <a:srgbClr val="FFFF00"/>
                </a:highlight>
              </a:rPr>
              <a:t> </a:t>
            </a:r>
            <a:br>
              <a:rPr lang="en-US" sz="2200"/>
            </a:br>
            <a:endParaRPr lang="en-US" sz="2200"/>
          </a:p>
        </p:txBody>
      </p:sp>
    </p:spTree>
    <p:extLst>
      <p:ext uri="{BB962C8B-B14F-4D97-AF65-F5344CB8AC3E}">
        <p14:creationId xmlns:p14="http://schemas.microsoft.com/office/powerpoint/2010/main" val="5816768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4BF4793-E10F-B2C5-1B46-FE8435D67DB0}"/>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29B2883-1697-4DC4-AE1B-2197BBD741C2}" type="slidenum">
              <a:rPr kumimoji="0" lang="vi-VN" sz="1000" b="0" i="0" u="none" strike="noStrike" kern="1200" cap="none" spc="0" normalizeH="0" baseline="0" noProof="0" smtClean="0">
                <a:ln>
                  <a:noFill/>
                </a:ln>
                <a:solidFill>
                  <a:prstClr val="black">
                    <a:lumMod val="95000"/>
                    <a:lumOff val="5000"/>
                  </a:prstClr>
                </a:solidFill>
                <a:effectLst/>
                <a:uLnTx/>
                <a:uFillTx/>
                <a:latin typeface="Tahoma" panose="020B060403050404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vi-VN" sz="1000" b="0" i="0" u="none" strike="noStrike" kern="1200" cap="none" spc="0" normalizeH="0" baseline="0" noProof="0">
              <a:ln>
                <a:noFill/>
              </a:ln>
              <a:solidFill>
                <a:prstClr val="black">
                  <a:lumMod val="95000"/>
                  <a:lumOff val="5000"/>
                </a:prstClr>
              </a:solidFill>
              <a:effectLst/>
              <a:uLnTx/>
              <a:uFillTx/>
              <a:latin typeface="Tahoma" panose="020B0604030504040204" pitchFamily="34" charset="0"/>
              <a:ea typeface="+mn-ea"/>
              <a:cs typeface="+mn-cs"/>
            </a:endParaRPr>
          </a:p>
        </p:txBody>
      </p:sp>
      <p:sp>
        <p:nvSpPr>
          <p:cNvPr id="4" name="TextBox 3">
            <a:extLst>
              <a:ext uri="{FF2B5EF4-FFF2-40B4-BE49-F238E27FC236}">
                <a16:creationId xmlns:a16="http://schemas.microsoft.com/office/drawing/2014/main" id="{49098F56-627C-E1B3-9902-BC7122E2C050}"/>
              </a:ext>
            </a:extLst>
          </p:cNvPr>
          <p:cNvSpPr txBox="1"/>
          <p:nvPr/>
        </p:nvSpPr>
        <p:spPr>
          <a:xfrm>
            <a:off x="193610" y="892142"/>
            <a:ext cx="6841672" cy="424731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7030A0"/>
                </a:solidFill>
                <a:effectLst/>
                <a:uLnTx/>
                <a:uFillTx/>
                <a:latin typeface="Arial" panose="020B0604020202020204" pitchFamily="34" charset="0"/>
                <a:ea typeface="+mn-ea"/>
                <a:cs typeface="+mn-cs"/>
              </a:rPr>
              <a:t>Karyotyp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G-banding (Giemsa) chromosomes in metaphas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vi-VN" sz="2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Ư</a:t>
            </a:r>
            <a:r>
              <a:rPr kumimoji="0" lang="en-US" sz="2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u điể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Xem được toàn bộ g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Có thể xem được từng tế bào và từng NS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 Giới hạn:</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Độ phân giải từ 5- 10 Mb (phụ thuộc vào vùng gen và chiều dài NST)</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Cần phải nuôi tế bào</a:t>
            </a:r>
            <a:br>
              <a:rPr kumimoji="0" lang="en-US" sz="2200" b="0" i="0" u="none" strike="noStrike" kern="1200" cap="none" spc="0" normalizeH="0" baseline="0" noProof="0">
                <a:ln>
                  <a:noFill/>
                </a:ln>
                <a:solidFill>
                  <a:prstClr val="black"/>
                </a:solidFill>
                <a:effectLst/>
                <a:uLnTx/>
                <a:uFillTx/>
                <a:latin typeface="Tw Cen MT" panose="020B0602020104020603"/>
                <a:ea typeface="+mn-ea"/>
                <a:cs typeface="+mn-cs"/>
              </a:rPr>
            </a:br>
            <a:endParaRPr kumimoji="0" lang="en-US" sz="2200" b="0" i="0" u="none" strike="noStrike" kern="1200" cap="none" spc="0" normalizeH="0" baseline="0" noProof="0">
              <a:ln>
                <a:noFill/>
              </a:ln>
              <a:solidFill>
                <a:prstClr val="black"/>
              </a:solidFill>
              <a:effectLst/>
              <a:uLnTx/>
              <a:uFillTx/>
              <a:latin typeface="Tw Cen MT" panose="020B0602020104020603"/>
              <a:ea typeface="+mn-ea"/>
              <a:cs typeface="+mn-cs"/>
            </a:endParaRPr>
          </a:p>
        </p:txBody>
      </p:sp>
      <p:sp>
        <p:nvSpPr>
          <p:cNvPr id="5" name="Rectangle 4">
            <a:extLst>
              <a:ext uri="{FF2B5EF4-FFF2-40B4-BE49-F238E27FC236}">
                <a16:creationId xmlns:a16="http://schemas.microsoft.com/office/drawing/2014/main" id="{54745242-B5FE-3902-9F04-AF7F32797B0A}"/>
              </a:ext>
            </a:extLst>
          </p:cNvPr>
          <p:cNvSpPr/>
          <p:nvPr/>
        </p:nvSpPr>
        <p:spPr>
          <a:xfrm>
            <a:off x="0" y="0"/>
            <a:ext cx="12192000" cy="663494"/>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7030A0"/>
                </a:solidFill>
                <a:effectLst/>
                <a:uLnTx/>
                <a:uFillTx/>
                <a:latin typeface="Arial" panose="020B0604020202020204" pitchFamily="34" charset="0"/>
                <a:ea typeface="+mn-ea"/>
                <a:cs typeface="+mn-cs"/>
              </a:rPr>
              <a:t>Cytogenetics – Tế bào học</a:t>
            </a:r>
            <a:r>
              <a:rPr kumimoji="0" lang="en-US" sz="2800" b="0" i="0" u="none" strike="noStrike" kern="1200" cap="none" spc="0" normalizeH="0" baseline="0" noProof="0">
                <a:ln>
                  <a:noFill/>
                </a:ln>
                <a:solidFill>
                  <a:prstClr val="white"/>
                </a:solidFill>
                <a:effectLst/>
                <a:uLnTx/>
                <a:uFillTx/>
                <a:latin typeface="Tw Cen MT" panose="020B0602020104020603"/>
                <a:ea typeface="+mn-ea"/>
                <a:cs typeface="+mn-cs"/>
              </a:rPr>
              <a:t> </a:t>
            </a:r>
            <a:endParaRPr kumimoji="0" lang="en-US" sz="2800" b="1" i="0" u="none" strike="noStrike" kern="1200" cap="none" spc="0" normalizeH="0" baseline="0" noProof="0">
              <a:ln>
                <a:noFill/>
              </a:ln>
              <a:solidFill>
                <a:prstClr val="white"/>
              </a:solidFill>
              <a:effectLst/>
              <a:uLnTx/>
              <a:uFillTx/>
              <a:latin typeface="Tw Cen MT" panose="020B0602020104020603"/>
              <a:ea typeface="+mn-ea"/>
              <a:cs typeface="+mn-cs"/>
            </a:endParaRPr>
          </a:p>
        </p:txBody>
      </p:sp>
      <p:pic>
        <p:nvPicPr>
          <p:cNvPr id="7" name="Picture 6">
            <a:extLst>
              <a:ext uri="{FF2B5EF4-FFF2-40B4-BE49-F238E27FC236}">
                <a16:creationId xmlns:a16="http://schemas.microsoft.com/office/drawing/2014/main" id="{025C7198-238D-F522-D44A-8177812C8FD9}"/>
              </a:ext>
            </a:extLst>
          </p:cNvPr>
          <p:cNvPicPr>
            <a:picLocks noChangeAspect="1"/>
          </p:cNvPicPr>
          <p:nvPr/>
        </p:nvPicPr>
        <p:blipFill>
          <a:blip r:embed="rId2"/>
          <a:stretch>
            <a:fillRect/>
          </a:stretch>
        </p:blipFill>
        <p:spPr>
          <a:xfrm>
            <a:off x="9077001" y="663494"/>
            <a:ext cx="2087951" cy="2182343"/>
          </a:xfrm>
          <a:prstGeom prst="rect">
            <a:avLst/>
          </a:prstGeom>
        </p:spPr>
      </p:pic>
      <p:pic>
        <p:nvPicPr>
          <p:cNvPr id="9" name="Picture 8">
            <a:extLst>
              <a:ext uri="{FF2B5EF4-FFF2-40B4-BE49-F238E27FC236}">
                <a16:creationId xmlns:a16="http://schemas.microsoft.com/office/drawing/2014/main" id="{27B35717-671D-D6A2-7CF2-30F6CC5D612A}"/>
              </a:ext>
            </a:extLst>
          </p:cNvPr>
          <p:cNvPicPr>
            <a:picLocks noChangeAspect="1"/>
          </p:cNvPicPr>
          <p:nvPr/>
        </p:nvPicPr>
        <p:blipFill>
          <a:blip r:embed="rId3"/>
          <a:stretch>
            <a:fillRect/>
          </a:stretch>
        </p:blipFill>
        <p:spPr>
          <a:xfrm>
            <a:off x="7447808" y="2910144"/>
            <a:ext cx="4653219" cy="3862873"/>
          </a:xfrm>
          <a:prstGeom prst="rect">
            <a:avLst/>
          </a:prstGeom>
        </p:spPr>
      </p:pic>
    </p:spTree>
    <p:extLst>
      <p:ext uri="{BB962C8B-B14F-4D97-AF65-F5344CB8AC3E}">
        <p14:creationId xmlns:p14="http://schemas.microsoft.com/office/powerpoint/2010/main" val="27403873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7987FAB-433C-210C-BA7E-5034D7EDDEE1}"/>
              </a:ext>
            </a:extLst>
          </p:cNvPr>
          <p:cNvPicPr>
            <a:picLocks noChangeAspect="1"/>
          </p:cNvPicPr>
          <p:nvPr/>
        </p:nvPicPr>
        <p:blipFill>
          <a:blip r:embed="rId2"/>
          <a:stretch>
            <a:fillRect/>
          </a:stretch>
        </p:blipFill>
        <p:spPr>
          <a:xfrm>
            <a:off x="979714" y="663494"/>
            <a:ext cx="9832910" cy="5531012"/>
          </a:xfrm>
          <a:prstGeom prst="rect">
            <a:avLst/>
          </a:prstGeom>
        </p:spPr>
      </p:pic>
      <p:sp>
        <p:nvSpPr>
          <p:cNvPr id="4" name="Rectangle 3">
            <a:extLst>
              <a:ext uri="{FF2B5EF4-FFF2-40B4-BE49-F238E27FC236}">
                <a16:creationId xmlns:a16="http://schemas.microsoft.com/office/drawing/2014/main" id="{ED632CD9-E21E-6384-9F65-30E99BE626B6}"/>
              </a:ext>
            </a:extLst>
          </p:cNvPr>
          <p:cNvSpPr/>
          <p:nvPr/>
        </p:nvSpPr>
        <p:spPr>
          <a:xfrm>
            <a:off x="8341567" y="663494"/>
            <a:ext cx="2733869" cy="111967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6" name="Rectangle 5">
            <a:extLst>
              <a:ext uri="{FF2B5EF4-FFF2-40B4-BE49-F238E27FC236}">
                <a16:creationId xmlns:a16="http://schemas.microsoft.com/office/drawing/2014/main" id="{82DB545F-3531-7483-3A2B-432D9A6D5A00}"/>
              </a:ext>
            </a:extLst>
          </p:cNvPr>
          <p:cNvSpPr/>
          <p:nvPr/>
        </p:nvSpPr>
        <p:spPr>
          <a:xfrm>
            <a:off x="0" y="0"/>
            <a:ext cx="12192000" cy="663494"/>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Tree>
    <p:extLst>
      <p:ext uri="{BB962C8B-B14F-4D97-AF65-F5344CB8AC3E}">
        <p14:creationId xmlns:p14="http://schemas.microsoft.com/office/powerpoint/2010/main" val="189871067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4BF4793-E10F-B2C5-1B46-FE8435D67DB0}"/>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29B2883-1697-4DC4-AE1B-2197BBD741C2}" type="slidenum">
              <a:rPr kumimoji="0" lang="vi-VN" sz="1000" b="0" i="0" u="none" strike="noStrike" kern="1200" cap="none" spc="0" normalizeH="0" baseline="0" noProof="0" smtClean="0">
                <a:ln>
                  <a:noFill/>
                </a:ln>
                <a:solidFill>
                  <a:prstClr val="black">
                    <a:lumMod val="95000"/>
                    <a:lumOff val="5000"/>
                  </a:prstClr>
                </a:solidFill>
                <a:effectLst/>
                <a:uLnTx/>
                <a:uFillTx/>
                <a:latin typeface="Tahoma" panose="020B060403050404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vi-VN" sz="1000" b="0" i="0" u="none" strike="noStrike" kern="1200" cap="none" spc="0" normalizeH="0" baseline="0" noProof="0">
              <a:ln>
                <a:noFill/>
              </a:ln>
              <a:solidFill>
                <a:prstClr val="black">
                  <a:lumMod val="95000"/>
                  <a:lumOff val="5000"/>
                </a:prstClr>
              </a:solidFill>
              <a:effectLst/>
              <a:uLnTx/>
              <a:uFillTx/>
              <a:latin typeface="Tahoma" panose="020B0604030504040204" pitchFamily="34" charset="0"/>
              <a:ea typeface="+mn-ea"/>
              <a:cs typeface="+mn-cs"/>
            </a:endParaRPr>
          </a:p>
        </p:txBody>
      </p:sp>
      <p:sp>
        <p:nvSpPr>
          <p:cNvPr id="4" name="TextBox 3">
            <a:extLst>
              <a:ext uri="{FF2B5EF4-FFF2-40B4-BE49-F238E27FC236}">
                <a16:creationId xmlns:a16="http://schemas.microsoft.com/office/drawing/2014/main" id="{49098F56-627C-E1B3-9902-BC7122E2C050}"/>
              </a:ext>
            </a:extLst>
          </p:cNvPr>
          <p:cNvSpPr txBox="1"/>
          <p:nvPr/>
        </p:nvSpPr>
        <p:spPr>
          <a:xfrm>
            <a:off x="100304" y="712603"/>
            <a:ext cx="8009388" cy="524759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800" b="0" i="0" u="none" strike="noStrike" kern="1200" cap="none" spc="0" normalizeH="0" baseline="0" noProof="0">
                <a:ln>
                  <a:noFill/>
                </a:ln>
                <a:solidFill>
                  <a:srgbClr val="7030A0"/>
                </a:solidFill>
                <a:effectLst/>
                <a:uLnTx/>
                <a:uFillTx/>
                <a:latin typeface="Arial" panose="020B0604020202020204" pitchFamily="34" charset="0"/>
                <a:ea typeface="+mn-ea"/>
                <a:cs typeface="+mn-cs"/>
              </a:rPr>
              <a:t>Fluorescence in situ hybridization (FIS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Nhuộm DNA với huỳnh quang và lai với NST người trên slid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Lợi ích:</a:t>
            </a:r>
          </a:p>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Có thể biến mọi DNA thành đầu dò</a:t>
            </a:r>
          </a:p>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Đầu dò phần lớn từ 100-500 kb</a:t>
            </a:r>
          </a:p>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Độ phân giải cao hơn so với G-banding trong phát hiện: deletions, insertions và translocation breakpoints</a:t>
            </a:r>
          </a:p>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Có thể sử dụng tế bào hay bất cứ giai đoạn nào của tế bào</a:t>
            </a:r>
          </a:p>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Có thể phân tích từng tế bào</a:t>
            </a:r>
          </a:p>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Thời gian ngắn và không cần nuôi tế bào</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Giới hạ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Chỉ xem được vùng gen có đầu dò</a:t>
            </a:r>
          </a:p>
        </p:txBody>
      </p:sp>
      <p:sp>
        <p:nvSpPr>
          <p:cNvPr id="5" name="Rectangle 4">
            <a:extLst>
              <a:ext uri="{FF2B5EF4-FFF2-40B4-BE49-F238E27FC236}">
                <a16:creationId xmlns:a16="http://schemas.microsoft.com/office/drawing/2014/main" id="{54745242-B5FE-3902-9F04-AF7F32797B0A}"/>
              </a:ext>
            </a:extLst>
          </p:cNvPr>
          <p:cNvSpPr/>
          <p:nvPr/>
        </p:nvSpPr>
        <p:spPr>
          <a:xfrm>
            <a:off x="0" y="0"/>
            <a:ext cx="12192000" cy="663494"/>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7030A0"/>
                </a:solidFill>
                <a:effectLst/>
                <a:uLnTx/>
                <a:uFillTx/>
                <a:latin typeface="Arial" panose="020B0604020202020204" pitchFamily="34" charset="0"/>
                <a:ea typeface="+mn-ea"/>
                <a:cs typeface="+mn-cs"/>
              </a:rPr>
              <a:t>Cytogenetics – Tế bào học</a:t>
            </a:r>
            <a:r>
              <a:rPr kumimoji="0" lang="en-US" sz="2800" b="0" i="0" u="none" strike="noStrike" kern="1200" cap="none" spc="0" normalizeH="0" baseline="0" noProof="0">
                <a:ln>
                  <a:noFill/>
                </a:ln>
                <a:solidFill>
                  <a:prstClr val="white"/>
                </a:solidFill>
                <a:effectLst/>
                <a:uLnTx/>
                <a:uFillTx/>
                <a:latin typeface="Tw Cen MT" panose="020B0602020104020603"/>
                <a:ea typeface="+mn-ea"/>
                <a:cs typeface="+mn-cs"/>
              </a:rPr>
              <a:t> </a:t>
            </a:r>
            <a:endParaRPr kumimoji="0" lang="en-US" sz="2800" b="1" i="0" u="none" strike="noStrike" kern="1200" cap="none" spc="0" normalizeH="0" baseline="0" noProof="0">
              <a:ln>
                <a:noFill/>
              </a:ln>
              <a:solidFill>
                <a:prstClr val="white"/>
              </a:solidFill>
              <a:effectLst/>
              <a:uLnTx/>
              <a:uFillTx/>
              <a:latin typeface="Tw Cen MT" panose="020B0602020104020603"/>
              <a:ea typeface="+mn-ea"/>
              <a:cs typeface="+mn-cs"/>
            </a:endParaRPr>
          </a:p>
        </p:txBody>
      </p:sp>
      <p:pic>
        <p:nvPicPr>
          <p:cNvPr id="6" name="Picture 5">
            <a:extLst>
              <a:ext uri="{FF2B5EF4-FFF2-40B4-BE49-F238E27FC236}">
                <a16:creationId xmlns:a16="http://schemas.microsoft.com/office/drawing/2014/main" id="{C0984699-7C10-723B-9BE6-B3FC5534696B}"/>
              </a:ext>
            </a:extLst>
          </p:cNvPr>
          <p:cNvPicPr>
            <a:picLocks noChangeAspect="1"/>
          </p:cNvPicPr>
          <p:nvPr/>
        </p:nvPicPr>
        <p:blipFill>
          <a:blip r:embed="rId2"/>
          <a:stretch>
            <a:fillRect/>
          </a:stretch>
        </p:blipFill>
        <p:spPr>
          <a:xfrm>
            <a:off x="8109692" y="890669"/>
            <a:ext cx="3982004" cy="2676429"/>
          </a:xfrm>
          <a:prstGeom prst="rect">
            <a:avLst/>
          </a:prstGeom>
        </p:spPr>
      </p:pic>
    </p:spTree>
    <p:extLst>
      <p:ext uri="{BB962C8B-B14F-4D97-AF65-F5344CB8AC3E}">
        <p14:creationId xmlns:p14="http://schemas.microsoft.com/office/powerpoint/2010/main" val="193967969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4BF4793-E10F-B2C5-1B46-FE8435D67DB0}"/>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29B2883-1697-4DC4-AE1B-2197BBD741C2}" type="slidenum">
              <a:rPr kumimoji="0" lang="vi-VN" sz="1000" b="0" i="0" u="none" strike="noStrike" kern="1200" cap="none" spc="0" normalizeH="0" baseline="0" noProof="0" smtClean="0">
                <a:ln>
                  <a:noFill/>
                </a:ln>
                <a:solidFill>
                  <a:prstClr val="black">
                    <a:lumMod val="95000"/>
                    <a:lumOff val="5000"/>
                  </a:prstClr>
                </a:solidFill>
                <a:effectLst/>
                <a:uLnTx/>
                <a:uFillTx/>
                <a:latin typeface="Tahoma" panose="020B060403050404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vi-VN" sz="1000" b="0" i="0" u="none" strike="noStrike" kern="1200" cap="none" spc="0" normalizeH="0" baseline="0" noProof="0">
              <a:ln>
                <a:noFill/>
              </a:ln>
              <a:solidFill>
                <a:prstClr val="black">
                  <a:lumMod val="95000"/>
                  <a:lumOff val="5000"/>
                </a:prstClr>
              </a:solidFill>
              <a:effectLst/>
              <a:uLnTx/>
              <a:uFillTx/>
              <a:latin typeface="Tahoma" panose="020B0604030504040204" pitchFamily="34" charset="0"/>
              <a:ea typeface="+mn-ea"/>
              <a:cs typeface="+mn-cs"/>
            </a:endParaRPr>
          </a:p>
        </p:txBody>
      </p:sp>
      <p:sp>
        <p:nvSpPr>
          <p:cNvPr id="4" name="TextBox 3">
            <a:extLst>
              <a:ext uri="{FF2B5EF4-FFF2-40B4-BE49-F238E27FC236}">
                <a16:creationId xmlns:a16="http://schemas.microsoft.com/office/drawing/2014/main" id="{49098F56-627C-E1B3-9902-BC7122E2C050}"/>
              </a:ext>
            </a:extLst>
          </p:cNvPr>
          <p:cNvSpPr txBox="1"/>
          <p:nvPr/>
        </p:nvSpPr>
        <p:spPr>
          <a:xfrm>
            <a:off x="100304" y="712603"/>
            <a:ext cx="8009388" cy="31239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800" b="0" i="0" u="none" strike="noStrike" kern="1200" cap="none" spc="0" normalizeH="0" baseline="0" noProof="0">
                <a:ln>
                  <a:noFill/>
                </a:ln>
                <a:solidFill>
                  <a:srgbClr val="7030A0"/>
                </a:solidFill>
                <a:effectLst/>
                <a:uLnTx/>
                <a:uFillTx/>
                <a:latin typeface="Arial" panose="020B0604020202020204" pitchFamily="34" charset="0"/>
                <a:ea typeface="+mn-ea"/>
                <a:cs typeface="+mn-cs"/>
              </a:rPr>
              <a:t>MICROARRA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Lợi ích:</a:t>
            </a:r>
          </a:p>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Có thể xem được tất cả bộ gen với độ phân giải cao</a:t>
            </a:r>
          </a:p>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Phân tích được CNV, SNP,…</a:t>
            </a:r>
          </a:p>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Thời gian ngắn và không cần nuôi tế bào</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Giới hạ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Chỉ xem được vùng gen có đầu dò</a:t>
            </a:r>
          </a:p>
        </p:txBody>
      </p:sp>
      <p:sp>
        <p:nvSpPr>
          <p:cNvPr id="5" name="Rectangle 4">
            <a:extLst>
              <a:ext uri="{FF2B5EF4-FFF2-40B4-BE49-F238E27FC236}">
                <a16:creationId xmlns:a16="http://schemas.microsoft.com/office/drawing/2014/main" id="{54745242-B5FE-3902-9F04-AF7F32797B0A}"/>
              </a:ext>
            </a:extLst>
          </p:cNvPr>
          <p:cNvSpPr/>
          <p:nvPr/>
        </p:nvSpPr>
        <p:spPr>
          <a:xfrm>
            <a:off x="0" y="0"/>
            <a:ext cx="12192000" cy="663494"/>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7030A0"/>
                </a:solidFill>
                <a:effectLst/>
                <a:uLnTx/>
                <a:uFillTx/>
                <a:latin typeface="Arial" panose="020B0604020202020204" pitchFamily="34" charset="0"/>
                <a:ea typeface="+mn-ea"/>
                <a:cs typeface="+mn-cs"/>
              </a:rPr>
              <a:t>Cytogenetics – Tế bào học</a:t>
            </a:r>
            <a:r>
              <a:rPr kumimoji="0" lang="en-US" sz="2800" b="0" i="0" u="none" strike="noStrike" kern="1200" cap="none" spc="0" normalizeH="0" baseline="0" noProof="0">
                <a:ln>
                  <a:noFill/>
                </a:ln>
                <a:solidFill>
                  <a:prstClr val="white"/>
                </a:solidFill>
                <a:effectLst/>
                <a:uLnTx/>
                <a:uFillTx/>
                <a:latin typeface="Tw Cen MT" panose="020B0602020104020603"/>
                <a:ea typeface="+mn-ea"/>
                <a:cs typeface="+mn-cs"/>
              </a:rPr>
              <a:t> </a:t>
            </a:r>
            <a:endParaRPr kumimoji="0" lang="en-US" sz="2800" b="1" i="0" u="none" strike="noStrike" kern="1200" cap="none" spc="0" normalizeH="0" baseline="0" noProof="0">
              <a:ln>
                <a:noFill/>
              </a:ln>
              <a:solidFill>
                <a:prstClr val="white"/>
              </a:solidFill>
              <a:effectLst/>
              <a:uLnTx/>
              <a:uFillTx/>
              <a:latin typeface="Tw Cen MT" panose="020B0602020104020603"/>
              <a:ea typeface="+mn-ea"/>
              <a:cs typeface="+mn-cs"/>
            </a:endParaRPr>
          </a:p>
        </p:txBody>
      </p:sp>
    </p:spTree>
    <p:extLst>
      <p:ext uri="{BB962C8B-B14F-4D97-AF65-F5344CB8AC3E}">
        <p14:creationId xmlns:p14="http://schemas.microsoft.com/office/powerpoint/2010/main" val="26492027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9006F1E-66CD-4A4B-9370-B4A3080F0E6C}" type="slidenum">
              <a:rPr kumimoji="0" lang="en-US" sz="1169" b="0" i="0" u="none" strike="noStrike" kern="1200" cap="none" spc="0" normalizeH="0" baseline="0" noProof="0" smtClean="0">
                <a:ln>
                  <a:noFill/>
                </a:ln>
                <a:solidFill>
                  <a:prstClr val="white"/>
                </a:solidFill>
                <a:effectLst/>
                <a:uLnTx/>
                <a:uFillTx/>
                <a:latin typeface="Century Gothic"/>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en-US" sz="1169" b="0" i="0" u="none" strike="noStrike" kern="1200" cap="none" spc="0" normalizeH="0" baseline="0" noProof="0" dirty="0">
              <a:ln>
                <a:noFill/>
              </a:ln>
              <a:solidFill>
                <a:prstClr val="white"/>
              </a:solidFill>
              <a:effectLst/>
              <a:uLnTx/>
              <a:uFillTx/>
              <a:latin typeface="Century Gothic"/>
              <a:ea typeface="+mn-ea"/>
              <a:cs typeface="+mn-cs"/>
            </a:endParaRPr>
          </a:p>
        </p:txBody>
      </p:sp>
      <p:sp>
        <p:nvSpPr>
          <p:cNvPr id="9" name="Content Placeholder 8">
            <a:extLst>
              <a:ext uri="{FF2B5EF4-FFF2-40B4-BE49-F238E27FC236}">
                <a16:creationId xmlns:a16="http://schemas.microsoft.com/office/drawing/2014/main" id="{A79370D1-A85E-428B-9B27-98352CED1431}"/>
              </a:ext>
            </a:extLst>
          </p:cNvPr>
          <p:cNvSpPr>
            <a:spLocks noGrp="1"/>
          </p:cNvSpPr>
          <p:nvPr>
            <p:ph sz="quarter" idx="16"/>
          </p:nvPr>
        </p:nvSpPr>
        <p:spPr>
          <a:xfrm>
            <a:off x="923607" y="2188027"/>
            <a:ext cx="9293413" cy="1814805"/>
          </a:xfrm>
        </p:spPr>
        <p:txBody>
          <a:bodyPr>
            <a:normAutofit fontScale="85000" lnSpcReduction="10000"/>
          </a:bodyPr>
          <a:lstStyle/>
          <a:p>
            <a:r>
              <a:rPr lang="en-US" sz="4400" b="1">
                <a:solidFill>
                  <a:srgbClr val="FF0000"/>
                </a:solidFill>
                <a:effectLst>
                  <a:outerShdw blurRad="38100" dist="38100" dir="2700000" algn="tl">
                    <a:srgbClr val="000000">
                      <a:alpha val="43137"/>
                    </a:srgbClr>
                  </a:outerShdw>
                </a:effectLst>
                <a:latin typeface="Tahoma" panose="020B0604030504040204" pitchFamily="34" charset="0"/>
                <a:ea typeface="Tahoma" panose="020B0604030504040204" pitchFamily="34" charset="0"/>
                <a:cs typeface="Tahoma" panose="020B0604030504040204" pitchFamily="34" charset="0"/>
              </a:rPr>
              <a:t>GIỚI THIỆU CÔNG NGHỆ</a:t>
            </a:r>
          </a:p>
          <a:p>
            <a:r>
              <a:rPr lang="en-US" sz="4400" b="1">
                <a:solidFill>
                  <a:srgbClr val="FF0000"/>
                </a:solidFill>
                <a:effectLst>
                  <a:outerShdw blurRad="38100" dist="38100" dir="2700000" algn="tl">
                    <a:srgbClr val="000000">
                      <a:alpha val="43137"/>
                    </a:srgbClr>
                  </a:outerShdw>
                </a:effectLst>
                <a:latin typeface="Tahoma" panose="020B0604030504040204" pitchFamily="34" charset="0"/>
                <a:ea typeface="Tahoma" panose="020B0604030504040204" pitchFamily="34" charset="0"/>
                <a:cs typeface="Tahoma" panose="020B0604030504040204" pitchFamily="34" charset="0"/>
              </a:rPr>
              <a:t>NGUYÊN LÝ – CẤU TẠO CỦA ARRAY</a:t>
            </a:r>
          </a:p>
        </p:txBody>
      </p:sp>
      <p:sp>
        <p:nvSpPr>
          <p:cNvPr id="4" name="Rectangle 3">
            <a:extLst>
              <a:ext uri="{FF2B5EF4-FFF2-40B4-BE49-F238E27FC236}">
                <a16:creationId xmlns:a16="http://schemas.microsoft.com/office/drawing/2014/main" id="{90911129-19B1-BFFC-C412-F11263764905}"/>
              </a:ext>
            </a:extLst>
          </p:cNvPr>
          <p:cNvSpPr/>
          <p:nvPr/>
        </p:nvSpPr>
        <p:spPr>
          <a:xfrm>
            <a:off x="0" y="0"/>
            <a:ext cx="12192000" cy="9144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Tree>
    <p:extLst>
      <p:ext uri="{BB962C8B-B14F-4D97-AF65-F5344CB8AC3E}">
        <p14:creationId xmlns:p14="http://schemas.microsoft.com/office/powerpoint/2010/main" val="3363210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45521F6-03E8-E2D0-B860-FE2CF1B60EBB}"/>
              </a:ext>
            </a:extLst>
          </p:cNvPr>
          <p:cNvSpPr>
            <a:spLocks noGrp="1"/>
          </p:cNvSpPr>
          <p:nvPr>
            <p:ph type="sldNum" sz="quarter" idx="12"/>
          </p:nvPr>
        </p:nvSpPr>
        <p:spPr/>
        <p:txBody>
          <a:bodyPr/>
          <a:lstStyle/>
          <a:p>
            <a:pPr>
              <a:defRPr/>
            </a:pPr>
            <a:fld id="{029B2883-1697-4DC4-AE1B-2197BBD741C2}" type="slidenum">
              <a:rPr lang="vi-VN" smtClean="0"/>
              <a:pPr>
                <a:defRPr/>
              </a:pPr>
              <a:t>30</a:t>
            </a:fld>
            <a:endParaRPr lang="vi-VN"/>
          </a:p>
        </p:txBody>
      </p:sp>
      <p:sp>
        <p:nvSpPr>
          <p:cNvPr id="4" name="TextBox 3">
            <a:extLst>
              <a:ext uri="{FF2B5EF4-FFF2-40B4-BE49-F238E27FC236}">
                <a16:creationId xmlns:a16="http://schemas.microsoft.com/office/drawing/2014/main" id="{A16A1ACA-2D07-3305-C784-28DE65B2CDCC}"/>
              </a:ext>
            </a:extLst>
          </p:cNvPr>
          <p:cNvSpPr txBox="1"/>
          <p:nvPr/>
        </p:nvSpPr>
        <p:spPr>
          <a:xfrm>
            <a:off x="651588" y="663494"/>
            <a:ext cx="10888824" cy="5401479"/>
          </a:xfrm>
          <a:prstGeom prst="rect">
            <a:avLst/>
          </a:prstGeom>
          <a:noFill/>
        </p:spPr>
        <p:txBody>
          <a:bodyPr wrap="square">
            <a:spAutoFit/>
          </a:bodyPr>
          <a:lstStyle/>
          <a:p>
            <a:pPr>
              <a:lnSpc>
                <a:spcPct val="150000"/>
              </a:lnSpc>
            </a:pPr>
            <a:r>
              <a:rPr lang="en-US" sz="2800" b="1">
                <a:latin typeface="Arial" panose="020B0604020202020204" pitchFamily="34" charset="0"/>
                <a:cs typeface="Arial" panose="020B0604020202020204" pitchFamily="34" charset="0"/>
              </a:rPr>
              <a:t>Xét nghiệm trước sinh và sau sinh: </a:t>
            </a:r>
          </a:p>
          <a:p>
            <a:pPr marL="457200" indent="-457200">
              <a:spcBef>
                <a:spcPts val="600"/>
              </a:spcBef>
              <a:spcAft>
                <a:spcPts val="600"/>
              </a:spcAft>
              <a:buFont typeface="Arial" panose="020B0604020202020204" pitchFamily="34" charset="0"/>
              <a:buChar char="•"/>
            </a:pPr>
            <a:r>
              <a:rPr lang="en-US" sz="2200">
                <a:latin typeface="Arial" panose="020B0604020202020204" pitchFamily="34" charset="0"/>
                <a:cs typeface="Arial" panose="020B0604020202020204" pitchFamily="34" charset="0"/>
              </a:rPr>
              <a:t>Chi phí thấp cho phát hiện các thể dị bội, Copy number loss/ gain, CNV… ở mức độ Genome wide.</a:t>
            </a:r>
          </a:p>
          <a:p>
            <a:pPr marL="457200" indent="-457200">
              <a:buFont typeface="Arial" panose="020B0604020202020204" pitchFamily="34" charset="0"/>
              <a:buChar char="•"/>
            </a:pPr>
            <a:endParaRPr lang="en-US" sz="1000">
              <a:latin typeface="Arial" panose="020B0604020202020204" pitchFamily="34" charset="0"/>
              <a:cs typeface="Arial" panose="020B0604020202020204" pitchFamily="34" charset="0"/>
            </a:endParaRPr>
          </a:p>
          <a:p>
            <a:pPr>
              <a:spcAft>
                <a:spcPts val="600"/>
              </a:spcAft>
            </a:pPr>
            <a:r>
              <a:rPr lang="en-US" sz="2800" b="1">
                <a:latin typeface="Arial" panose="020B0604020202020204" pitchFamily="34" charset="0"/>
                <a:cs typeface="Arial" panose="020B0604020202020204" pitchFamily="34" charset="0"/>
              </a:rPr>
              <a:t>Chỉ định cho ung thư liên quan đến phân tích nhiễm sắc thể</a:t>
            </a:r>
          </a:p>
          <a:p>
            <a:pPr marL="342900" indent="-342900">
              <a:spcBef>
                <a:spcPts val="600"/>
              </a:spcBef>
              <a:buFont typeface="Arial" panose="020B0604020202020204" pitchFamily="34" charset="0"/>
              <a:buChar char="•"/>
            </a:pPr>
            <a:r>
              <a:rPr lang="en-US" sz="2200" b="0" i="0">
                <a:solidFill>
                  <a:srgbClr val="000000"/>
                </a:solidFill>
                <a:effectLst/>
                <a:latin typeface="Arial" panose="020B0604020202020204" pitchFamily="34" charset="0"/>
              </a:rPr>
              <a:t>Chẩn đoán tái sắp xếp NST:  CML và t(9;22)</a:t>
            </a:r>
          </a:p>
          <a:p>
            <a:pPr marL="342900" indent="-342900">
              <a:spcBef>
                <a:spcPts val="600"/>
              </a:spcBef>
              <a:buFont typeface="Arial" panose="020B0604020202020204" pitchFamily="34" charset="0"/>
              <a:buChar char="•"/>
            </a:pPr>
            <a:r>
              <a:rPr lang="en-US" sz="2200" b="0" i="0">
                <a:solidFill>
                  <a:srgbClr val="000000"/>
                </a:solidFill>
                <a:effectLst/>
                <a:latin typeface="Arial" panose="020B0604020202020204" pitchFamily="34" charset="0"/>
              </a:rPr>
              <a:t>Dự đoán tái sắp xếp NST: ALL và  hyperdiploidy (good) vs hypodiploidy (poor)</a:t>
            </a:r>
          </a:p>
          <a:p>
            <a:pPr marL="342900" indent="-342900">
              <a:spcBef>
                <a:spcPts val="600"/>
              </a:spcBef>
              <a:buFont typeface="Arial" panose="020B0604020202020204" pitchFamily="34" charset="0"/>
              <a:buChar char="•"/>
            </a:pPr>
            <a:r>
              <a:rPr lang="en-US" sz="2200" b="0" i="0">
                <a:solidFill>
                  <a:srgbClr val="000000"/>
                </a:solidFill>
                <a:effectLst/>
                <a:latin typeface="Arial" panose="020B0604020202020204" pitchFamily="34" charset="0"/>
              </a:rPr>
              <a:t>Sàn lọc hiệu quả điều trị: </a:t>
            </a:r>
          </a:p>
          <a:p>
            <a:pPr marL="625475" indent="363538" defTabSz="801688">
              <a:buFont typeface="Wingdings" panose="05000000000000000000" pitchFamily="2" charset="2"/>
              <a:buChar char="v"/>
            </a:pPr>
            <a:r>
              <a:rPr lang="en-US" i="1">
                <a:solidFill>
                  <a:srgbClr val="000000"/>
                </a:solidFill>
                <a:latin typeface="Arial" panose="020B0604020202020204" pitchFamily="34" charset="0"/>
              </a:rPr>
              <a:t>P</a:t>
            </a:r>
            <a:r>
              <a:rPr lang="en-US" b="0" i="1">
                <a:solidFill>
                  <a:srgbClr val="000000"/>
                </a:solidFill>
                <a:effectLst/>
                <a:latin typeface="Arial" panose="020B0604020202020204" pitchFamily="34" charset="0"/>
              </a:rPr>
              <a:t>hát hiện sự biến mất tái sắp xếp NST – tốt</a:t>
            </a:r>
          </a:p>
          <a:p>
            <a:pPr marL="625475" indent="363538" defTabSz="801688">
              <a:buFont typeface="Wingdings" panose="05000000000000000000" pitchFamily="2" charset="2"/>
              <a:buChar char="v"/>
            </a:pPr>
            <a:r>
              <a:rPr lang="en-US" i="1">
                <a:solidFill>
                  <a:srgbClr val="000000"/>
                </a:solidFill>
                <a:latin typeface="Arial" panose="020B0604020202020204" pitchFamily="34" charset="0"/>
              </a:rPr>
              <a:t>P</a:t>
            </a:r>
            <a:r>
              <a:rPr lang="en-US" b="0" i="1">
                <a:solidFill>
                  <a:srgbClr val="000000"/>
                </a:solidFill>
                <a:effectLst/>
                <a:latin typeface="Arial" panose="020B0604020202020204" pitchFamily="34" charset="0"/>
              </a:rPr>
              <a:t>hát hiện tái sắp xếp NST mới – tốt: khối u ác tính về huyết học thứ phát</a:t>
            </a:r>
          </a:p>
          <a:p>
            <a:r>
              <a:rPr lang="en-US" sz="2800"/>
              <a:t> </a:t>
            </a:r>
            <a:br>
              <a:rPr lang="en-US" sz="2800"/>
            </a:br>
            <a:endParaRPr lang="en-US" sz="2800"/>
          </a:p>
          <a:p>
            <a:pPr marL="457200" indent="-457200">
              <a:spcBef>
                <a:spcPts val="600"/>
              </a:spcBef>
              <a:spcAft>
                <a:spcPts val="600"/>
              </a:spcAft>
              <a:buFont typeface="Arial" panose="020B0604020202020204" pitchFamily="34" charset="0"/>
              <a:buChar char="•"/>
            </a:pPr>
            <a:endParaRPr lang="en-US" sz="2800">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C53C7AD7-4AEF-0873-73CC-83E58162DDD0}"/>
              </a:ext>
            </a:extLst>
          </p:cNvPr>
          <p:cNvSpPr/>
          <p:nvPr/>
        </p:nvSpPr>
        <p:spPr>
          <a:xfrm>
            <a:off x="0" y="0"/>
            <a:ext cx="12192000" cy="663494"/>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US" sz="2800">
                <a:solidFill>
                  <a:srgbClr val="7030A0"/>
                </a:solidFill>
                <a:latin typeface="Arial" panose="020B0604020202020204" pitchFamily="34" charset="0"/>
              </a:rPr>
              <a:t>C</a:t>
            </a:r>
            <a:r>
              <a:rPr lang="en-US" sz="2800" b="0" i="0">
                <a:solidFill>
                  <a:srgbClr val="7030A0"/>
                </a:solidFill>
                <a:effectLst/>
                <a:latin typeface="Arial" panose="020B0604020202020204" pitchFamily="34" charset="0"/>
              </a:rPr>
              <a:t>ytogenetics – Tế bào học</a:t>
            </a:r>
            <a:r>
              <a:rPr lang="en-US" sz="2800"/>
              <a:t> </a:t>
            </a:r>
            <a:endParaRPr lang="en-US" sz="2800" b="1"/>
          </a:p>
        </p:txBody>
      </p:sp>
    </p:spTree>
    <p:extLst>
      <p:ext uri="{BB962C8B-B14F-4D97-AF65-F5344CB8AC3E}">
        <p14:creationId xmlns:p14="http://schemas.microsoft.com/office/powerpoint/2010/main" val="322629434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45521F6-03E8-E2D0-B860-FE2CF1B60EBB}"/>
              </a:ext>
            </a:extLst>
          </p:cNvPr>
          <p:cNvSpPr>
            <a:spLocks noGrp="1"/>
          </p:cNvSpPr>
          <p:nvPr>
            <p:ph type="sldNum" sz="quarter" idx="12"/>
          </p:nvPr>
        </p:nvSpPr>
        <p:spPr/>
        <p:txBody>
          <a:bodyPr/>
          <a:lstStyle/>
          <a:p>
            <a:pPr>
              <a:defRPr/>
            </a:pPr>
            <a:fld id="{029B2883-1697-4DC4-AE1B-2197BBD741C2}" type="slidenum">
              <a:rPr lang="vi-VN" smtClean="0"/>
              <a:pPr>
                <a:defRPr/>
              </a:pPr>
              <a:t>31</a:t>
            </a:fld>
            <a:endParaRPr lang="vi-VN"/>
          </a:p>
        </p:txBody>
      </p:sp>
      <p:sp>
        <p:nvSpPr>
          <p:cNvPr id="4" name="TextBox 3">
            <a:extLst>
              <a:ext uri="{FF2B5EF4-FFF2-40B4-BE49-F238E27FC236}">
                <a16:creationId xmlns:a16="http://schemas.microsoft.com/office/drawing/2014/main" id="{A16A1ACA-2D07-3305-C784-28DE65B2CDCC}"/>
              </a:ext>
            </a:extLst>
          </p:cNvPr>
          <p:cNvSpPr txBox="1"/>
          <p:nvPr/>
        </p:nvSpPr>
        <p:spPr>
          <a:xfrm>
            <a:off x="690466" y="1076140"/>
            <a:ext cx="10888824" cy="4632037"/>
          </a:xfrm>
          <a:prstGeom prst="rect">
            <a:avLst/>
          </a:prstGeom>
          <a:noFill/>
        </p:spPr>
        <p:txBody>
          <a:bodyPr wrap="square">
            <a:spAutoFit/>
          </a:bodyPr>
          <a:lstStyle/>
          <a:p>
            <a:pPr>
              <a:lnSpc>
                <a:spcPct val="150000"/>
              </a:lnSpc>
            </a:pPr>
            <a:r>
              <a:rPr lang="en-US" sz="2800" b="1">
                <a:latin typeface="Arial" panose="020B0604020202020204" pitchFamily="34" charset="0"/>
                <a:cs typeface="Arial" panose="020B0604020202020204" pitchFamily="34" charset="0"/>
              </a:rPr>
              <a:t>Chỉ định nhi khoa để phân tích tế bào học: </a:t>
            </a:r>
          </a:p>
          <a:p>
            <a:pPr marL="457200" indent="-457200">
              <a:spcBef>
                <a:spcPts val="600"/>
              </a:spcBef>
              <a:spcAft>
                <a:spcPts val="600"/>
              </a:spcAft>
              <a:buFont typeface="Arial" panose="020B0604020202020204" pitchFamily="34" charset="0"/>
              <a:buChar char="•"/>
            </a:pPr>
            <a:r>
              <a:rPr lang="en-US" sz="2200">
                <a:latin typeface="Arial" panose="020B0604020202020204" pitchFamily="34" charset="0"/>
                <a:cs typeface="Arial" panose="020B0604020202020204" pitchFamily="34" charset="0"/>
              </a:rPr>
              <a:t>Tăng trưởng bất thường: Nhỏ/lớn theo độ tuổi</a:t>
            </a:r>
          </a:p>
          <a:p>
            <a:pPr marL="457200" indent="-457200">
              <a:spcBef>
                <a:spcPts val="600"/>
              </a:spcBef>
              <a:spcAft>
                <a:spcPts val="600"/>
              </a:spcAft>
              <a:buFont typeface="Arial" panose="020B0604020202020204" pitchFamily="34" charset="0"/>
              <a:buChar char="•"/>
            </a:pPr>
            <a:r>
              <a:rPr lang="en-US" sz="2200">
                <a:latin typeface="Arial" panose="020B0604020202020204" pitchFamily="34" charset="0"/>
                <a:cs typeface="Arial" panose="020B0604020202020204" pitchFamily="34" charset="0"/>
              </a:rPr>
              <a:t>Suy nhược thần kinh - chậm phát triển trí tuệ / co giật / tật đầu nhỏ / giảm trương lực cơ /rối loạn tâm thần-cảm xúc.</a:t>
            </a:r>
          </a:p>
          <a:p>
            <a:pPr marL="457200" indent="-457200">
              <a:spcBef>
                <a:spcPts val="600"/>
              </a:spcBef>
              <a:spcAft>
                <a:spcPts val="600"/>
              </a:spcAft>
              <a:buFont typeface="Arial" panose="020B0604020202020204" pitchFamily="34" charset="0"/>
              <a:buChar char="•"/>
            </a:pPr>
            <a:r>
              <a:rPr lang="en-US" sz="2200">
                <a:latin typeface="Arial" panose="020B0604020202020204" pitchFamily="34" charset="0"/>
                <a:cs typeface="Arial" panose="020B0604020202020204" pitchFamily="34" charset="0"/>
              </a:rPr>
              <a:t>Đặc điểm dị dạng</a:t>
            </a:r>
          </a:p>
          <a:p>
            <a:pPr marL="457200" indent="-457200">
              <a:spcBef>
                <a:spcPts val="600"/>
              </a:spcBef>
              <a:spcAft>
                <a:spcPts val="600"/>
              </a:spcAft>
              <a:buFont typeface="Arial" panose="020B0604020202020204" pitchFamily="34" charset="0"/>
              <a:buChar char="•"/>
            </a:pPr>
            <a:r>
              <a:rPr lang="en-US" sz="2200">
                <a:latin typeface="Arial" panose="020B0604020202020204" pitchFamily="34" charset="0"/>
                <a:cs typeface="Arial" panose="020B0604020202020204" pitchFamily="34" charset="0"/>
              </a:rPr>
              <a:t>Dị dạng tim mạch</a:t>
            </a:r>
          </a:p>
          <a:p>
            <a:pPr marL="457200" indent="-457200">
              <a:spcBef>
                <a:spcPts val="600"/>
              </a:spcBef>
              <a:spcAft>
                <a:spcPts val="600"/>
              </a:spcAft>
              <a:buFont typeface="Arial" panose="020B0604020202020204" pitchFamily="34" charset="0"/>
              <a:buChar char="•"/>
            </a:pPr>
            <a:r>
              <a:rPr lang="en-US" sz="2200">
                <a:latin typeface="Arial" panose="020B0604020202020204" pitchFamily="34" charset="0"/>
                <a:cs typeface="Arial" panose="020B0604020202020204" pitchFamily="34" charset="0"/>
              </a:rPr>
              <a:t>Dị tật bẩm sinh khác</a:t>
            </a:r>
          </a:p>
          <a:p>
            <a:pPr marL="457200" indent="-457200">
              <a:spcBef>
                <a:spcPts val="600"/>
              </a:spcBef>
              <a:spcAft>
                <a:spcPts val="600"/>
              </a:spcAft>
              <a:buFont typeface="Arial" panose="020B0604020202020204" pitchFamily="34" charset="0"/>
              <a:buChar char="•"/>
            </a:pPr>
            <a:endParaRPr lang="en-US" sz="2800">
              <a:latin typeface="Arial" panose="020B0604020202020204" pitchFamily="34" charset="0"/>
              <a:cs typeface="Arial" panose="020B0604020202020204" pitchFamily="34" charset="0"/>
            </a:endParaRPr>
          </a:p>
          <a:p>
            <a:pPr>
              <a:spcBef>
                <a:spcPts val="600"/>
              </a:spcBef>
              <a:spcAft>
                <a:spcPts val="600"/>
              </a:spcAft>
            </a:pPr>
            <a:r>
              <a:rPr lang="en-US" sz="2800" b="1">
                <a:latin typeface="Arial" panose="020B0604020202020204" pitchFamily="34" charset="0"/>
                <a:cs typeface="Arial" panose="020B0604020202020204" pitchFamily="34" charset="0"/>
                <a:sym typeface="Wingdings" panose="05000000000000000000" pitchFamily="2" charset="2"/>
              </a:rPr>
              <a:t> thường lấy mẫu máu ngoại vi</a:t>
            </a:r>
            <a:endParaRPr lang="en-US" sz="2800" b="1">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C53C7AD7-4AEF-0873-73CC-83E58162DDD0}"/>
              </a:ext>
            </a:extLst>
          </p:cNvPr>
          <p:cNvSpPr/>
          <p:nvPr/>
        </p:nvSpPr>
        <p:spPr>
          <a:xfrm>
            <a:off x="0" y="0"/>
            <a:ext cx="12192000" cy="663494"/>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US" sz="2800">
                <a:solidFill>
                  <a:srgbClr val="7030A0"/>
                </a:solidFill>
                <a:latin typeface="Arial" panose="020B0604020202020204" pitchFamily="34" charset="0"/>
              </a:rPr>
              <a:t>C</a:t>
            </a:r>
            <a:r>
              <a:rPr lang="en-US" sz="2800" b="0" i="0">
                <a:solidFill>
                  <a:srgbClr val="7030A0"/>
                </a:solidFill>
                <a:effectLst/>
                <a:latin typeface="Arial" panose="020B0604020202020204" pitchFamily="34" charset="0"/>
              </a:rPr>
              <a:t>ytogenetics – Tế bào học</a:t>
            </a:r>
            <a:r>
              <a:rPr lang="en-US" sz="2800"/>
              <a:t> </a:t>
            </a:r>
            <a:endParaRPr lang="en-US" sz="2800" b="1"/>
          </a:p>
        </p:txBody>
      </p:sp>
    </p:spTree>
    <p:extLst>
      <p:ext uri="{BB962C8B-B14F-4D97-AF65-F5344CB8AC3E}">
        <p14:creationId xmlns:p14="http://schemas.microsoft.com/office/powerpoint/2010/main" val="307015193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44C0009-5E27-9216-A24D-D950F2005834}"/>
              </a:ext>
            </a:extLst>
          </p:cNvPr>
          <p:cNvSpPr>
            <a:spLocks noGrp="1"/>
          </p:cNvSpPr>
          <p:nvPr>
            <p:ph type="sldNum" sz="quarter" idx="12"/>
          </p:nvPr>
        </p:nvSpPr>
        <p:spPr/>
        <p:txBody>
          <a:bodyPr/>
          <a:lstStyle/>
          <a:p>
            <a:pPr>
              <a:defRPr/>
            </a:pPr>
            <a:fld id="{029B2883-1697-4DC4-AE1B-2197BBD741C2}" type="slidenum">
              <a:rPr lang="vi-VN" smtClean="0"/>
              <a:pPr>
                <a:defRPr/>
              </a:pPr>
              <a:t>32</a:t>
            </a:fld>
            <a:endParaRPr lang="vi-VN"/>
          </a:p>
        </p:txBody>
      </p:sp>
      <p:sp>
        <p:nvSpPr>
          <p:cNvPr id="4" name="TextBox 3">
            <a:extLst>
              <a:ext uri="{FF2B5EF4-FFF2-40B4-BE49-F238E27FC236}">
                <a16:creationId xmlns:a16="http://schemas.microsoft.com/office/drawing/2014/main" id="{AF3DB8E6-770D-09B9-0076-2C97125139E4}"/>
              </a:ext>
            </a:extLst>
          </p:cNvPr>
          <p:cNvSpPr txBox="1"/>
          <p:nvPr/>
        </p:nvSpPr>
        <p:spPr>
          <a:xfrm>
            <a:off x="1146110" y="287649"/>
            <a:ext cx="9899779" cy="5724644"/>
          </a:xfrm>
          <a:prstGeom prst="rect">
            <a:avLst/>
          </a:prstGeom>
          <a:noFill/>
        </p:spPr>
        <p:txBody>
          <a:bodyPr wrap="square">
            <a:spAutoFit/>
          </a:bodyPr>
          <a:lstStyle/>
          <a:p>
            <a:r>
              <a:rPr lang="en-US" sz="3000" b="0" i="0">
                <a:solidFill>
                  <a:srgbClr val="7030A0"/>
                </a:solidFill>
                <a:effectLst/>
                <a:latin typeface="Arial" panose="020B0604020202020204" pitchFamily="34" charset="0"/>
              </a:rPr>
              <a:t>Professional Society Recommendations</a:t>
            </a:r>
          </a:p>
          <a:p>
            <a:endParaRPr lang="en-US" sz="3000" b="0" i="0">
              <a:solidFill>
                <a:srgbClr val="7030A0"/>
              </a:solidFill>
              <a:effectLst/>
              <a:latin typeface="Arial" panose="020B0604020202020204" pitchFamily="34" charset="0"/>
            </a:endParaRPr>
          </a:p>
          <a:p>
            <a:r>
              <a:rPr lang="en-US" sz="1800" b="0" i="0">
                <a:solidFill>
                  <a:srgbClr val="000000"/>
                </a:solidFill>
                <a:effectLst/>
                <a:latin typeface="Arial" panose="020B0604020202020204" pitchFamily="34" charset="0"/>
              </a:rPr>
              <a:t>• </a:t>
            </a:r>
            <a:r>
              <a:rPr lang="en-US" sz="1800" b="1" i="0">
                <a:solidFill>
                  <a:srgbClr val="000000"/>
                </a:solidFill>
                <a:effectLst/>
                <a:latin typeface="Arial" panose="020B0604020202020204" pitchFamily="34" charset="0"/>
              </a:rPr>
              <a:t>Recommending General Cytogenetic Testing for Children with</a:t>
            </a:r>
          </a:p>
          <a:p>
            <a:r>
              <a:rPr lang="en-US" sz="1800" b="1" i="0">
                <a:solidFill>
                  <a:srgbClr val="000000"/>
                </a:solidFill>
                <a:effectLst/>
                <a:latin typeface="Arial" panose="020B0604020202020204" pitchFamily="34" charset="0"/>
              </a:rPr>
              <a:t>Developmental Delay</a:t>
            </a:r>
          </a:p>
          <a:p>
            <a:r>
              <a:rPr lang="en-US" sz="1800" b="0" i="0">
                <a:solidFill>
                  <a:srgbClr val="000000"/>
                </a:solidFill>
                <a:effectLst/>
                <a:latin typeface="Arial" panose="020B0604020202020204" pitchFamily="34" charset="0"/>
              </a:rPr>
              <a:t>• </a:t>
            </a:r>
            <a:r>
              <a:rPr lang="en-US" sz="1800" b="0" i="1">
                <a:solidFill>
                  <a:srgbClr val="000000"/>
                </a:solidFill>
                <a:effectLst/>
                <a:latin typeface="Arial" panose="020B0604020202020204" pitchFamily="34" charset="0"/>
              </a:rPr>
              <a:t>American Academy of Pediatrics</a:t>
            </a:r>
          </a:p>
          <a:p>
            <a:r>
              <a:rPr lang="en-US" sz="1800" b="0" i="0">
                <a:solidFill>
                  <a:srgbClr val="000000"/>
                </a:solidFill>
                <a:effectLst/>
                <a:latin typeface="Arial" panose="020B0604020202020204" pitchFamily="34" charset="0"/>
              </a:rPr>
              <a:t>• </a:t>
            </a:r>
            <a:r>
              <a:rPr lang="en-US" sz="1800" b="0" i="0">
                <a:solidFill>
                  <a:srgbClr val="009999"/>
                </a:solidFill>
                <a:effectLst/>
                <a:latin typeface="Arial" panose="020B0604020202020204" pitchFamily="34" charset="0"/>
              </a:rPr>
              <a:t>Pediatrics 2006 118: 405-420 </a:t>
            </a:r>
            <a:r>
              <a:rPr lang="en-US" sz="1800" b="0" i="0">
                <a:solidFill>
                  <a:srgbClr val="000000"/>
                </a:solidFill>
                <a:effectLst/>
                <a:latin typeface="Arial" panose="020B0604020202020204" pitchFamily="34" charset="0"/>
              </a:rPr>
              <a:t>(PMID: 16818591)</a:t>
            </a:r>
          </a:p>
          <a:p>
            <a:r>
              <a:rPr lang="en-US" sz="1800" b="0" i="0">
                <a:solidFill>
                  <a:srgbClr val="000000"/>
                </a:solidFill>
                <a:effectLst/>
                <a:latin typeface="Arial" panose="020B0604020202020204" pitchFamily="34" charset="0"/>
              </a:rPr>
              <a:t>• </a:t>
            </a:r>
            <a:r>
              <a:rPr lang="en-US" sz="1800" b="0" i="0">
                <a:solidFill>
                  <a:srgbClr val="009999"/>
                </a:solidFill>
                <a:effectLst/>
                <a:latin typeface="Arial" panose="020B0604020202020204" pitchFamily="34" charset="0"/>
              </a:rPr>
              <a:t>Pediatrics 2006 117: 2304-2316 </a:t>
            </a:r>
            <a:r>
              <a:rPr lang="en-US" sz="1800" b="0" i="0">
                <a:solidFill>
                  <a:srgbClr val="000000"/>
                </a:solidFill>
                <a:effectLst/>
                <a:latin typeface="Arial" panose="020B0604020202020204" pitchFamily="34" charset="0"/>
              </a:rPr>
              <a:t>(PMID: 16740881)</a:t>
            </a:r>
          </a:p>
          <a:p>
            <a:r>
              <a:rPr lang="en-US" sz="1800" b="0" i="0">
                <a:solidFill>
                  <a:srgbClr val="000000"/>
                </a:solidFill>
                <a:effectLst/>
                <a:latin typeface="Arial" panose="020B0604020202020204" pitchFamily="34" charset="0"/>
              </a:rPr>
              <a:t>• </a:t>
            </a:r>
            <a:r>
              <a:rPr lang="en-US" sz="1800" b="0" i="1">
                <a:solidFill>
                  <a:srgbClr val="000000"/>
                </a:solidFill>
                <a:effectLst/>
                <a:latin typeface="Arial" panose="020B0604020202020204" pitchFamily="34" charset="0"/>
              </a:rPr>
              <a:t>American College of Medical Genetics</a:t>
            </a:r>
          </a:p>
          <a:p>
            <a:r>
              <a:rPr lang="en-US" sz="1800" b="0" i="0">
                <a:solidFill>
                  <a:srgbClr val="000000"/>
                </a:solidFill>
                <a:effectLst/>
                <a:latin typeface="Arial" panose="020B0604020202020204" pitchFamily="34" charset="0"/>
              </a:rPr>
              <a:t>• </a:t>
            </a:r>
            <a:r>
              <a:rPr lang="en-US" sz="1800" b="0" i="0">
                <a:solidFill>
                  <a:srgbClr val="009999"/>
                </a:solidFill>
                <a:effectLst/>
                <a:latin typeface="Arial" panose="020B0604020202020204" pitchFamily="34" charset="0"/>
              </a:rPr>
              <a:t>Genet Med. 2005 Nov-Dec;7(9):650-4. </a:t>
            </a:r>
            <a:r>
              <a:rPr lang="en-US" sz="1800" b="0" i="0">
                <a:solidFill>
                  <a:srgbClr val="000000"/>
                </a:solidFill>
                <a:effectLst/>
                <a:latin typeface="Arial" panose="020B0604020202020204" pitchFamily="34" charset="0"/>
              </a:rPr>
              <a:t>(PMID: 16301868)</a:t>
            </a:r>
          </a:p>
          <a:p>
            <a:r>
              <a:rPr lang="en-US" sz="1800" b="0" i="0">
                <a:solidFill>
                  <a:srgbClr val="000000"/>
                </a:solidFill>
                <a:effectLst/>
                <a:latin typeface="Arial" panose="020B0604020202020204" pitchFamily="34" charset="0"/>
              </a:rPr>
              <a:t>• </a:t>
            </a:r>
            <a:r>
              <a:rPr lang="en-US" sz="1800" b="0" i="1">
                <a:solidFill>
                  <a:srgbClr val="000000"/>
                </a:solidFill>
                <a:effectLst/>
                <a:latin typeface="Arial" panose="020B0604020202020204" pitchFamily="34" charset="0"/>
              </a:rPr>
              <a:t>American Academy of Neurology/Child Neurology Society</a:t>
            </a:r>
          </a:p>
          <a:p>
            <a:r>
              <a:rPr lang="en-US" sz="1800" b="0" i="0">
                <a:solidFill>
                  <a:srgbClr val="000000"/>
                </a:solidFill>
                <a:effectLst/>
                <a:latin typeface="Arial" panose="020B0604020202020204" pitchFamily="34" charset="0"/>
              </a:rPr>
              <a:t>• </a:t>
            </a:r>
            <a:r>
              <a:rPr lang="en-US" sz="1800" b="0" i="0">
                <a:solidFill>
                  <a:srgbClr val="009999"/>
                </a:solidFill>
                <a:effectLst/>
                <a:latin typeface="Arial" panose="020B0604020202020204" pitchFamily="34" charset="0"/>
              </a:rPr>
              <a:t>Neurology. 2003 Feb 11;60(3):367-80. </a:t>
            </a:r>
            <a:r>
              <a:rPr lang="en-US" sz="1800" b="0" i="0">
                <a:solidFill>
                  <a:srgbClr val="000000"/>
                </a:solidFill>
                <a:effectLst/>
                <a:latin typeface="Arial" panose="020B0604020202020204" pitchFamily="34" charset="0"/>
              </a:rPr>
              <a:t>(PMID: 12578916)</a:t>
            </a:r>
          </a:p>
          <a:p>
            <a:r>
              <a:rPr lang="en-US" sz="1800" b="0" i="0">
                <a:solidFill>
                  <a:srgbClr val="000000"/>
                </a:solidFill>
                <a:effectLst/>
                <a:latin typeface="Arial" panose="020B0604020202020204" pitchFamily="34" charset="0"/>
              </a:rPr>
              <a:t>• </a:t>
            </a:r>
            <a:r>
              <a:rPr lang="en-US" sz="1800" b="1" i="0">
                <a:solidFill>
                  <a:srgbClr val="000000"/>
                </a:solidFill>
                <a:effectLst/>
                <a:latin typeface="Arial" panose="020B0604020202020204" pitchFamily="34" charset="0"/>
              </a:rPr>
              <a:t>Recommending General Cytogenetic Testing for Children with Autism</a:t>
            </a:r>
          </a:p>
          <a:p>
            <a:r>
              <a:rPr lang="en-US" sz="1800" b="0" i="0">
                <a:solidFill>
                  <a:srgbClr val="000000"/>
                </a:solidFill>
                <a:effectLst/>
                <a:latin typeface="Arial" panose="020B0604020202020204" pitchFamily="34" charset="0"/>
              </a:rPr>
              <a:t>• </a:t>
            </a:r>
            <a:r>
              <a:rPr lang="en-US" sz="1800" b="0" i="1">
                <a:solidFill>
                  <a:srgbClr val="000000"/>
                </a:solidFill>
                <a:effectLst/>
                <a:latin typeface="Arial" panose="020B0604020202020204" pitchFamily="34" charset="0"/>
              </a:rPr>
              <a:t>American College of Medical Genetics</a:t>
            </a:r>
          </a:p>
          <a:p>
            <a:r>
              <a:rPr lang="en-US" sz="1800" b="0" i="0">
                <a:solidFill>
                  <a:srgbClr val="000000"/>
                </a:solidFill>
                <a:effectLst/>
                <a:latin typeface="Arial" panose="020B0604020202020204" pitchFamily="34" charset="0"/>
              </a:rPr>
              <a:t>• </a:t>
            </a:r>
            <a:r>
              <a:rPr lang="en-US" sz="1800" b="0" i="0">
                <a:solidFill>
                  <a:srgbClr val="009999"/>
                </a:solidFill>
                <a:effectLst/>
                <a:latin typeface="Arial" panose="020B0604020202020204" pitchFamily="34" charset="0"/>
              </a:rPr>
              <a:t>Genet Med. 2008 Apr;10(4):301-5. </a:t>
            </a:r>
            <a:r>
              <a:rPr lang="en-US" sz="1800" b="0" i="0">
                <a:solidFill>
                  <a:srgbClr val="000000"/>
                </a:solidFill>
                <a:effectLst/>
                <a:latin typeface="Arial" panose="020B0604020202020204" pitchFamily="34" charset="0"/>
              </a:rPr>
              <a:t>(PMID: 18414214)</a:t>
            </a:r>
          </a:p>
          <a:p>
            <a:r>
              <a:rPr lang="en-US" sz="1800" b="0" i="0">
                <a:solidFill>
                  <a:srgbClr val="000000"/>
                </a:solidFill>
                <a:effectLst/>
                <a:latin typeface="Arial" panose="020B0604020202020204" pitchFamily="34" charset="0"/>
              </a:rPr>
              <a:t>• </a:t>
            </a:r>
            <a:r>
              <a:rPr lang="en-US" sz="1800" b="0" i="1">
                <a:solidFill>
                  <a:srgbClr val="000000"/>
                </a:solidFill>
                <a:effectLst/>
                <a:latin typeface="Arial" panose="020B0604020202020204" pitchFamily="34" charset="0"/>
              </a:rPr>
              <a:t>American Academy of Neurology/Child Neurology Society</a:t>
            </a:r>
          </a:p>
          <a:p>
            <a:r>
              <a:rPr lang="en-US" sz="1800" b="0" i="0">
                <a:solidFill>
                  <a:srgbClr val="000000"/>
                </a:solidFill>
                <a:effectLst/>
                <a:latin typeface="Arial" panose="020B0604020202020204" pitchFamily="34" charset="0"/>
              </a:rPr>
              <a:t>• </a:t>
            </a:r>
            <a:r>
              <a:rPr lang="en-US" sz="1800" b="0" i="0">
                <a:solidFill>
                  <a:srgbClr val="009999"/>
                </a:solidFill>
                <a:effectLst/>
                <a:latin typeface="Arial" panose="020B0604020202020204" pitchFamily="34" charset="0"/>
              </a:rPr>
              <a:t>Neurology. 2000 Aug 22;55(4):468-79. </a:t>
            </a:r>
            <a:r>
              <a:rPr lang="en-US" sz="1800" b="0" i="0">
                <a:solidFill>
                  <a:srgbClr val="000000"/>
                </a:solidFill>
                <a:effectLst/>
                <a:latin typeface="Arial" panose="020B0604020202020204" pitchFamily="34" charset="0"/>
              </a:rPr>
              <a:t>(PMID: 10953176)</a:t>
            </a:r>
          </a:p>
          <a:p>
            <a:r>
              <a:rPr lang="en-US" sz="1800" b="0" i="0">
                <a:solidFill>
                  <a:srgbClr val="000000"/>
                </a:solidFill>
                <a:effectLst/>
                <a:latin typeface="Arial" panose="020B0604020202020204" pitchFamily="34" charset="0"/>
              </a:rPr>
              <a:t>• </a:t>
            </a:r>
            <a:r>
              <a:rPr lang="en-US" sz="1800" b="0" i="1">
                <a:solidFill>
                  <a:srgbClr val="000000"/>
                </a:solidFill>
                <a:effectLst/>
                <a:latin typeface="Arial" panose="020B0604020202020204" pitchFamily="34" charset="0"/>
              </a:rPr>
              <a:t>American Academy of Pediatrics</a:t>
            </a:r>
          </a:p>
          <a:p>
            <a:r>
              <a:rPr lang="en-US" sz="1800" b="0" i="0">
                <a:solidFill>
                  <a:srgbClr val="000000"/>
                </a:solidFill>
                <a:effectLst/>
                <a:latin typeface="Arial" panose="020B0604020202020204" pitchFamily="34" charset="0"/>
              </a:rPr>
              <a:t>• </a:t>
            </a:r>
            <a:r>
              <a:rPr lang="en-US" sz="1800" b="0" i="0">
                <a:solidFill>
                  <a:srgbClr val="009999"/>
                </a:solidFill>
                <a:effectLst/>
                <a:latin typeface="Arial" panose="020B0604020202020204" pitchFamily="34" charset="0"/>
              </a:rPr>
              <a:t>Pediatrics 2007 120: 1183-1215 </a:t>
            </a:r>
            <a:r>
              <a:rPr lang="en-US" sz="1800" b="0" i="0">
                <a:solidFill>
                  <a:srgbClr val="000000"/>
                </a:solidFill>
                <a:effectLst/>
                <a:latin typeface="Arial" panose="020B0604020202020204" pitchFamily="34" charset="0"/>
              </a:rPr>
              <a:t>(PMID: 17967920)</a:t>
            </a:r>
            <a:r>
              <a:rPr lang="en-US"/>
              <a:t> </a:t>
            </a:r>
            <a:br>
              <a:rPr lang="en-US"/>
            </a:br>
            <a:endParaRPr lang="en-US"/>
          </a:p>
        </p:txBody>
      </p:sp>
    </p:spTree>
    <p:extLst>
      <p:ext uri="{BB962C8B-B14F-4D97-AF65-F5344CB8AC3E}">
        <p14:creationId xmlns:p14="http://schemas.microsoft.com/office/powerpoint/2010/main" val="106113100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89006F1E-66CD-4A4B-9370-B4A3080F0E6C}" type="slidenum">
              <a:rPr lang="en-US" smtClean="0"/>
              <a:pPr/>
              <a:t>33</a:t>
            </a:fld>
            <a:endParaRPr lang="en-US" dirty="0"/>
          </a:p>
        </p:txBody>
      </p:sp>
      <p:sp>
        <p:nvSpPr>
          <p:cNvPr id="5" name="Text Placeholder 4"/>
          <p:cNvSpPr>
            <a:spLocks noGrp="1"/>
          </p:cNvSpPr>
          <p:nvPr>
            <p:ph type="body" sz="quarter" idx="17"/>
          </p:nvPr>
        </p:nvSpPr>
        <p:spPr>
          <a:xfrm>
            <a:off x="507030" y="2551613"/>
            <a:ext cx="8301067" cy="1619171"/>
          </a:xfrm>
        </p:spPr>
        <p:txBody>
          <a:bodyPr>
            <a:normAutofit fontScale="92500"/>
          </a:bodyPr>
          <a:lstStyle/>
          <a:p>
            <a:r>
              <a:rPr lang="en-US"/>
              <a:t>Phân tích kết quả</a:t>
            </a:r>
            <a:endParaRPr lang="en-PH" dirty="0"/>
          </a:p>
        </p:txBody>
      </p:sp>
      <p:sp>
        <p:nvSpPr>
          <p:cNvPr id="4" name="Rectangle 3">
            <a:extLst>
              <a:ext uri="{FF2B5EF4-FFF2-40B4-BE49-F238E27FC236}">
                <a16:creationId xmlns:a16="http://schemas.microsoft.com/office/drawing/2014/main" id="{C399223E-A88E-ED12-1C3D-F713F75D9105}"/>
              </a:ext>
            </a:extLst>
          </p:cNvPr>
          <p:cNvSpPr/>
          <p:nvPr/>
        </p:nvSpPr>
        <p:spPr>
          <a:xfrm>
            <a:off x="0" y="0"/>
            <a:ext cx="12192000" cy="9144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44485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291084" y="1033272"/>
            <a:ext cx="11596370" cy="5434965"/>
            <a:chOff x="291084" y="1033272"/>
            <a:chExt cx="11596370" cy="5434965"/>
          </a:xfrm>
        </p:grpSpPr>
        <p:pic>
          <p:nvPicPr>
            <p:cNvPr id="3" name="object 3"/>
            <p:cNvPicPr/>
            <p:nvPr/>
          </p:nvPicPr>
          <p:blipFill>
            <a:blip r:embed="rId2" cstate="print"/>
            <a:stretch>
              <a:fillRect/>
            </a:stretch>
          </p:blipFill>
          <p:spPr>
            <a:xfrm>
              <a:off x="304800" y="1033272"/>
              <a:ext cx="11582400" cy="5434583"/>
            </a:xfrm>
            <a:prstGeom prst="rect">
              <a:avLst/>
            </a:prstGeom>
          </p:spPr>
        </p:pic>
        <p:sp>
          <p:nvSpPr>
            <p:cNvPr id="4" name="object 4"/>
            <p:cNvSpPr/>
            <p:nvPr/>
          </p:nvSpPr>
          <p:spPr>
            <a:xfrm>
              <a:off x="305562" y="1383030"/>
              <a:ext cx="11101070" cy="4744720"/>
            </a:xfrm>
            <a:custGeom>
              <a:avLst/>
              <a:gdLst/>
              <a:ahLst/>
              <a:cxnLst/>
              <a:rect l="l" t="t" r="r" b="b"/>
              <a:pathLst>
                <a:path w="11101070" h="4744720">
                  <a:moveTo>
                    <a:pt x="0" y="550164"/>
                  </a:moveTo>
                  <a:lnTo>
                    <a:pt x="1406652" y="550164"/>
                  </a:lnTo>
                  <a:lnTo>
                    <a:pt x="1406652" y="0"/>
                  </a:lnTo>
                  <a:lnTo>
                    <a:pt x="0" y="0"/>
                  </a:lnTo>
                  <a:lnTo>
                    <a:pt x="0" y="550164"/>
                  </a:lnTo>
                  <a:close/>
                </a:path>
                <a:path w="11101070" h="4744720">
                  <a:moveTo>
                    <a:pt x="1495044" y="1469136"/>
                  </a:moveTo>
                  <a:lnTo>
                    <a:pt x="11100816" y="1469136"/>
                  </a:lnTo>
                  <a:lnTo>
                    <a:pt x="11100816" y="0"/>
                  </a:lnTo>
                  <a:lnTo>
                    <a:pt x="1495044" y="0"/>
                  </a:lnTo>
                  <a:lnTo>
                    <a:pt x="1495044" y="1469136"/>
                  </a:lnTo>
                  <a:close/>
                </a:path>
                <a:path w="11101070" h="4744720">
                  <a:moveTo>
                    <a:pt x="0" y="2447544"/>
                  </a:moveTo>
                  <a:lnTo>
                    <a:pt x="1406652" y="2447544"/>
                  </a:lnTo>
                  <a:lnTo>
                    <a:pt x="1406652" y="550164"/>
                  </a:lnTo>
                  <a:lnTo>
                    <a:pt x="0" y="550164"/>
                  </a:lnTo>
                  <a:lnTo>
                    <a:pt x="0" y="2447544"/>
                  </a:lnTo>
                  <a:close/>
                </a:path>
                <a:path w="11101070" h="4744720">
                  <a:moveTo>
                    <a:pt x="1524" y="4744212"/>
                  </a:moveTo>
                  <a:lnTo>
                    <a:pt x="1408176" y="4744212"/>
                  </a:lnTo>
                  <a:lnTo>
                    <a:pt x="1408176" y="2744724"/>
                  </a:lnTo>
                  <a:lnTo>
                    <a:pt x="1524" y="2744724"/>
                  </a:lnTo>
                  <a:lnTo>
                    <a:pt x="1524" y="4744212"/>
                  </a:lnTo>
                  <a:close/>
                </a:path>
                <a:path w="11101070" h="4744720">
                  <a:moveTo>
                    <a:pt x="1495044" y="4146804"/>
                  </a:moveTo>
                  <a:lnTo>
                    <a:pt x="11100816" y="4146804"/>
                  </a:lnTo>
                  <a:lnTo>
                    <a:pt x="11100816" y="1543812"/>
                  </a:lnTo>
                  <a:lnTo>
                    <a:pt x="1495044" y="1543812"/>
                  </a:lnTo>
                  <a:lnTo>
                    <a:pt x="1495044" y="4146804"/>
                  </a:lnTo>
                  <a:close/>
                </a:path>
                <a:path w="11101070" h="4744720">
                  <a:moveTo>
                    <a:pt x="1495044" y="4744212"/>
                  </a:moveTo>
                  <a:lnTo>
                    <a:pt x="11100816" y="4744212"/>
                  </a:lnTo>
                  <a:lnTo>
                    <a:pt x="11100816" y="4212336"/>
                  </a:lnTo>
                  <a:lnTo>
                    <a:pt x="1495044" y="4212336"/>
                  </a:lnTo>
                  <a:lnTo>
                    <a:pt x="1495044" y="4744212"/>
                  </a:lnTo>
                  <a:close/>
                </a:path>
                <a:path w="11101070" h="4744720">
                  <a:moveTo>
                    <a:pt x="1495044" y="4146804"/>
                  </a:moveTo>
                  <a:lnTo>
                    <a:pt x="2875788" y="4146804"/>
                  </a:lnTo>
                  <a:lnTo>
                    <a:pt x="2875788" y="1543812"/>
                  </a:lnTo>
                  <a:lnTo>
                    <a:pt x="1495044" y="1543812"/>
                  </a:lnTo>
                  <a:lnTo>
                    <a:pt x="1495044" y="4146804"/>
                  </a:lnTo>
                  <a:close/>
                </a:path>
              </a:pathLst>
            </a:custGeom>
            <a:ln w="28956">
              <a:solidFill>
                <a:srgbClr val="E6121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5" name="object 5"/>
          <p:cNvSpPr txBox="1">
            <a:spLocks noGrp="1"/>
          </p:cNvSpPr>
          <p:nvPr>
            <p:ph type="title"/>
          </p:nvPr>
        </p:nvSpPr>
        <p:spPr>
          <a:xfrm>
            <a:off x="292099" y="239979"/>
            <a:ext cx="6425941" cy="443070"/>
          </a:xfrm>
          <a:prstGeom prst="rect">
            <a:avLst/>
          </a:prstGeom>
        </p:spPr>
        <p:txBody>
          <a:bodyPr vert="horz" wrap="square" lIns="0" tIns="12065" rIns="0" bIns="0" rtlCol="0">
            <a:spAutoFit/>
          </a:bodyPr>
          <a:lstStyle/>
          <a:p>
            <a:pPr marL="12700">
              <a:lnSpc>
                <a:spcPct val="100000"/>
              </a:lnSpc>
              <a:spcBef>
                <a:spcPts val="95"/>
              </a:spcBef>
            </a:pPr>
            <a:r>
              <a:rPr lang="en-US">
                <a:solidFill>
                  <a:srgbClr val="E61216"/>
                </a:solidFill>
              </a:rPr>
              <a:t>Phân tích trên toàn genome</a:t>
            </a:r>
            <a:endParaRPr spc="-10" dirty="0">
              <a:solidFill>
                <a:srgbClr val="E61216"/>
              </a:solidFill>
            </a:endParaRPr>
          </a:p>
        </p:txBody>
      </p:sp>
      <p:sp>
        <p:nvSpPr>
          <p:cNvPr id="6" name="object 6"/>
          <p:cNvSpPr txBox="1"/>
          <p:nvPr/>
        </p:nvSpPr>
        <p:spPr>
          <a:xfrm>
            <a:off x="53339" y="6627158"/>
            <a:ext cx="229235" cy="167005"/>
          </a:xfrm>
          <a:prstGeom prst="rect">
            <a:avLst/>
          </a:prstGeom>
        </p:spPr>
        <p:txBody>
          <a:bodyPr vert="horz" wrap="square" lIns="0" tIns="0" rIns="0" bIns="0" rtlCol="0">
            <a:spAutoFit/>
          </a:bodyPr>
          <a:lstStyle/>
          <a:p>
            <a:pPr marL="38100" marR="0" lvl="0" indent="0" algn="l" defTabSz="914400" rtl="0" eaLnBrk="1" fontAlgn="auto" latinLnBrk="0" hangingPunct="1">
              <a:lnSpc>
                <a:spcPct val="100000"/>
              </a:lnSpc>
              <a:spcBef>
                <a:spcPts val="0"/>
              </a:spcBef>
              <a:spcAft>
                <a:spcPts val="0"/>
              </a:spcAft>
              <a:buClrTx/>
              <a:buSzTx/>
              <a:buFontTx/>
              <a:buNone/>
              <a:tabLst/>
              <a:defRPr/>
            </a:pPr>
            <a:fld id="{81D60167-4931-47E6-BA6A-407CBD079E47}" type="slidenum">
              <a:rPr kumimoji="0" sz="1000" b="0" i="0" u="none" strike="noStrike" kern="0" cap="none" spc="-25" normalizeH="0" baseline="0" noProof="0" dirty="0">
                <a:ln>
                  <a:noFill/>
                </a:ln>
                <a:solidFill>
                  <a:srgbClr val="212121"/>
                </a:solidFill>
                <a:effectLst/>
                <a:uLnTx/>
                <a:uFillTx/>
                <a:latin typeface="Arial"/>
                <a:ea typeface="+mn-ea"/>
                <a:cs typeface="Arial"/>
              </a:rPr>
              <a:pPr marL="38100" marR="0" lvl="0" indent="0" algn="l" defTabSz="914400" rtl="0" eaLnBrk="1" fontAlgn="auto" latinLnBrk="0" hangingPunct="1">
                <a:lnSpc>
                  <a:spcPct val="100000"/>
                </a:lnSpc>
                <a:spcBef>
                  <a:spcPts val="0"/>
                </a:spcBef>
                <a:spcAft>
                  <a:spcPts val="0"/>
                </a:spcAft>
                <a:buClrTx/>
                <a:buSzTx/>
                <a:buFontTx/>
                <a:buNone/>
                <a:tabLst/>
                <a:defRPr/>
              </a:pPr>
              <a:t>34</a:t>
            </a:fld>
            <a:endParaRPr kumimoji="0" sz="100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7" name="object 7"/>
          <p:cNvSpPr txBox="1"/>
          <p:nvPr/>
        </p:nvSpPr>
        <p:spPr>
          <a:xfrm>
            <a:off x="396036" y="6631425"/>
            <a:ext cx="3474085" cy="167005"/>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000" b="0" i="0" u="none" strike="noStrike" kern="0" cap="none" spc="0" normalizeH="0" baseline="0" noProof="0" dirty="0">
                <a:ln>
                  <a:noFill/>
                </a:ln>
                <a:solidFill>
                  <a:srgbClr val="535758"/>
                </a:solidFill>
                <a:effectLst/>
                <a:uLnTx/>
                <a:uFillTx/>
                <a:latin typeface="Arial"/>
                <a:ea typeface="+mn-ea"/>
                <a:cs typeface="Arial"/>
              </a:rPr>
              <a:t>For</a:t>
            </a:r>
            <a:r>
              <a:rPr kumimoji="0" sz="1000" b="0" i="0" u="none" strike="noStrike" kern="0" cap="none" spc="-30" normalizeH="0" baseline="0" noProof="0" dirty="0">
                <a:ln>
                  <a:noFill/>
                </a:ln>
                <a:solidFill>
                  <a:srgbClr val="535758"/>
                </a:solidFill>
                <a:effectLst/>
                <a:uLnTx/>
                <a:uFillTx/>
                <a:latin typeface="Arial"/>
                <a:ea typeface="+mn-ea"/>
                <a:cs typeface="Arial"/>
              </a:rPr>
              <a:t> </a:t>
            </a:r>
            <a:r>
              <a:rPr kumimoji="0" sz="1000" b="0" i="0" u="none" strike="noStrike" kern="0" cap="none" spc="0" normalizeH="0" baseline="0" noProof="0" dirty="0">
                <a:ln>
                  <a:noFill/>
                </a:ln>
                <a:solidFill>
                  <a:srgbClr val="535758"/>
                </a:solidFill>
                <a:effectLst/>
                <a:uLnTx/>
                <a:uFillTx/>
                <a:latin typeface="Arial"/>
                <a:ea typeface="+mn-ea"/>
                <a:cs typeface="Arial"/>
              </a:rPr>
              <a:t>Research</a:t>
            </a:r>
            <a:r>
              <a:rPr kumimoji="0" sz="1000" b="0" i="0" u="none" strike="noStrike" kern="0" cap="none" spc="-35" normalizeH="0" baseline="0" noProof="0" dirty="0">
                <a:ln>
                  <a:noFill/>
                </a:ln>
                <a:solidFill>
                  <a:srgbClr val="535758"/>
                </a:solidFill>
                <a:effectLst/>
                <a:uLnTx/>
                <a:uFillTx/>
                <a:latin typeface="Arial"/>
                <a:ea typeface="+mn-ea"/>
                <a:cs typeface="Arial"/>
              </a:rPr>
              <a:t> </a:t>
            </a:r>
            <a:r>
              <a:rPr kumimoji="0" sz="1000" b="0" i="0" u="none" strike="noStrike" kern="0" cap="none" spc="0" normalizeH="0" baseline="0" noProof="0" dirty="0">
                <a:ln>
                  <a:noFill/>
                </a:ln>
                <a:solidFill>
                  <a:srgbClr val="535758"/>
                </a:solidFill>
                <a:effectLst/>
                <a:uLnTx/>
                <a:uFillTx/>
                <a:latin typeface="Arial"/>
                <a:ea typeface="+mn-ea"/>
                <a:cs typeface="Arial"/>
              </a:rPr>
              <a:t>Use</a:t>
            </a:r>
            <a:r>
              <a:rPr kumimoji="0" sz="1000" b="0" i="0" u="none" strike="noStrike" kern="0" cap="none" spc="-30" normalizeH="0" baseline="0" noProof="0" dirty="0">
                <a:ln>
                  <a:noFill/>
                </a:ln>
                <a:solidFill>
                  <a:srgbClr val="535758"/>
                </a:solidFill>
                <a:effectLst/>
                <a:uLnTx/>
                <a:uFillTx/>
                <a:latin typeface="Arial"/>
                <a:ea typeface="+mn-ea"/>
                <a:cs typeface="Arial"/>
              </a:rPr>
              <a:t> </a:t>
            </a:r>
            <a:r>
              <a:rPr kumimoji="0" sz="1000" b="0" i="0" u="none" strike="noStrike" kern="0" cap="none" spc="0" normalizeH="0" baseline="0" noProof="0" dirty="0">
                <a:ln>
                  <a:noFill/>
                </a:ln>
                <a:solidFill>
                  <a:srgbClr val="535758"/>
                </a:solidFill>
                <a:effectLst/>
                <a:uLnTx/>
                <a:uFillTx/>
                <a:latin typeface="Arial"/>
                <a:ea typeface="+mn-ea"/>
                <a:cs typeface="Arial"/>
              </a:rPr>
              <a:t>Only.</a:t>
            </a:r>
            <a:r>
              <a:rPr kumimoji="0" sz="1000" b="0" i="0" u="none" strike="noStrike" kern="0" cap="none" spc="10" normalizeH="0" baseline="0" noProof="0" dirty="0">
                <a:ln>
                  <a:noFill/>
                </a:ln>
                <a:solidFill>
                  <a:srgbClr val="535758"/>
                </a:solidFill>
                <a:effectLst/>
                <a:uLnTx/>
                <a:uFillTx/>
                <a:latin typeface="Arial"/>
                <a:ea typeface="+mn-ea"/>
                <a:cs typeface="Arial"/>
              </a:rPr>
              <a:t> </a:t>
            </a:r>
            <a:r>
              <a:rPr kumimoji="0" sz="1000" b="0" i="0" u="none" strike="noStrike" kern="0" cap="none" spc="0" normalizeH="0" baseline="0" noProof="0" dirty="0">
                <a:ln>
                  <a:noFill/>
                </a:ln>
                <a:solidFill>
                  <a:srgbClr val="535758"/>
                </a:solidFill>
                <a:effectLst/>
                <a:uLnTx/>
                <a:uFillTx/>
                <a:latin typeface="Arial"/>
                <a:ea typeface="+mn-ea"/>
                <a:cs typeface="Arial"/>
              </a:rPr>
              <a:t>Not</a:t>
            </a:r>
            <a:r>
              <a:rPr kumimoji="0" sz="1000" b="0" i="0" u="none" strike="noStrike" kern="0" cap="none" spc="-25" normalizeH="0" baseline="0" noProof="0" dirty="0">
                <a:ln>
                  <a:noFill/>
                </a:ln>
                <a:solidFill>
                  <a:srgbClr val="535758"/>
                </a:solidFill>
                <a:effectLst/>
                <a:uLnTx/>
                <a:uFillTx/>
                <a:latin typeface="Arial"/>
                <a:ea typeface="+mn-ea"/>
                <a:cs typeface="Arial"/>
              </a:rPr>
              <a:t> </a:t>
            </a:r>
            <a:r>
              <a:rPr kumimoji="0" sz="1000" b="0" i="0" u="none" strike="noStrike" kern="0" cap="none" spc="0" normalizeH="0" baseline="0" noProof="0" dirty="0">
                <a:ln>
                  <a:noFill/>
                </a:ln>
                <a:solidFill>
                  <a:srgbClr val="535758"/>
                </a:solidFill>
                <a:effectLst/>
                <a:uLnTx/>
                <a:uFillTx/>
                <a:latin typeface="Arial"/>
                <a:ea typeface="+mn-ea"/>
                <a:cs typeface="Arial"/>
              </a:rPr>
              <a:t>for</a:t>
            </a:r>
            <a:r>
              <a:rPr kumimoji="0" sz="1000" b="0" i="0" u="none" strike="noStrike" kern="0" cap="none" spc="-45" normalizeH="0" baseline="0" noProof="0" dirty="0">
                <a:ln>
                  <a:noFill/>
                </a:ln>
                <a:solidFill>
                  <a:srgbClr val="535758"/>
                </a:solidFill>
                <a:effectLst/>
                <a:uLnTx/>
                <a:uFillTx/>
                <a:latin typeface="Arial"/>
                <a:ea typeface="+mn-ea"/>
                <a:cs typeface="Arial"/>
              </a:rPr>
              <a:t> </a:t>
            </a:r>
            <a:r>
              <a:rPr kumimoji="0" sz="1000" b="0" i="0" u="none" strike="noStrike" kern="0" cap="none" spc="0" normalizeH="0" baseline="0" noProof="0" dirty="0">
                <a:ln>
                  <a:noFill/>
                </a:ln>
                <a:solidFill>
                  <a:srgbClr val="535758"/>
                </a:solidFill>
                <a:effectLst/>
                <a:uLnTx/>
                <a:uFillTx/>
                <a:latin typeface="Arial"/>
                <a:ea typeface="+mn-ea"/>
                <a:cs typeface="Arial"/>
              </a:rPr>
              <a:t>use</a:t>
            </a:r>
            <a:r>
              <a:rPr kumimoji="0" sz="1000" b="0" i="0" u="none" strike="noStrike" kern="0" cap="none" spc="-25" normalizeH="0" baseline="0" noProof="0" dirty="0">
                <a:ln>
                  <a:noFill/>
                </a:ln>
                <a:solidFill>
                  <a:srgbClr val="535758"/>
                </a:solidFill>
                <a:effectLst/>
                <a:uLnTx/>
                <a:uFillTx/>
                <a:latin typeface="Arial"/>
                <a:ea typeface="+mn-ea"/>
                <a:cs typeface="Arial"/>
              </a:rPr>
              <a:t> </a:t>
            </a:r>
            <a:r>
              <a:rPr kumimoji="0" sz="1000" b="0" i="0" u="none" strike="noStrike" kern="0" cap="none" spc="0" normalizeH="0" baseline="0" noProof="0" dirty="0">
                <a:ln>
                  <a:noFill/>
                </a:ln>
                <a:solidFill>
                  <a:srgbClr val="535758"/>
                </a:solidFill>
                <a:effectLst/>
                <a:uLnTx/>
                <a:uFillTx/>
                <a:latin typeface="Arial"/>
                <a:ea typeface="+mn-ea"/>
                <a:cs typeface="Arial"/>
              </a:rPr>
              <a:t>in</a:t>
            </a:r>
            <a:r>
              <a:rPr kumimoji="0" sz="1000" b="0" i="0" u="none" strike="noStrike" kern="0" cap="none" spc="-25" normalizeH="0" baseline="0" noProof="0" dirty="0">
                <a:ln>
                  <a:noFill/>
                </a:ln>
                <a:solidFill>
                  <a:srgbClr val="535758"/>
                </a:solidFill>
                <a:effectLst/>
                <a:uLnTx/>
                <a:uFillTx/>
                <a:latin typeface="Arial"/>
                <a:ea typeface="+mn-ea"/>
                <a:cs typeface="Arial"/>
              </a:rPr>
              <a:t> </a:t>
            </a:r>
            <a:r>
              <a:rPr kumimoji="0" sz="1000" b="0" i="0" u="none" strike="noStrike" kern="0" cap="none" spc="-10" normalizeH="0" baseline="0" noProof="0" dirty="0">
                <a:ln>
                  <a:noFill/>
                </a:ln>
                <a:solidFill>
                  <a:srgbClr val="535758"/>
                </a:solidFill>
                <a:effectLst/>
                <a:uLnTx/>
                <a:uFillTx/>
                <a:latin typeface="Arial"/>
                <a:ea typeface="+mn-ea"/>
                <a:cs typeface="Arial"/>
              </a:rPr>
              <a:t>diagnostic</a:t>
            </a:r>
            <a:r>
              <a:rPr kumimoji="0" sz="1000" b="0" i="0" u="none" strike="noStrike" kern="0" cap="none" spc="-25" normalizeH="0" baseline="0" noProof="0" dirty="0">
                <a:ln>
                  <a:noFill/>
                </a:ln>
                <a:solidFill>
                  <a:srgbClr val="535758"/>
                </a:solidFill>
                <a:effectLst/>
                <a:uLnTx/>
                <a:uFillTx/>
                <a:latin typeface="Arial"/>
                <a:ea typeface="+mn-ea"/>
                <a:cs typeface="Arial"/>
              </a:rPr>
              <a:t> </a:t>
            </a:r>
            <a:r>
              <a:rPr kumimoji="0" sz="1000" b="0" i="0" u="none" strike="noStrike" kern="0" cap="none" spc="-10" normalizeH="0" baseline="0" noProof="0" dirty="0">
                <a:ln>
                  <a:noFill/>
                </a:ln>
                <a:solidFill>
                  <a:srgbClr val="535758"/>
                </a:solidFill>
                <a:effectLst/>
                <a:uLnTx/>
                <a:uFillTx/>
                <a:latin typeface="Arial"/>
                <a:ea typeface="+mn-ea"/>
                <a:cs typeface="Arial"/>
              </a:rPr>
              <a:t>procedures.</a:t>
            </a:r>
            <a:endParaRPr kumimoji="0" sz="100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8" name="Rectangle 7">
            <a:extLst>
              <a:ext uri="{FF2B5EF4-FFF2-40B4-BE49-F238E27FC236}">
                <a16:creationId xmlns:a16="http://schemas.microsoft.com/office/drawing/2014/main" id="{E33B582E-E22E-93C5-9CFC-E07560403A5C}"/>
              </a:ext>
            </a:extLst>
          </p:cNvPr>
          <p:cNvSpPr/>
          <p:nvPr/>
        </p:nvSpPr>
        <p:spPr>
          <a:xfrm>
            <a:off x="9862457" y="0"/>
            <a:ext cx="2211355" cy="76511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6240206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304800" y="1033272"/>
            <a:ext cx="11582400" cy="5434965"/>
            <a:chOff x="304800" y="1033272"/>
            <a:chExt cx="11582400" cy="5434965"/>
          </a:xfrm>
        </p:grpSpPr>
        <p:pic>
          <p:nvPicPr>
            <p:cNvPr id="3" name="object 3"/>
            <p:cNvPicPr/>
            <p:nvPr/>
          </p:nvPicPr>
          <p:blipFill>
            <a:blip r:embed="rId2" cstate="print"/>
            <a:stretch>
              <a:fillRect/>
            </a:stretch>
          </p:blipFill>
          <p:spPr>
            <a:xfrm>
              <a:off x="304800" y="1033272"/>
              <a:ext cx="11582400" cy="5434583"/>
            </a:xfrm>
            <a:prstGeom prst="rect">
              <a:avLst/>
            </a:prstGeom>
          </p:spPr>
        </p:pic>
        <p:pic>
          <p:nvPicPr>
            <p:cNvPr id="4" name="object 4"/>
            <p:cNvPicPr/>
            <p:nvPr/>
          </p:nvPicPr>
          <p:blipFill>
            <a:blip r:embed="rId3" cstate="print"/>
            <a:stretch>
              <a:fillRect/>
            </a:stretch>
          </p:blipFill>
          <p:spPr>
            <a:xfrm>
              <a:off x="3200400" y="1905000"/>
              <a:ext cx="4704588" cy="1027176"/>
            </a:xfrm>
            <a:prstGeom prst="rect">
              <a:avLst/>
            </a:prstGeom>
          </p:spPr>
        </p:pic>
        <p:sp>
          <p:nvSpPr>
            <p:cNvPr id="5" name="object 5"/>
            <p:cNvSpPr/>
            <p:nvPr/>
          </p:nvSpPr>
          <p:spPr>
            <a:xfrm>
              <a:off x="3185922" y="1890522"/>
              <a:ext cx="4733925" cy="1056640"/>
            </a:xfrm>
            <a:custGeom>
              <a:avLst/>
              <a:gdLst/>
              <a:ahLst/>
              <a:cxnLst/>
              <a:rect l="l" t="t" r="r" b="b"/>
              <a:pathLst>
                <a:path w="4733925" h="1056639">
                  <a:moveTo>
                    <a:pt x="0" y="1056131"/>
                  </a:moveTo>
                  <a:lnTo>
                    <a:pt x="4733544" y="1056131"/>
                  </a:lnTo>
                  <a:lnTo>
                    <a:pt x="4733544" y="0"/>
                  </a:lnTo>
                  <a:lnTo>
                    <a:pt x="0" y="0"/>
                  </a:lnTo>
                  <a:lnTo>
                    <a:pt x="0" y="1056131"/>
                  </a:lnTo>
                  <a:close/>
                </a:path>
              </a:pathLst>
            </a:custGeom>
            <a:ln w="28956">
              <a:solidFill>
                <a:srgbClr val="E7121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 name="object 6"/>
            <p:cNvSpPr/>
            <p:nvPr/>
          </p:nvSpPr>
          <p:spPr>
            <a:xfrm>
              <a:off x="2196845" y="1219962"/>
              <a:ext cx="471170" cy="180340"/>
            </a:xfrm>
            <a:custGeom>
              <a:avLst/>
              <a:gdLst/>
              <a:ahLst/>
              <a:cxnLst/>
              <a:rect l="l" t="t" r="r" b="b"/>
              <a:pathLst>
                <a:path w="471169" h="180340">
                  <a:moveTo>
                    <a:pt x="0" y="179832"/>
                  </a:moveTo>
                  <a:lnTo>
                    <a:pt x="470916" y="179832"/>
                  </a:lnTo>
                  <a:lnTo>
                    <a:pt x="470916" y="0"/>
                  </a:lnTo>
                  <a:lnTo>
                    <a:pt x="0" y="0"/>
                  </a:lnTo>
                  <a:lnTo>
                    <a:pt x="0" y="179832"/>
                  </a:lnTo>
                  <a:close/>
                </a:path>
              </a:pathLst>
            </a:custGeom>
            <a:ln w="32004">
              <a:solidFill>
                <a:srgbClr val="E7121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7" name="object 7"/>
            <p:cNvPicPr/>
            <p:nvPr/>
          </p:nvPicPr>
          <p:blipFill>
            <a:blip r:embed="rId4" cstate="print"/>
            <a:stretch>
              <a:fillRect/>
            </a:stretch>
          </p:blipFill>
          <p:spPr>
            <a:xfrm>
              <a:off x="5448300" y="1975104"/>
              <a:ext cx="1295400" cy="920496"/>
            </a:xfrm>
            <a:prstGeom prst="rect">
              <a:avLst/>
            </a:prstGeom>
          </p:spPr>
        </p:pic>
        <p:pic>
          <p:nvPicPr>
            <p:cNvPr id="8" name="object 8"/>
            <p:cNvPicPr/>
            <p:nvPr/>
          </p:nvPicPr>
          <p:blipFill>
            <a:blip r:embed="rId5" cstate="print"/>
            <a:stretch>
              <a:fillRect/>
            </a:stretch>
          </p:blipFill>
          <p:spPr>
            <a:xfrm>
              <a:off x="934212" y="1219200"/>
              <a:ext cx="10325100" cy="5219700"/>
            </a:xfrm>
            <a:prstGeom prst="rect">
              <a:avLst/>
            </a:prstGeom>
          </p:spPr>
        </p:pic>
      </p:grpSp>
      <p:sp>
        <p:nvSpPr>
          <p:cNvPr id="9" name="object 9"/>
          <p:cNvSpPr txBox="1">
            <a:spLocks noGrp="1"/>
          </p:cNvSpPr>
          <p:nvPr>
            <p:ph type="title"/>
          </p:nvPr>
        </p:nvSpPr>
        <p:spPr>
          <a:xfrm>
            <a:off x="292100" y="239979"/>
            <a:ext cx="4699000" cy="452120"/>
          </a:xfrm>
          <a:prstGeom prst="rect">
            <a:avLst/>
          </a:prstGeom>
        </p:spPr>
        <p:txBody>
          <a:bodyPr vert="horz" wrap="square" lIns="0" tIns="12065" rIns="0" bIns="0" rtlCol="0">
            <a:spAutoFit/>
          </a:bodyPr>
          <a:lstStyle/>
          <a:p>
            <a:pPr marL="12700">
              <a:lnSpc>
                <a:spcPct val="100000"/>
              </a:lnSpc>
              <a:spcBef>
                <a:spcPts val="95"/>
              </a:spcBef>
            </a:pPr>
            <a:r>
              <a:rPr dirty="0">
                <a:solidFill>
                  <a:srgbClr val="E61216"/>
                </a:solidFill>
              </a:rPr>
              <a:t>Whole</a:t>
            </a:r>
            <a:r>
              <a:rPr spc="-105" dirty="0">
                <a:solidFill>
                  <a:srgbClr val="E61216"/>
                </a:solidFill>
              </a:rPr>
              <a:t> </a:t>
            </a:r>
            <a:r>
              <a:rPr dirty="0">
                <a:solidFill>
                  <a:srgbClr val="E61216"/>
                </a:solidFill>
              </a:rPr>
              <a:t>Genome</a:t>
            </a:r>
            <a:r>
              <a:rPr spc="-100" dirty="0">
                <a:solidFill>
                  <a:srgbClr val="E61216"/>
                </a:solidFill>
              </a:rPr>
              <a:t> </a:t>
            </a:r>
            <a:r>
              <a:rPr dirty="0">
                <a:solidFill>
                  <a:srgbClr val="E61216"/>
                </a:solidFill>
              </a:rPr>
              <a:t>View</a:t>
            </a:r>
            <a:r>
              <a:rPr spc="-120" dirty="0">
                <a:solidFill>
                  <a:srgbClr val="E61216"/>
                </a:solidFill>
              </a:rPr>
              <a:t> </a:t>
            </a:r>
            <a:r>
              <a:rPr spc="-10" dirty="0">
                <a:solidFill>
                  <a:srgbClr val="E61216"/>
                </a:solidFill>
              </a:rPr>
              <a:t>(WGV)</a:t>
            </a:r>
          </a:p>
        </p:txBody>
      </p:sp>
      <p:sp>
        <p:nvSpPr>
          <p:cNvPr id="10" name="object 10"/>
          <p:cNvSpPr txBox="1"/>
          <p:nvPr/>
        </p:nvSpPr>
        <p:spPr>
          <a:xfrm>
            <a:off x="53339" y="6627158"/>
            <a:ext cx="229235" cy="167005"/>
          </a:xfrm>
          <a:prstGeom prst="rect">
            <a:avLst/>
          </a:prstGeom>
        </p:spPr>
        <p:txBody>
          <a:bodyPr vert="horz" wrap="square" lIns="0" tIns="0" rIns="0" bIns="0" rtlCol="0">
            <a:spAutoFit/>
          </a:bodyPr>
          <a:lstStyle/>
          <a:p>
            <a:pPr marL="38100" marR="0" lvl="0" indent="0" algn="l" defTabSz="914400" rtl="0" eaLnBrk="1" fontAlgn="auto" latinLnBrk="0" hangingPunct="1">
              <a:lnSpc>
                <a:spcPct val="100000"/>
              </a:lnSpc>
              <a:spcBef>
                <a:spcPts val="0"/>
              </a:spcBef>
              <a:spcAft>
                <a:spcPts val="0"/>
              </a:spcAft>
              <a:buClrTx/>
              <a:buSzTx/>
              <a:buFontTx/>
              <a:buNone/>
              <a:tabLst/>
              <a:defRPr/>
            </a:pPr>
            <a:fld id="{81D60167-4931-47E6-BA6A-407CBD079E47}" type="slidenum">
              <a:rPr kumimoji="0" sz="1000" b="0" i="0" u="none" strike="noStrike" kern="0" cap="none" spc="-25" normalizeH="0" baseline="0" noProof="0" dirty="0">
                <a:ln>
                  <a:noFill/>
                </a:ln>
                <a:solidFill>
                  <a:srgbClr val="212121"/>
                </a:solidFill>
                <a:effectLst/>
                <a:uLnTx/>
                <a:uFillTx/>
                <a:latin typeface="Arial"/>
                <a:ea typeface="+mn-ea"/>
                <a:cs typeface="Arial"/>
              </a:rPr>
              <a:pPr marL="38100" marR="0" lvl="0" indent="0" algn="l" defTabSz="914400" rtl="0" eaLnBrk="1" fontAlgn="auto" latinLnBrk="0" hangingPunct="1">
                <a:lnSpc>
                  <a:spcPct val="100000"/>
                </a:lnSpc>
                <a:spcBef>
                  <a:spcPts val="0"/>
                </a:spcBef>
                <a:spcAft>
                  <a:spcPts val="0"/>
                </a:spcAft>
                <a:buClrTx/>
                <a:buSzTx/>
                <a:buFontTx/>
                <a:buNone/>
                <a:tabLst/>
                <a:defRPr/>
              </a:pPr>
              <a:t>35</a:t>
            </a:fld>
            <a:endParaRPr kumimoji="0" sz="100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11" name="object 11"/>
          <p:cNvSpPr txBox="1"/>
          <p:nvPr/>
        </p:nvSpPr>
        <p:spPr>
          <a:xfrm>
            <a:off x="396036" y="6631425"/>
            <a:ext cx="3474085" cy="167005"/>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000" b="0" i="0" u="none" strike="noStrike" kern="0" cap="none" spc="0" normalizeH="0" baseline="0" noProof="0" dirty="0">
                <a:ln>
                  <a:noFill/>
                </a:ln>
                <a:solidFill>
                  <a:srgbClr val="535758"/>
                </a:solidFill>
                <a:effectLst/>
                <a:uLnTx/>
                <a:uFillTx/>
                <a:latin typeface="Arial"/>
                <a:ea typeface="+mn-ea"/>
                <a:cs typeface="Arial"/>
              </a:rPr>
              <a:t>For</a:t>
            </a:r>
            <a:r>
              <a:rPr kumimoji="0" sz="1000" b="0" i="0" u="none" strike="noStrike" kern="0" cap="none" spc="-30" normalizeH="0" baseline="0" noProof="0" dirty="0">
                <a:ln>
                  <a:noFill/>
                </a:ln>
                <a:solidFill>
                  <a:srgbClr val="535758"/>
                </a:solidFill>
                <a:effectLst/>
                <a:uLnTx/>
                <a:uFillTx/>
                <a:latin typeface="Arial"/>
                <a:ea typeface="+mn-ea"/>
                <a:cs typeface="Arial"/>
              </a:rPr>
              <a:t> </a:t>
            </a:r>
            <a:r>
              <a:rPr kumimoji="0" sz="1000" b="0" i="0" u="none" strike="noStrike" kern="0" cap="none" spc="0" normalizeH="0" baseline="0" noProof="0" dirty="0">
                <a:ln>
                  <a:noFill/>
                </a:ln>
                <a:solidFill>
                  <a:srgbClr val="535758"/>
                </a:solidFill>
                <a:effectLst/>
                <a:uLnTx/>
                <a:uFillTx/>
                <a:latin typeface="Arial"/>
                <a:ea typeface="+mn-ea"/>
                <a:cs typeface="Arial"/>
              </a:rPr>
              <a:t>Research</a:t>
            </a:r>
            <a:r>
              <a:rPr kumimoji="0" sz="1000" b="0" i="0" u="none" strike="noStrike" kern="0" cap="none" spc="-35" normalizeH="0" baseline="0" noProof="0" dirty="0">
                <a:ln>
                  <a:noFill/>
                </a:ln>
                <a:solidFill>
                  <a:srgbClr val="535758"/>
                </a:solidFill>
                <a:effectLst/>
                <a:uLnTx/>
                <a:uFillTx/>
                <a:latin typeface="Arial"/>
                <a:ea typeface="+mn-ea"/>
                <a:cs typeface="Arial"/>
              </a:rPr>
              <a:t> </a:t>
            </a:r>
            <a:r>
              <a:rPr kumimoji="0" sz="1000" b="0" i="0" u="none" strike="noStrike" kern="0" cap="none" spc="0" normalizeH="0" baseline="0" noProof="0" dirty="0">
                <a:ln>
                  <a:noFill/>
                </a:ln>
                <a:solidFill>
                  <a:srgbClr val="535758"/>
                </a:solidFill>
                <a:effectLst/>
                <a:uLnTx/>
                <a:uFillTx/>
                <a:latin typeface="Arial"/>
                <a:ea typeface="+mn-ea"/>
                <a:cs typeface="Arial"/>
              </a:rPr>
              <a:t>Use</a:t>
            </a:r>
            <a:r>
              <a:rPr kumimoji="0" sz="1000" b="0" i="0" u="none" strike="noStrike" kern="0" cap="none" spc="-30" normalizeH="0" baseline="0" noProof="0" dirty="0">
                <a:ln>
                  <a:noFill/>
                </a:ln>
                <a:solidFill>
                  <a:srgbClr val="535758"/>
                </a:solidFill>
                <a:effectLst/>
                <a:uLnTx/>
                <a:uFillTx/>
                <a:latin typeface="Arial"/>
                <a:ea typeface="+mn-ea"/>
                <a:cs typeface="Arial"/>
              </a:rPr>
              <a:t> </a:t>
            </a:r>
            <a:r>
              <a:rPr kumimoji="0" sz="1000" b="0" i="0" u="none" strike="noStrike" kern="0" cap="none" spc="0" normalizeH="0" baseline="0" noProof="0" dirty="0">
                <a:ln>
                  <a:noFill/>
                </a:ln>
                <a:solidFill>
                  <a:srgbClr val="535758"/>
                </a:solidFill>
                <a:effectLst/>
                <a:uLnTx/>
                <a:uFillTx/>
                <a:latin typeface="Arial"/>
                <a:ea typeface="+mn-ea"/>
                <a:cs typeface="Arial"/>
              </a:rPr>
              <a:t>Only.</a:t>
            </a:r>
            <a:r>
              <a:rPr kumimoji="0" sz="1000" b="0" i="0" u="none" strike="noStrike" kern="0" cap="none" spc="10" normalizeH="0" baseline="0" noProof="0" dirty="0">
                <a:ln>
                  <a:noFill/>
                </a:ln>
                <a:solidFill>
                  <a:srgbClr val="535758"/>
                </a:solidFill>
                <a:effectLst/>
                <a:uLnTx/>
                <a:uFillTx/>
                <a:latin typeface="Arial"/>
                <a:ea typeface="+mn-ea"/>
                <a:cs typeface="Arial"/>
              </a:rPr>
              <a:t> </a:t>
            </a:r>
            <a:r>
              <a:rPr kumimoji="0" sz="1000" b="0" i="0" u="none" strike="noStrike" kern="0" cap="none" spc="0" normalizeH="0" baseline="0" noProof="0" dirty="0">
                <a:ln>
                  <a:noFill/>
                </a:ln>
                <a:solidFill>
                  <a:srgbClr val="535758"/>
                </a:solidFill>
                <a:effectLst/>
                <a:uLnTx/>
                <a:uFillTx/>
                <a:latin typeface="Arial"/>
                <a:ea typeface="+mn-ea"/>
                <a:cs typeface="Arial"/>
              </a:rPr>
              <a:t>Not</a:t>
            </a:r>
            <a:r>
              <a:rPr kumimoji="0" sz="1000" b="0" i="0" u="none" strike="noStrike" kern="0" cap="none" spc="-25" normalizeH="0" baseline="0" noProof="0" dirty="0">
                <a:ln>
                  <a:noFill/>
                </a:ln>
                <a:solidFill>
                  <a:srgbClr val="535758"/>
                </a:solidFill>
                <a:effectLst/>
                <a:uLnTx/>
                <a:uFillTx/>
                <a:latin typeface="Arial"/>
                <a:ea typeface="+mn-ea"/>
                <a:cs typeface="Arial"/>
              </a:rPr>
              <a:t> </a:t>
            </a:r>
            <a:r>
              <a:rPr kumimoji="0" sz="1000" b="0" i="0" u="none" strike="noStrike" kern="0" cap="none" spc="0" normalizeH="0" baseline="0" noProof="0" dirty="0">
                <a:ln>
                  <a:noFill/>
                </a:ln>
                <a:solidFill>
                  <a:srgbClr val="535758"/>
                </a:solidFill>
                <a:effectLst/>
                <a:uLnTx/>
                <a:uFillTx/>
                <a:latin typeface="Arial"/>
                <a:ea typeface="+mn-ea"/>
                <a:cs typeface="Arial"/>
              </a:rPr>
              <a:t>for</a:t>
            </a:r>
            <a:r>
              <a:rPr kumimoji="0" sz="1000" b="0" i="0" u="none" strike="noStrike" kern="0" cap="none" spc="-45" normalizeH="0" baseline="0" noProof="0" dirty="0">
                <a:ln>
                  <a:noFill/>
                </a:ln>
                <a:solidFill>
                  <a:srgbClr val="535758"/>
                </a:solidFill>
                <a:effectLst/>
                <a:uLnTx/>
                <a:uFillTx/>
                <a:latin typeface="Arial"/>
                <a:ea typeface="+mn-ea"/>
                <a:cs typeface="Arial"/>
              </a:rPr>
              <a:t> </a:t>
            </a:r>
            <a:r>
              <a:rPr kumimoji="0" sz="1000" b="0" i="0" u="none" strike="noStrike" kern="0" cap="none" spc="0" normalizeH="0" baseline="0" noProof="0" dirty="0">
                <a:ln>
                  <a:noFill/>
                </a:ln>
                <a:solidFill>
                  <a:srgbClr val="535758"/>
                </a:solidFill>
                <a:effectLst/>
                <a:uLnTx/>
                <a:uFillTx/>
                <a:latin typeface="Arial"/>
                <a:ea typeface="+mn-ea"/>
                <a:cs typeface="Arial"/>
              </a:rPr>
              <a:t>use</a:t>
            </a:r>
            <a:r>
              <a:rPr kumimoji="0" sz="1000" b="0" i="0" u="none" strike="noStrike" kern="0" cap="none" spc="-25" normalizeH="0" baseline="0" noProof="0" dirty="0">
                <a:ln>
                  <a:noFill/>
                </a:ln>
                <a:solidFill>
                  <a:srgbClr val="535758"/>
                </a:solidFill>
                <a:effectLst/>
                <a:uLnTx/>
                <a:uFillTx/>
                <a:latin typeface="Arial"/>
                <a:ea typeface="+mn-ea"/>
                <a:cs typeface="Arial"/>
              </a:rPr>
              <a:t> </a:t>
            </a:r>
            <a:r>
              <a:rPr kumimoji="0" sz="1000" b="0" i="0" u="none" strike="noStrike" kern="0" cap="none" spc="0" normalizeH="0" baseline="0" noProof="0" dirty="0">
                <a:ln>
                  <a:noFill/>
                </a:ln>
                <a:solidFill>
                  <a:srgbClr val="535758"/>
                </a:solidFill>
                <a:effectLst/>
                <a:uLnTx/>
                <a:uFillTx/>
                <a:latin typeface="Arial"/>
                <a:ea typeface="+mn-ea"/>
                <a:cs typeface="Arial"/>
              </a:rPr>
              <a:t>in</a:t>
            </a:r>
            <a:r>
              <a:rPr kumimoji="0" sz="1000" b="0" i="0" u="none" strike="noStrike" kern="0" cap="none" spc="-25" normalizeH="0" baseline="0" noProof="0" dirty="0">
                <a:ln>
                  <a:noFill/>
                </a:ln>
                <a:solidFill>
                  <a:srgbClr val="535758"/>
                </a:solidFill>
                <a:effectLst/>
                <a:uLnTx/>
                <a:uFillTx/>
                <a:latin typeface="Arial"/>
                <a:ea typeface="+mn-ea"/>
                <a:cs typeface="Arial"/>
              </a:rPr>
              <a:t> </a:t>
            </a:r>
            <a:r>
              <a:rPr kumimoji="0" sz="1000" b="0" i="0" u="none" strike="noStrike" kern="0" cap="none" spc="-10" normalizeH="0" baseline="0" noProof="0" dirty="0">
                <a:ln>
                  <a:noFill/>
                </a:ln>
                <a:solidFill>
                  <a:srgbClr val="535758"/>
                </a:solidFill>
                <a:effectLst/>
                <a:uLnTx/>
                <a:uFillTx/>
                <a:latin typeface="Arial"/>
                <a:ea typeface="+mn-ea"/>
                <a:cs typeface="Arial"/>
              </a:rPr>
              <a:t>diagnostic</a:t>
            </a:r>
            <a:r>
              <a:rPr kumimoji="0" sz="1000" b="0" i="0" u="none" strike="noStrike" kern="0" cap="none" spc="-25" normalizeH="0" baseline="0" noProof="0" dirty="0">
                <a:ln>
                  <a:noFill/>
                </a:ln>
                <a:solidFill>
                  <a:srgbClr val="535758"/>
                </a:solidFill>
                <a:effectLst/>
                <a:uLnTx/>
                <a:uFillTx/>
                <a:latin typeface="Arial"/>
                <a:ea typeface="+mn-ea"/>
                <a:cs typeface="Arial"/>
              </a:rPr>
              <a:t> </a:t>
            </a:r>
            <a:r>
              <a:rPr kumimoji="0" sz="1000" b="0" i="0" u="none" strike="noStrike" kern="0" cap="none" spc="-10" normalizeH="0" baseline="0" noProof="0" dirty="0">
                <a:ln>
                  <a:noFill/>
                </a:ln>
                <a:solidFill>
                  <a:srgbClr val="535758"/>
                </a:solidFill>
                <a:effectLst/>
                <a:uLnTx/>
                <a:uFillTx/>
                <a:latin typeface="Arial"/>
                <a:ea typeface="+mn-ea"/>
                <a:cs typeface="Arial"/>
              </a:rPr>
              <a:t>procedures.</a:t>
            </a:r>
            <a:endParaRPr kumimoji="0" sz="100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12" name="Rectangle 11">
            <a:extLst>
              <a:ext uri="{FF2B5EF4-FFF2-40B4-BE49-F238E27FC236}">
                <a16:creationId xmlns:a16="http://schemas.microsoft.com/office/drawing/2014/main" id="{B48D551C-841B-6986-4F66-79CFE43879C4}"/>
              </a:ext>
            </a:extLst>
          </p:cNvPr>
          <p:cNvSpPr/>
          <p:nvPr/>
        </p:nvSpPr>
        <p:spPr>
          <a:xfrm>
            <a:off x="9862457" y="0"/>
            <a:ext cx="2211355" cy="76511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7309266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p:nvPr/>
        </p:nvSpPr>
        <p:spPr>
          <a:xfrm>
            <a:off x="1056240" y="1942702"/>
            <a:ext cx="1271905" cy="249554"/>
          </a:xfrm>
          <a:prstGeom prst="rect">
            <a:avLst/>
          </a:prstGeom>
        </p:spPr>
        <p:txBody>
          <a:bodyPr vert="horz" wrap="square" lIns="0" tIns="15240" rIns="0" bIns="0" rtlCol="0">
            <a:spAutoFit/>
          </a:bodyPr>
          <a:lstStyle/>
          <a:p>
            <a:pPr marL="12700" marR="0" lvl="0" indent="0" algn="l" defTabSz="914400" rtl="0" eaLnBrk="1" fontAlgn="auto" latinLnBrk="0" hangingPunct="1">
              <a:lnSpc>
                <a:spcPct val="100000"/>
              </a:lnSpc>
              <a:spcBef>
                <a:spcPts val="120"/>
              </a:spcBef>
              <a:spcAft>
                <a:spcPts val="0"/>
              </a:spcAft>
              <a:buClrTx/>
              <a:buSzTx/>
              <a:buFontTx/>
              <a:buNone/>
              <a:tabLst/>
              <a:defRPr/>
            </a:pPr>
            <a:r>
              <a:rPr kumimoji="0" sz="1450" b="0" i="0" u="none" strike="noStrike" kern="0" cap="none" spc="0" normalizeH="0" baseline="0" noProof="0" dirty="0">
                <a:ln>
                  <a:noFill/>
                </a:ln>
                <a:solidFill>
                  <a:sysClr val="windowText" lastClr="000000"/>
                </a:solidFill>
                <a:effectLst/>
                <a:uLnTx/>
                <a:uFillTx/>
                <a:latin typeface="Arial"/>
                <a:ea typeface="+mn-ea"/>
                <a:cs typeface="Arial"/>
              </a:rPr>
              <a:t>Normal</a:t>
            </a:r>
            <a:r>
              <a:rPr kumimoji="0" sz="1450" b="0" i="0" u="none" strike="noStrike" kern="0" cap="none" spc="25" normalizeH="0" baseline="0" noProof="0" dirty="0">
                <a:ln>
                  <a:noFill/>
                </a:ln>
                <a:solidFill>
                  <a:sysClr val="windowText" lastClr="000000"/>
                </a:solidFill>
                <a:effectLst/>
                <a:uLnTx/>
                <a:uFillTx/>
                <a:latin typeface="Arial"/>
                <a:ea typeface="+mn-ea"/>
                <a:cs typeface="Arial"/>
              </a:rPr>
              <a:t> </a:t>
            </a:r>
            <a:r>
              <a:rPr kumimoji="0" sz="1450" b="0" i="0" u="none" strike="noStrike" kern="0" cap="none" spc="-10" normalizeH="0" baseline="0" noProof="0" dirty="0">
                <a:ln>
                  <a:noFill/>
                </a:ln>
                <a:solidFill>
                  <a:sysClr val="windowText" lastClr="000000"/>
                </a:solidFill>
                <a:effectLst/>
                <a:uLnTx/>
                <a:uFillTx/>
                <a:latin typeface="Arial"/>
                <a:ea typeface="+mn-ea"/>
                <a:cs typeface="Arial"/>
              </a:rPr>
              <a:t>(CN=2)</a:t>
            </a:r>
            <a:endParaRPr kumimoji="0" sz="145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4" name="object 4"/>
          <p:cNvSpPr txBox="1"/>
          <p:nvPr/>
        </p:nvSpPr>
        <p:spPr>
          <a:xfrm>
            <a:off x="3488371" y="1942702"/>
            <a:ext cx="1069975" cy="249554"/>
          </a:xfrm>
          <a:prstGeom prst="rect">
            <a:avLst/>
          </a:prstGeom>
        </p:spPr>
        <p:txBody>
          <a:bodyPr vert="horz" wrap="square" lIns="0" tIns="15240" rIns="0" bIns="0" rtlCol="0">
            <a:spAutoFit/>
          </a:bodyPr>
          <a:lstStyle/>
          <a:p>
            <a:pPr marL="12700" marR="0" lvl="0" indent="0" algn="l" defTabSz="914400" rtl="0" eaLnBrk="1" fontAlgn="auto" latinLnBrk="0" hangingPunct="1">
              <a:lnSpc>
                <a:spcPct val="100000"/>
              </a:lnSpc>
              <a:spcBef>
                <a:spcPts val="120"/>
              </a:spcBef>
              <a:spcAft>
                <a:spcPts val="0"/>
              </a:spcAft>
              <a:buClrTx/>
              <a:buSzTx/>
              <a:buFontTx/>
              <a:buNone/>
              <a:tabLst/>
              <a:defRPr/>
            </a:pPr>
            <a:r>
              <a:rPr kumimoji="0" sz="1450" b="0" i="0" u="none" strike="noStrike" kern="0" cap="none" spc="0" normalizeH="0" baseline="0" noProof="0" dirty="0">
                <a:ln>
                  <a:noFill/>
                </a:ln>
                <a:solidFill>
                  <a:sysClr val="windowText" lastClr="000000"/>
                </a:solidFill>
                <a:effectLst/>
                <a:uLnTx/>
                <a:uFillTx/>
                <a:latin typeface="Arial"/>
                <a:ea typeface="+mn-ea"/>
                <a:cs typeface="Arial"/>
              </a:rPr>
              <a:t>Gain</a:t>
            </a:r>
            <a:r>
              <a:rPr kumimoji="0" sz="1450" b="0" i="0" u="none" strike="noStrike" kern="0" cap="none" spc="45" normalizeH="0" baseline="0" noProof="0" dirty="0">
                <a:ln>
                  <a:noFill/>
                </a:ln>
                <a:solidFill>
                  <a:sysClr val="windowText" lastClr="000000"/>
                </a:solidFill>
                <a:effectLst/>
                <a:uLnTx/>
                <a:uFillTx/>
                <a:latin typeface="Arial"/>
                <a:ea typeface="+mn-ea"/>
                <a:cs typeface="Arial"/>
              </a:rPr>
              <a:t> </a:t>
            </a:r>
            <a:r>
              <a:rPr kumimoji="0" sz="1450" b="0" i="0" u="none" strike="noStrike" kern="0" cap="none" spc="-10" normalizeH="0" baseline="0" noProof="0" dirty="0">
                <a:ln>
                  <a:noFill/>
                </a:ln>
                <a:solidFill>
                  <a:sysClr val="windowText" lastClr="000000"/>
                </a:solidFill>
                <a:effectLst/>
                <a:uLnTx/>
                <a:uFillTx/>
                <a:latin typeface="Arial"/>
                <a:ea typeface="+mn-ea"/>
                <a:cs typeface="Arial"/>
              </a:rPr>
              <a:t>(CN=3)</a:t>
            </a:r>
            <a:endParaRPr kumimoji="0" sz="145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5" name="object 5"/>
          <p:cNvSpPr txBox="1"/>
          <p:nvPr/>
        </p:nvSpPr>
        <p:spPr>
          <a:xfrm>
            <a:off x="5285351" y="1942702"/>
            <a:ext cx="2138045" cy="249554"/>
          </a:xfrm>
          <a:prstGeom prst="rect">
            <a:avLst/>
          </a:prstGeom>
        </p:spPr>
        <p:txBody>
          <a:bodyPr vert="horz" wrap="square" lIns="0" tIns="15240" rIns="0" bIns="0" rtlCol="0">
            <a:spAutoFit/>
          </a:bodyPr>
          <a:lstStyle/>
          <a:p>
            <a:pPr marL="12700" marR="0" lvl="0" indent="0" algn="l" defTabSz="914400" rtl="0" eaLnBrk="1" fontAlgn="auto" latinLnBrk="0" hangingPunct="1">
              <a:lnSpc>
                <a:spcPct val="100000"/>
              </a:lnSpc>
              <a:spcBef>
                <a:spcPts val="120"/>
              </a:spcBef>
              <a:spcAft>
                <a:spcPts val="0"/>
              </a:spcAft>
              <a:buClrTx/>
              <a:buSzTx/>
              <a:buFontTx/>
              <a:buNone/>
              <a:tabLst/>
              <a:defRPr/>
            </a:pPr>
            <a:r>
              <a:rPr kumimoji="0" sz="1450" b="0" i="0" u="none" strike="noStrike" kern="0" cap="none" spc="0" normalizeH="0" baseline="0" noProof="0" dirty="0">
                <a:ln>
                  <a:noFill/>
                </a:ln>
                <a:solidFill>
                  <a:sysClr val="windowText" lastClr="000000"/>
                </a:solidFill>
                <a:effectLst/>
                <a:uLnTx/>
                <a:uFillTx/>
                <a:latin typeface="Arial"/>
                <a:ea typeface="+mn-ea"/>
                <a:cs typeface="Arial"/>
              </a:rPr>
              <a:t>Hemizygous</a:t>
            </a:r>
            <a:r>
              <a:rPr kumimoji="0" sz="1450" b="0" i="0" u="none" strike="noStrike" kern="0" cap="none" spc="25" normalizeH="0" baseline="0" noProof="0" dirty="0">
                <a:ln>
                  <a:noFill/>
                </a:ln>
                <a:solidFill>
                  <a:sysClr val="windowText" lastClr="000000"/>
                </a:solidFill>
                <a:effectLst/>
                <a:uLnTx/>
                <a:uFillTx/>
                <a:latin typeface="Arial"/>
                <a:ea typeface="+mn-ea"/>
                <a:cs typeface="Arial"/>
              </a:rPr>
              <a:t> </a:t>
            </a:r>
            <a:r>
              <a:rPr kumimoji="0" sz="1450" b="0" i="0" u="none" strike="noStrike" kern="0" cap="none" spc="0" normalizeH="0" baseline="0" noProof="0" dirty="0">
                <a:ln>
                  <a:noFill/>
                </a:ln>
                <a:solidFill>
                  <a:sysClr val="windowText" lastClr="000000"/>
                </a:solidFill>
                <a:effectLst/>
                <a:uLnTx/>
                <a:uFillTx/>
                <a:latin typeface="Arial"/>
                <a:ea typeface="+mn-ea"/>
                <a:cs typeface="Arial"/>
              </a:rPr>
              <a:t>Loss</a:t>
            </a:r>
            <a:r>
              <a:rPr kumimoji="0" sz="1450" b="0" i="0" u="none" strike="noStrike" kern="0" cap="none" spc="30" normalizeH="0" baseline="0" noProof="0" dirty="0">
                <a:ln>
                  <a:noFill/>
                </a:ln>
                <a:solidFill>
                  <a:sysClr val="windowText" lastClr="000000"/>
                </a:solidFill>
                <a:effectLst/>
                <a:uLnTx/>
                <a:uFillTx/>
                <a:latin typeface="Arial"/>
                <a:ea typeface="+mn-ea"/>
                <a:cs typeface="Arial"/>
              </a:rPr>
              <a:t> </a:t>
            </a:r>
            <a:r>
              <a:rPr kumimoji="0" sz="1450" b="0" i="0" u="none" strike="noStrike" kern="0" cap="none" spc="-10" normalizeH="0" baseline="0" noProof="0" dirty="0">
                <a:ln>
                  <a:noFill/>
                </a:ln>
                <a:solidFill>
                  <a:sysClr val="windowText" lastClr="000000"/>
                </a:solidFill>
                <a:effectLst/>
                <a:uLnTx/>
                <a:uFillTx/>
                <a:latin typeface="Arial"/>
                <a:ea typeface="+mn-ea"/>
                <a:cs typeface="Arial"/>
              </a:rPr>
              <a:t>(CN=1)</a:t>
            </a:r>
            <a:endParaRPr kumimoji="0" sz="145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6" name="object 6"/>
          <p:cNvSpPr txBox="1"/>
          <p:nvPr/>
        </p:nvSpPr>
        <p:spPr>
          <a:xfrm>
            <a:off x="7585891" y="1942702"/>
            <a:ext cx="2200275" cy="249554"/>
          </a:xfrm>
          <a:prstGeom prst="rect">
            <a:avLst/>
          </a:prstGeom>
        </p:spPr>
        <p:txBody>
          <a:bodyPr vert="horz" wrap="square" lIns="0" tIns="15240" rIns="0" bIns="0" rtlCol="0">
            <a:spAutoFit/>
          </a:bodyPr>
          <a:lstStyle/>
          <a:p>
            <a:pPr marL="12700" marR="0" lvl="0" indent="0" algn="l" defTabSz="914400" rtl="0" eaLnBrk="1" fontAlgn="auto" latinLnBrk="0" hangingPunct="1">
              <a:lnSpc>
                <a:spcPct val="100000"/>
              </a:lnSpc>
              <a:spcBef>
                <a:spcPts val="120"/>
              </a:spcBef>
              <a:spcAft>
                <a:spcPts val="0"/>
              </a:spcAft>
              <a:buClrTx/>
              <a:buSzTx/>
              <a:buFontTx/>
              <a:buNone/>
              <a:tabLst/>
              <a:defRPr/>
            </a:pPr>
            <a:r>
              <a:rPr kumimoji="0" sz="1450" b="0" i="0" u="none" strike="noStrike" kern="0" cap="none" spc="0" normalizeH="0" baseline="0" noProof="0" dirty="0">
                <a:ln>
                  <a:noFill/>
                </a:ln>
                <a:solidFill>
                  <a:sysClr val="windowText" lastClr="000000"/>
                </a:solidFill>
                <a:effectLst/>
                <a:uLnTx/>
                <a:uFillTx/>
                <a:latin typeface="Arial"/>
                <a:ea typeface="+mn-ea"/>
                <a:cs typeface="Arial"/>
              </a:rPr>
              <a:t>Homozygous</a:t>
            </a:r>
            <a:r>
              <a:rPr kumimoji="0" sz="1450" b="0" i="0" u="none" strike="noStrike" kern="0" cap="none" spc="25" normalizeH="0" baseline="0" noProof="0" dirty="0">
                <a:ln>
                  <a:noFill/>
                </a:ln>
                <a:solidFill>
                  <a:sysClr val="windowText" lastClr="000000"/>
                </a:solidFill>
                <a:effectLst/>
                <a:uLnTx/>
                <a:uFillTx/>
                <a:latin typeface="Arial"/>
                <a:ea typeface="+mn-ea"/>
                <a:cs typeface="Arial"/>
              </a:rPr>
              <a:t> </a:t>
            </a:r>
            <a:r>
              <a:rPr kumimoji="0" sz="1450" b="0" i="0" u="none" strike="noStrike" kern="0" cap="none" spc="0" normalizeH="0" baseline="0" noProof="0" dirty="0">
                <a:ln>
                  <a:noFill/>
                </a:ln>
                <a:solidFill>
                  <a:sysClr val="windowText" lastClr="000000"/>
                </a:solidFill>
                <a:effectLst/>
                <a:uLnTx/>
                <a:uFillTx/>
                <a:latin typeface="Arial"/>
                <a:ea typeface="+mn-ea"/>
                <a:cs typeface="Arial"/>
              </a:rPr>
              <a:t>Loss</a:t>
            </a:r>
            <a:r>
              <a:rPr kumimoji="0" sz="1450" b="0" i="0" u="none" strike="noStrike" kern="0" cap="none" spc="30" normalizeH="0" baseline="0" noProof="0" dirty="0">
                <a:ln>
                  <a:noFill/>
                </a:ln>
                <a:solidFill>
                  <a:sysClr val="windowText" lastClr="000000"/>
                </a:solidFill>
                <a:effectLst/>
                <a:uLnTx/>
                <a:uFillTx/>
                <a:latin typeface="Arial"/>
                <a:ea typeface="+mn-ea"/>
                <a:cs typeface="Arial"/>
              </a:rPr>
              <a:t> </a:t>
            </a:r>
            <a:r>
              <a:rPr kumimoji="0" sz="1450" b="0" i="0" u="none" strike="noStrike" kern="0" cap="none" spc="-10" normalizeH="0" baseline="0" noProof="0" dirty="0">
                <a:ln>
                  <a:noFill/>
                </a:ln>
                <a:solidFill>
                  <a:sysClr val="windowText" lastClr="000000"/>
                </a:solidFill>
                <a:effectLst/>
                <a:uLnTx/>
                <a:uFillTx/>
                <a:latin typeface="Arial"/>
                <a:ea typeface="+mn-ea"/>
                <a:cs typeface="Arial"/>
              </a:rPr>
              <a:t>(CN=0)</a:t>
            </a:r>
            <a:endParaRPr kumimoji="0" sz="145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7" name="object 7"/>
          <p:cNvSpPr txBox="1"/>
          <p:nvPr/>
        </p:nvSpPr>
        <p:spPr>
          <a:xfrm>
            <a:off x="10002231" y="1809119"/>
            <a:ext cx="2037080" cy="508000"/>
          </a:xfrm>
          <a:prstGeom prst="rect">
            <a:avLst/>
          </a:prstGeom>
        </p:spPr>
        <p:txBody>
          <a:bodyPr vert="horz" wrap="square" lIns="0" tIns="12065" rIns="0" bIns="0" rtlCol="0">
            <a:spAutoFit/>
          </a:bodyPr>
          <a:lstStyle/>
          <a:p>
            <a:pPr marL="725170" marR="5080" lvl="0" indent="-713105" algn="l" defTabSz="914400" rtl="0" eaLnBrk="1" fontAlgn="auto" latinLnBrk="0" hangingPunct="1">
              <a:lnSpc>
                <a:spcPct val="109100"/>
              </a:lnSpc>
              <a:spcBef>
                <a:spcPts val="95"/>
              </a:spcBef>
              <a:spcAft>
                <a:spcPts val="0"/>
              </a:spcAft>
              <a:buClrTx/>
              <a:buSzTx/>
              <a:buFontTx/>
              <a:buNone/>
              <a:tabLst/>
              <a:defRPr/>
            </a:pPr>
            <a:r>
              <a:rPr kumimoji="0" sz="1450" b="0" i="0" u="none" strike="noStrike" kern="0" cap="none" spc="0" normalizeH="0" baseline="0" noProof="0" dirty="0">
                <a:ln>
                  <a:noFill/>
                </a:ln>
                <a:solidFill>
                  <a:sysClr val="windowText" lastClr="000000"/>
                </a:solidFill>
                <a:effectLst/>
                <a:uLnTx/>
                <a:uFillTx/>
                <a:latin typeface="Arial"/>
                <a:ea typeface="+mn-ea"/>
                <a:cs typeface="Arial"/>
              </a:rPr>
              <a:t>Region</a:t>
            </a:r>
            <a:r>
              <a:rPr kumimoji="0" sz="1450" b="0" i="0" u="none" strike="noStrike" kern="0" cap="none" spc="35" normalizeH="0" baseline="0" noProof="0" dirty="0">
                <a:ln>
                  <a:noFill/>
                </a:ln>
                <a:solidFill>
                  <a:sysClr val="windowText" lastClr="000000"/>
                </a:solidFill>
                <a:effectLst/>
                <a:uLnTx/>
                <a:uFillTx/>
                <a:latin typeface="Arial"/>
                <a:ea typeface="+mn-ea"/>
                <a:cs typeface="Arial"/>
              </a:rPr>
              <a:t> </a:t>
            </a:r>
            <a:r>
              <a:rPr kumimoji="0" sz="1450" b="0" i="0" u="none" strike="noStrike" kern="0" cap="none" spc="0" normalizeH="0" baseline="0" noProof="0" dirty="0">
                <a:ln>
                  <a:noFill/>
                </a:ln>
                <a:solidFill>
                  <a:sysClr val="windowText" lastClr="000000"/>
                </a:solidFill>
                <a:effectLst/>
                <a:uLnTx/>
                <a:uFillTx/>
                <a:latin typeface="Arial"/>
                <a:ea typeface="+mn-ea"/>
                <a:cs typeface="Arial"/>
              </a:rPr>
              <a:t>of</a:t>
            </a:r>
            <a:r>
              <a:rPr kumimoji="0" sz="1450" b="0" i="0" u="none" strike="noStrike" kern="0" cap="none" spc="25" normalizeH="0" baseline="0" noProof="0" dirty="0">
                <a:ln>
                  <a:noFill/>
                </a:ln>
                <a:solidFill>
                  <a:sysClr val="windowText" lastClr="000000"/>
                </a:solidFill>
                <a:effectLst/>
                <a:uLnTx/>
                <a:uFillTx/>
                <a:latin typeface="Arial"/>
                <a:ea typeface="+mn-ea"/>
                <a:cs typeface="Arial"/>
              </a:rPr>
              <a:t> </a:t>
            </a:r>
            <a:r>
              <a:rPr kumimoji="0" sz="1450" b="0" i="0" u="none" strike="noStrike" kern="0" cap="none" spc="-10" normalizeH="0" baseline="0" noProof="0" dirty="0">
                <a:ln>
                  <a:noFill/>
                </a:ln>
                <a:solidFill>
                  <a:sysClr val="windowText" lastClr="000000"/>
                </a:solidFill>
                <a:effectLst/>
                <a:uLnTx/>
                <a:uFillTx/>
                <a:latin typeface="Arial"/>
                <a:ea typeface="+mn-ea"/>
                <a:cs typeface="Arial"/>
              </a:rPr>
              <a:t>Homozygosity (CN=2)</a:t>
            </a:r>
            <a:endParaRPr kumimoji="0" sz="145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8" name="object 8"/>
          <p:cNvSpPr txBox="1"/>
          <p:nvPr/>
        </p:nvSpPr>
        <p:spPr>
          <a:xfrm>
            <a:off x="177092" y="2402968"/>
            <a:ext cx="164465" cy="833755"/>
          </a:xfrm>
          <a:prstGeom prst="rect">
            <a:avLst/>
          </a:prstGeom>
        </p:spPr>
        <p:txBody>
          <a:bodyPr vert="vert270" wrap="square" lIns="0" tIns="4445" rIns="0" bIns="0" rtlCol="0">
            <a:spAutoFit/>
          </a:bodyPr>
          <a:lstStyle/>
          <a:p>
            <a:pPr marL="12700" marR="0" lvl="0" indent="0" algn="l" defTabSz="914400" rtl="0" eaLnBrk="1" fontAlgn="auto" latinLnBrk="0" hangingPunct="1">
              <a:lnSpc>
                <a:spcPct val="100000"/>
              </a:lnSpc>
              <a:spcBef>
                <a:spcPts val="35"/>
              </a:spcBef>
              <a:spcAft>
                <a:spcPts val="0"/>
              </a:spcAft>
              <a:buClrTx/>
              <a:buSzTx/>
              <a:buFontTx/>
              <a:buNone/>
              <a:tabLst/>
              <a:defRPr/>
            </a:pPr>
            <a:r>
              <a:rPr kumimoji="0" sz="950" b="1" i="0" u="none" strike="noStrike" kern="0" cap="none" spc="-10" normalizeH="0" baseline="0" noProof="0" dirty="0">
                <a:ln>
                  <a:noFill/>
                </a:ln>
                <a:solidFill>
                  <a:sysClr val="windowText" lastClr="000000"/>
                </a:solidFill>
                <a:effectLst/>
                <a:uLnTx/>
                <a:uFillTx/>
                <a:latin typeface="Arial"/>
                <a:ea typeface="+mn-ea"/>
                <a:cs typeface="Arial"/>
              </a:rPr>
              <a:t>Chromosome</a:t>
            </a:r>
            <a:endParaRPr kumimoji="0" sz="95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9" name="object 9"/>
          <p:cNvSpPr txBox="1"/>
          <p:nvPr/>
        </p:nvSpPr>
        <p:spPr>
          <a:xfrm>
            <a:off x="91944" y="3340263"/>
            <a:ext cx="327025" cy="814069"/>
          </a:xfrm>
          <a:prstGeom prst="rect">
            <a:avLst/>
          </a:prstGeom>
        </p:spPr>
        <p:txBody>
          <a:bodyPr vert="vert270" wrap="square" lIns="0" tIns="4445" rIns="0" bIns="0" rtlCol="0">
            <a:spAutoFit/>
          </a:bodyPr>
          <a:lstStyle/>
          <a:p>
            <a:pPr marL="10160" marR="0" lvl="0" indent="0" algn="ctr" defTabSz="914400" rtl="0" eaLnBrk="1" fontAlgn="auto" latinLnBrk="0" hangingPunct="1">
              <a:lnSpc>
                <a:spcPct val="100000"/>
              </a:lnSpc>
              <a:spcBef>
                <a:spcPts val="35"/>
              </a:spcBef>
              <a:spcAft>
                <a:spcPts val="0"/>
              </a:spcAft>
              <a:buClrTx/>
              <a:buSzTx/>
              <a:buFontTx/>
              <a:buNone/>
              <a:tabLst/>
              <a:defRPr/>
            </a:pPr>
            <a:r>
              <a:rPr kumimoji="0" sz="950" b="1" i="0" u="none" strike="noStrike" kern="0" cap="none" spc="-20" normalizeH="0" baseline="0" noProof="0" dirty="0">
                <a:ln>
                  <a:noFill/>
                </a:ln>
                <a:solidFill>
                  <a:sysClr val="windowText" lastClr="000000"/>
                </a:solidFill>
                <a:effectLst/>
                <a:uLnTx/>
                <a:uFillTx/>
                <a:latin typeface="Arial"/>
                <a:ea typeface="+mn-ea"/>
                <a:cs typeface="Arial"/>
              </a:rPr>
              <a:t>ChAS</a:t>
            </a:r>
            <a:endParaRPr kumimoji="0" sz="950" b="0" i="0" u="none" strike="noStrike" kern="0" cap="none" spc="0" normalizeH="0" baseline="0" noProof="0">
              <a:ln>
                <a:noFill/>
              </a:ln>
              <a:solidFill>
                <a:sysClr val="windowText" lastClr="000000"/>
              </a:solidFill>
              <a:effectLst/>
              <a:uLnTx/>
              <a:uFillTx/>
              <a:latin typeface="Arial"/>
              <a:ea typeface="+mn-ea"/>
              <a:cs typeface="Arial"/>
            </a:endParaRPr>
          </a:p>
          <a:p>
            <a:pPr marL="0" marR="0" lvl="0" indent="0" algn="ctr" defTabSz="914400" rtl="0" eaLnBrk="1" fontAlgn="auto" latinLnBrk="0" hangingPunct="1">
              <a:lnSpc>
                <a:spcPct val="100000"/>
              </a:lnSpc>
              <a:spcBef>
                <a:spcPts val="140"/>
              </a:spcBef>
              <a:spcAft>
                <a:spcPts val="0"/>
              </a:spcAft>
              <a:buClrTx/>
              <a:buSzTx/>
              <a:buFontTx/>
              <a:buNone/>
              <a:tabLst/>
              <a:defRPr/>
            </a:pPr>
            <a:r>
              <a:rPr kumimoji="0" sz="950" b="1" i="0" u="none" strike="noStrike" kern="0" cap="none" spc="0" normalizeH="0" baseline="0" noProof="0" dirty="0">
                <a:ln>
                  <a:noFill/>
                </a:ln>
                <a:solidFill>
                  <a:sysClr val="windowText" lastClr="000000"/>
                </a:solidFill>
                <a:effectLst/>
                <a:uLnTx/>
                <a:uFillTx/>
                <a:latin typeface="Arial"/>
                <a:ea typeface="+mn-ea"/>
                <a:cs typeface="Arial"/>
              </a:rPr>
              <a:t>Segment</a:t>
            </a:r>
            <a:r>
              <a:rPr kumimoji="0" sz="950" b="1" i="0" u="none" strike="noStrike" kern="0" cap="none" spc="105" normalizeH="0" baseline="0" noProof="0" dirty="0">
                <a:ln>
                  <a:noFill/>
                </a:ln>
                <a:solidFill>
                  <a:sysClr val="windowText" lastClr="000000"/>
                </a:solidFill>
                <a:effectLst/>
                <a:uLnTx/>
                <a:uFillTx/>
                <a:latin typeface="Arial"/>
                <a:ea typeface="+mn-ea"/>
                <a:cs typeface="Arial"/>
              </a:rPr>
              <a:t> </a:t>
            </a:r>
            <a:r>
              <a:rPr kumimoji="0" sz="950" b="1" i="0" u="none" strike="noStrike" kern="0" cap="none" spc="-20" normalizeH="0" baseline="0" noProof="0" dirty="0">
                <a:ln>
                  <a:noFill/>
                </a:ln>
                <a:solidFill>
                  <a:sysClr val="windowText" lastClr="000000"/>
                </a:solidFill>
                <a:effectLst/>
                <a:uLnTx/>
                <a:uFillTx/>
                <a:latin typeface="Arial"/>
                <a:ea typeface="+mn-ea"/>
                <a:cs typeface="Arial"/>
              </a:rPr>
              <a:t>Call</a:t>
            </a:r>
            <a:endParaRPr kumimoji="0" sz="95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10" name="object 10"/>
          <p:cNvSpPr txBox="1"/>
          <p:nvPr/>
        </p:nvSpPr>
        <p:spPr>
          <a:xfrm>
            <a:off x="177092" y="4372067"/>
            <a:ext cx="164465" cy="622300"/>
          </a:xfrm>
          <a:prstGeom prst="rect">
            <a:avLst/>
          </a:prstGeom>
        </p:spPr>
        <p:txBody>
          <a:bodyPr vert="vert270" wrap="square" lIns="0" tIns="4445" rIns="0" bIns="0" rtlCol="0">
            <a:spAutoFit/>
          </a:bodyPr>
          <a:lstStyle/>
          <a:p>
            <a:pPr marL="12700" marR="0" lvl="0" indent="0" algn="l" defTabSz="914400" rtl="0" eaLnBrk="1" fontAlgn="auto" latinLnBrk="0" hangingPunct="1">
              <a:lnSpc>
                <a:spcPct val="100000"/>
              </a:lnSpc>
              <a:spcBef>
                <a:spcPts val="35"/>
              </a:spcBef>
              <a:spcAft>
                <a:spcPts val="0"/>
              </a:spcAft>
              <a:buClrTx/>
              <a:buSzTx/>
              <a:buFontTx/>
              <a:buNone/>
              <a:tabLst/>
              <a:defRPr/>
            </a:pPr>
            <a:r>
              <a:rPr kumimoji="0" sz="950" b="1" i="0" u="none" strike="noStrike" kern="0" cap="none" spc="0" normalizeH="0" baseline="0" noProof="0" dirty="0">
                <a:ln>
                  <a:noFill/>
                </a:ln>
                <a:solidFill>
                  <a:sysClr val="windowText" lastClr="000000"/>
                </a:solidFill>
                <a:effectLst/>
                <a:uLnTx/>
                <a:uFillTx/>
                <a:latin typeface="Arial"/>
                <a:ea typeface="+mn-ea"/>
                <a:cs typeface="Arial"/>
              </a:rPr>
              <a:t>Log2</a:t>
            </a:r>
            <a:r>
              <a:rPr kumimoji="0" sz="950" b="1" i="0" u="none" strike="noStrike" kern="0" cap="none" spc="80" normalizeH="0" baseline="0" noProof="0" dirty="0">
                <a:ln>
                  <a:noFill/>
                </a:ln>
                <a:solidFill>
                  <a:sysClr val="windowText" lastClr="000000"/>
                </a:solidFill>
                <a:effectLst/>
                <a:uLnTx/>
                <a:uFillTx/>
                <a:latin typeface="Arial"/>
                <a:ea typeface="+mn-ea"/>
                <a:cs typeface="Arial"/>
              </a:rPr>
              <a:t> </a:t>
            </a:r>
            <a:r>
              <a:rPr kumimoji="0" sz="950" b="1" i="0" u="none" strike="noStrike" kern="0" cap="none" spc="-10" normalizeH="0" baseline="0" noProof="0" dirty="0">
                <a:ln>
                  <a:noFill/>
                </a:ln>
                <a:solidFill>
                  <a:sysClr val="windowText" lastClr="000000"/>
                </a:solidFill>
                <a:effectLst/>
                <a:uLnTx/>
                <a:uFillTx/>
                <a:latin typeface="Arial"/>
                <a:ea typeface="+mn-ea"/>
                <a:cs typeface="Arial"/>
              </a:rPr>
              <a:t>ratio</a:t>
            </a:r>
            <a:endParaRPr kumimoji="0" sz="950" b="0" i="0" u="none" strike="noStrike" kern="0" cap="none" spc="0" normalizeH="0" baseline="0" noProof="0">
              <a:ln>
                <a:noFill/>
              </a:ln>
              <a:solidFill>
                <a:sysClr val="windowText" lastClr="000000"/>
              </a:solidFill>
              <a:effectLst/>
              <a:uLnTx/>
              <a:uFillTx/>
              <a:latin typeface="Arial"/>
              <a:ea typeface="+mn-ea"/>
              <a:cs typeface="Arial"/>
            </a:endParaRPr>
          </a:p>
        </p:txBody>
      </p:sp>
      <p:grpSp>
        <p:nvGrpSpPr>
          <p:cNvPr id="11" name="object 11"/>
          <p:cNvGrpSpPr/>
          <p:nvPr/>
        </p:nvGrpSpPr>
        <p:grpSpPr>
          <a:xfrm>
            <a:off x="0" y="1792174"/>
            <a:ext cx="12192000" cy="3368675"/>
            <a:chOff x="0" y="1792174"/>
            <a:chExt cx="12192000" cy="3368675"/>
          </a:xfrm>
        </p:grpSpPr>
        <p:sp>
          <p:nvSpPr>
            <p:cNvPr id="12" name="object 12"/>
            <p:cNvSpPr/>
            <p:nvPr/>
          </p:nvSpPr>
          <p:spPr>
            <a:xfrm>
              <a:off x="0" y="1792185"/>
              <a:ext cx="9860280" cy="8255"/>
            </a:xfrm>
            <a:custGeom>
              <a:avLst/>
              <a:gdLst/>
              <a:ahLst/>
              <a:cxnLst/>
              <a:rect l="l" t="t" r="r" b="b"/>
              <a:pathLst>
                <a:path w="9860280" h="8255">
                  <a:moveTo>
                    <a:pt x="7734" y="3873"/>
                  </a:moveTo>
                  <a:lnTo>
                    <a:pt x="6604" y="1130"/>
                  </a:lnTo>
                  <a:lnTo>
                    <a:pt x="3860" y="0"/>
                  </a:lnTo>
                  <a:lnTo>
                    <a:pt x="1130" y="1130"/>
                  </a:lnTo>
                  <a:lnTo>
                    <a:pt x="0" y="3873"/>
                  </a:lnTo>
                  <a:lnTo>
                    <a:pt x="1130" y="6616"/>
                  </a:lnTo>
                  <a:lnTo>
                    <a:pt x="3860" y="7759"/>
                  </a:lnTo>
                  <a:lnTo>
                    <a:pt x="6604" y="6616"/>
                  </a:lnTo>
                  <a:lnTo>
                    <a:pt x="7734" y="3873"/>
                  </a:lnTo>
                  <a:close/>
                </a:path>
                <a:path w="9860280" h="8255">
                  <a:moveTo>
                    <a:pt x="534365" y="3873"/>
                  </a:moveTo>
                  <a:lnTo>
                    <a:pt x="533222" y="1130"/>
                  </a:lnTo>
                  <a:lnTo>
                    <a:pt x="530491" y="0"/>
                  </a:lnTo>
                  <a:lnTo>
                    <a:pt x="527748" y="1130"/>
                  </a:lnTo>
                  <a:lnTo>
                    <a:pt x="526618" y="3873"/>
                  </a:lnTo>
                  <a:lnTo>
                    <a:pt x="527748" y="6616"/>
                  </a:lnTo>
                  <a:lnTo>
                    <a:pt x="530491" y="7759"/>
                  </a:lnTo>
                  <a:lnTo>
                    <a:pt x="533222" y="6616"/>
                  </a:lnTo>
                  <a:lnTo>
                    <a:pt x="534365" y="3873"/>
                  </a:lnTo>
                  <a:close/>
                </a:path>
                <a:path w="9860280" h="8255">
                  <a:moveTo>
                    <a:pt x="2865856" y="3873"/>
                  </a:moveTo>
                  <a:lnTo>
                    <a:pt x="2864726" y="1130"/>
                  </a:lnTo>
                  <a:lnTo>
                    <a:pt x="2861995" y="0"/>
                  </a:lnTo>
                  <a:lnTo>
                    <a:pt x="2859252" y="1130"/>
                  </a:lnTo>
                  <a:lnTo>
                    <a:pt x="2858122" y="3873"/>
                  </a:lnTo>
                  <a:lnTo>
                    <a:pt x="2859252" y="6616"/>
                  </a:lnTo>
                  <a:lnTo>
                    <a:pt x="2861995" y="7759"/>
                  </a:lnTo>
                  <a:lnTo>
                    <a:pt x="2864726" y="6616"/>
                  </a:lnTo>
                  <a:lnTo>
                    <a:pt x="2865856" y="3873"/>
                  </a:lnTo>
                  <a:close/>
                </a:path>
                <a:path w="9860280" h="8255">
                  <a:moveTo>
                    <a:pt x="5197360" y="3873"/>
                  </a:moveTo>
                  <a:lnTo>
                    <a:pt x="5196230" y="1130"/>
                  </a:lnTo>
                  <a:lnTo>
                    <a:pt x="5193500" y="0"/>
                  </a:lnTo>
                  <a:lnTo>
                    <a:pt x="5190756" y="1130"/>
                  </a:lnTo>
                  <a:lnTo>
                    <a:pt x="5189626" y="3873"/>
                  </a:lnTo>
                  <a:lnTo>
                    <a:pt x="5190756" y="6616"/>
                  </a:lnTo>
                  <a:lnTo>
                    <a:pt x="5193500" y="7759"/>
                  </a:lnTo>
                  <a:lnTo>
                    <a:pt x="5196230" y="6616"/>
                  </a:lnTo>
                  <a:lnTo>
                    <a:pt x="5197360" y="3873"/>
                  </a:lnTo>
                  <a:close/>
                </a:path>
                <a:path w="9860280" h="8255">
                  <a:moveTo>
                    <a:pt x="7528661" y="3873"/>
                  </a:moveTo>
                  <a:lnTo>
                    <a:pt x="7527531" y="1130"/>
                  </a:lnTo>
                  <a:lnTo>
                    <a:pt x="7524788" y="0"/>
                  </a:lnTo>
                  <a:lnTo>
                    <a:pt x="7522057" y="1130"/>
                  </a:lnTo>
                  <a:lnTo>
                    <a:pt x="7520914" y="3873"/>
                  </a:lnTo>
                  <a:lnTo>
                    <a:pt x="7522057" y="6616"/>
                  </a:lnTo>
                  <a:lnTo>
                    <a:pt x="7524788" y="7759"/>
                  </a:lnTo>
                  <a:lnTo>
                    <a:pt x="7527531" y="6616"/>
                  </a:lnTo>
                  <a:lnTo>
                    <a:pt x="7528661" y="3873"/>
                  </a:lnTo>
                  <a:close/>
                </a:path>
                <a:path w="9860280" h="8255">
                  <a:moveTo>
                    <a:pt x="9860166" y="3873"/>
                  </a:moveTo>
                  <a:lnTo>
                    <a:pt x="9859023" y="1130"/>
                  </a:lnTo>
                  <a:lnTo>
                    <a:pt x="9856292" y="0"/>
                  </a:lnTo>
                  <a:lnTo>
                    <a:pt x="9853562" y="1130"/>
                  </a:lnTo>
                  <a:lnTo>
                    <a:pt x="9852419" y="3873"/>
                  </a:lnTo>
                  <a:lnTo>
                    <a:pt x="9853562" y="6616"/>
                  </a:lnTo>
                  <a:lnTo>
                    <a:pt x="9856292" y="7759"/>
                  </a:lnTo>
                  <a:lnTo>
                    <a:pt x="9859023" y="6616"/>
                  </a:lnTo>
                  <a:lnTo>
                    <a:pt x="9860166" y="3873"/>
                  </a:lnTo>
                  <a:close/>
                </a:path>
              </a:pathLst>
            </a:custGeom>
            <a:solidFill>
              <a:srgbClr val="D3D3D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3" name="object 13"/>
            <p:cNvSpPr/>
            <p:nvPr/>
          </p:nvSpPr>
          <p:spPr>
            <a:xfrm>
              <a:off x="7740" y="1792226"/>
              <a:ext cx="12184380" cy="8255"/>
            </a:xfrm>
            <a:custGeom>
              <a:avLst/>
              <a:gdLst/>
              <a:ahLst/>
              <a:cxnLst/>
              <a:rect l="l" t="t" r="r" b="b"/>
              <a:pathLst>
                <a:path w="12184380" h="8255">
                  <a:moveTo>
                    <a:pt x="0" y="7760"/>
                  </a:moveTo>
                  <a:lnTo>
                    <a:pt x="12183877" y="7760"/>
                  </a:lnTo>
                  <a:lnTo>
                    <a:pt x="12183877" y="0"/>
                  </a:lnTo>
                  <a:lnTo>
                    <a:pt x="0" y="0"/>
                  </a:lnTo>
                  <a:lnTo>
                    <a:pt x="0" y="776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4" name="object 14"/>
            <p:cNvSpPr/>
            <p:nvPr/>
          </p:nvSpPr>
          <p:spPr>
            <a:xfrm>
              <a:off x="12183929" y="1792174"/>
              <a:ext cx="8255" cy="8255"/>
            </a:xfrm>
            <a:custGeom>
              <a:avLst/>
              <a:gdLst/>
              <a:ahLst/>
              <a:cxnLst/>
              <a:rect l="l" t="t" r="r" b="b"/>
              <a:pathLst>
                <a:path w="8254" h="8255">
                  <a:moveTo>
                    <a:pt x="0" y="3880"/>
                  </a:moveTo>
                  <a:lnTo>
                    <a:pt x="1133" y="1136"/>
                  </a:lnTo>
                  <a:lnTo>
                    <a:pt x="3870" y="0"/>
                  </a:lnTo>
                  <a:lnTo>
                    <a:pt x="6607" y="1136"/>
                  </a:lnTo>
                  <a:lnTo>
                    <a:pt x="7740" y="3880"/>
                  </a:lnTo>
                  <a:lnTo>
                    <a:pt x="6607" y="6624"/>
                  </a:lnTo>
                  <a:lnTo>
                    <a:pt x="3870" y="7760"/>
                  </a:lnTo>
                  <a:lnTo>
                    <a:pt x="1133" y="6624"/>
                  </a:lnTo>
                  <a:lnTo>
                    <a:pt x="0" y="3880"/>
                  </a:lnTo>
                  <a:close/>
                </a:path>
              </a:pathLst>
            </a:custGeom>
            <a:solidFill>
              <a:srgbClr val="D3D3D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5" name="object 15"/>
            <p:cNvSpPr/>
            <p:nvPr/>
          </p:nvSpPr>
          <p:spPr>
            <a:xfrm>
              <a:off x="0" y="1792236"/>
              <a:ext cx="12192000" cy="3368040"/>
            </a:xfrm>
            <a:custGeom>
              <a:avLst/>
              <a:gdLst/>
              <a:ahLst/>
              <a:cxnLst/>
              <a:rect l="l" t="t" r="r" b="b"/>
              <a:pathLst>
                <a:path w="12192000" h="3368040">
                  <a:moveTo>
                    <a:pt x="12191619" y="7658"/>
                  </a:moveTo>
                  <a:lnTo>
                    <a:pt x="12176138" y="7658"/>
                  </a:lnTo>
                  <a:lnTo>
                    <a:pt x="12176138" y="552234"/>
                  </a:lnTo>
                  <a:lnTo>
                    <a:pt x="12176138" y="567753"/>
                  </a:lnTo>
                  <a:lnTo>
                    <a:pt x="12176138" y="1485557"/>
                  </a:lnTo>
                  <a:lnTo>
                    <a:pt x="12176125" y="1501076"/>
                  </a:lnTo>
                  <a:lnTo>
                    <a:pt x="12176125" y="2419172"/>
                  </a:lnTo>
                  <a:lnTo>
                    <a:pt x="12176125" y="2434704"/>
                  </a:lnTo>
                  <a:lnTo>
                    <a:pt x="12176125" y="3352495"/>
                  </a:lnTo>
                  <a:lnTo>
                    <a:pt x="9860115" y="3352495"/>
                  </a:lnTo>
                  <a:lnTo>
                    <a:pt x="9860115" y="2434704"/>
                  </a:lnTo>
                  <a:lnTo>
                    <a:pt x="12176125" y="2434704"/>
                  </a:lnTo>
                  <a:lnTo>
                    <a:pt x="12176125" y="2419172"/>
                  </a:lnTo>
                  <a:lnTo>
                    <a:pt x="9860115" y="2419172"/>
                  </a:lnTo>
                  <a:lnTo>
                    <a:pt x="9860115" y="1501114"/>
                  </a:lnTo>
                  <a:lnTo>
                    <a:pt x="9844634" y="1501114"/>
                  </a:lnTo>
                  <a:lnTo>
                    <a:pt x="9844634" y="2419172"/>
                  </a:lnTo>
                  <a:lnTo>
                    <a:pt x="9844634" y="2434704"/>
                  </a:lnTo>
                  <a:lnTo>
                    <a:pt x="9844634" y="3352495"/>
                  </a:lnTo>
                  <a:lnTo>
                    <a:pt x="7528611" y="3352495"/>
                  </a:lnTo>
                  <a:lnTo>
                    <a:pt x="7528611" y="2434704"/>
                  </a:lnTo>
                  <a:lnTo>
                    <a:pt x="9844634" y="2434704"/>
                  </a:lnTo>
                  <a:lnTo>
                    <a:pt x="9844634" y="2419172"/>
                  </a:lnTo>
                  <a:lnTo>
                    <a:pt x="7528611" y="2419172"/>
                  </a:lnTo>
                  <a:lnTo>
                    <a:pt x="7528611" y="1501114"/>
                  </a:lnTo>
                  <a:lnTo>
                    <a:pt x="7513129" y="1501114"/>
                  </a:lnTo>
                  <a:lnTo>
                    <a:pt x="7513129" y="2419172"/>
                  </a:lnTo>
                  <a:lnTo>
                    <a:pt x="7513129" y="2434704"/>
                  </a:lnTo>
                  <a:lnTo>
                    <a:pt x="7513129" y="3352495"/>
                  </a:lnTo>
                  <a:lnTo>
                    <a:pt x="5197411" y="3352495"/>
                  </a:lnTo>
                  <a:lnTo>
                    <a:pt x="5197411" y="2434704"/>
                  </a:lnTo>
                  <a:lnTo>
                    <a:pt x="7513129" y="2434704"/>
                  </a:lnTo>
                  <a:lnTo>
                    <a:pt x="7513129" y="2419172"/>
                  </a:lnTo>
                  <a:lnTo>
                    <a:pt x="5197411" y="2419172"/>
                  </a:lnTo>
                  <a:lnTo>
                    <a:pt x="5197411" y="1501114"/>
                  </a:lnTo>
                  <a:lnTo>
                    <a:pt x="5181930" y="1501114"/>
                  </a:lnTo>
                  <a:lnTo>
                    <a:pt x="5181930" y="2419172"/>
                  </a:lnTo>
                  <a:lnTo>
                    <a:pt x="5181930" y="2434704"/>
                  </a:lnTo>
                  <a:lnTo>
                    <a:pt x="5181930" y="3352495"/>
                  </a:lnTo>
                  <a:lnTo>
                    <a:pt x="2865920" y="3352495"/>
                  </a:lnTo>
                  <a:lnTo>
                    <a:pt x="2865920" y="2434704"/>
                  </a:lnTo>
                  <a:lnTo>
                    <a:pt x="5181930" y="2434704"/>
                  </a:lnTo>
                  <a:lnTo>
                    <a:pt x="5181930" y="2419172"/>
                  </a:lnTo>
                  <a:lnTo>
                    <a:pt x="2865920" y="2419172"/>
                  </a:lnTo>
                  <a:lnTo>
                    <a:pt x="2865920" y="1501114"/>
                  </a:lnTo>
                  <a:lnTo>
                    <a:pt x="2850438" y="1501114"/>
                  </a:lnTo>
                  <a:lnTo>
                    <a:pt x="2850438" y="2419172"/>
                  </a:lnTo>
                  <a:lnTo>
                    <a:pt x="2850438" y="2434704"/>
                  </a:lnTo>
                  <a:lnTo>
                    <a:pt x="2850438" y="3352495"/>
                  </a:lnTo>
                  <a:lnTo>
                    <a:pt x="534365" y="3352495"/>
                  </a:lnTo>
                  <a:lnTo>
                    <a:pt x="534365" y="2434704"/>
                  </a:lnTo>
                  <a:lnTo>
                    <a:pt x="2850438" y="2434704"/>
                  </a:lnTo>
                  <a:lnTo>
                    <a:pt x="2850438" y="2419172"/>
                  </a:lnTo>
                  <a:lnTo>
                    <a:pt x="534365" y="2419172"/>
                  </a:lnTo>
                  <a:lnTo>
                    <a:pt x="534365" y="1501114"/>
                  </a:lnTo>
                  <a:lnTo>
                    <a:pt x="518883" y="1501114"/>
                  </a:lnTo>
                  <a:lnTo>
                    <a:pt x="518883" y="2419172"/>
                  </a:lnTo>
                  <a:lnTo>
                    <a:pt x="518883" y="2434704"/>
                  </a:lnTo>
                  <a:lnTo>
                    <a:pt x="518883" y="3352495"/>
                  </a:lnTo>
                  <a:lnTo>
                    <a:pt x="7734" y="3352495"/>
                  </a:lnTo>
                  <a:lnTo>
                    <a:pt x="7734" y="2434704"/>
                  </a:lnTo>
                  <a:lnTo>
                    <a:pt x="518883" y="2434704"/>
                  </a:lnTo>
                  <a:lnTo>
                    <a:pt x="518883" y="2419172"/>
                  </a:lnTo>
                  <a:lnTo>
                    <a:pt x="7734" y="2419172"/>
                  </a:lnTo>
                  <a:lnTo>
                    <a:pt x="7734" y="1501076"/>
                  </a:lnTo>
                  <a:lnTo>
                    <a:pt x="12176125" y="1501076"/>
                  </a:lnTo>
                  <a:lnTo>
                    <a:pt x="12176125" y="1485557"/>
                  </a:lnTo>
                  <a:lnTo>
                    <a:pt x="9860115" y="1485557"/>
                  </a:lnTo>
                  <a:lnTo>
                    <a:pt x="9860115" y="567753"/>
                  </a:lnTo>
                  <a:lnTo>
                    <a:pt x="12176138" y="567753"/>
                  </a:lnTo>
                  <a:lnTo>
                    <a:pt x="12176138" y="552234"/>
                  </a:lnTo>
                  <a:lnTo>
                    <a:pt x="9860115" y="552234"/>
                  </a:lnTo>
                  <a:lnTo>
                    <a:pt x="9860115" y="7658"/>
                  </a:lnTo>
                  <a:lnTo>
                    <a:pt x="9844634" y="7658"/>
                  </a:lnTo>
                  <a:lnTo>
                    <a:pt x="9844634" y="552234"/>
                  </a:lnTo>
                  <a:lnTo>
                    <a:pt x="9844634" y="567753"/>
                  </a:lnTo>
                  <a:lnTo>
                    <a:pt x="9844634" y="1485557"/>
                  </a:lnTo>
                  <a:lnTo>
                    <a:pt x="7528611" y="1485557"/>
                  </a:lnTo>
                  <a:lnTo>
                    <a:pt x="7528611" y="567753"/>
                  </a:lnTo>
                  <a:lnTo>
                    <a:pt x="9844634" y="567753"/>
                  </a:lnTo>
                  <a:lnTo>
                    <a:pt x="9844634" y="552234"/>
                  </a:lnTo>
                  <a:lnTo>
                    <a:pt x="7528611" y="552234"/>
                  </a:lnTo>
                  <a:lnTo>
                    <a:pt x="7528611" y="7658"/>
                  </a:lnTo>
                  <a:lnTo>
                    <a:pt x="7513129" y="7658"/>
                  </a:lnTo>
                  <a:lnTo>
                    <a:pt x="7513129" y="552234"/>
                  </a:lnTo>
                  <a:lnTo>
                    <a:pt x="7513129" y="567753"/>
                  </a:lnTo>
                  <a:lnTo>
                    <a:pt x="7513129" y="1485557"/>
                  </a:lnTo>
                  <a:lnTo>
                    <a:pt x="5197411" y="1485557"/>
                  </a:lnTo>
                  <a:lnTo>
                    <a:pt x="5197411" y="567753"/>
                  </a:lnTo>
                  <a:lnTo>
                    <a:pt x="7513129" y="567753"/>
                  </a:lnTo>
                  <a:lnTo>
                    <a:pt x="7513129" y="552234"/>
                  </a:lnTo>
                  <a:lnTo>
                    <a:pt x="5197411" y="552234"/>
                  </a:lnTo>
                  <a:lnTo>
                    <a:pt x="5197411" y="7658"/>
                  </a:lnTo>
                  <a:lnTo>
                    <a:pt x="5181930" y="7658"/>
                  </a:lnTo>
                  <a:lnTo>
                    <a:pt x="5181930" y="552234"/>
                  </a:lnTo>
                  <a:lnTo>
                    <a:pt x="5181930" y="567753"/>
                  </a:lnTo>
                  <a:lnTo>
                    <a:pt x="5181930" y="1485557"/>
                  </a:lnTo>
                  <a:lnTo>
                    <a:pt x="2865920" y="1485557"/>
                  </a:lnTo>
                  <a:lnTo>
                    <a:pt x="2865920" y="567753"/>
                  </a:lnTo>
                  <a:lnTo>
                    <a:pt x="5181930" y="567753"/>
                  </a:lnTo>
                  <a:lnTo>
                    <a:pt x="5181930" y="552234"/>
                  </a:lnTo>
                  <a:lnTo>
                    <a:pt x="2865920" y="552234"/>
                  </a:lnTo>
                  <a:lnTo>
                    <a:pt x="2865920" y="7658"/>
                  </a:lnTo>
                  <a:lnTo>
                    <a:pt x="2850438" y="7658"/>
                  </a:lnTo>
                  <a:lnTo>
                    <a:pt x="2850438" y="552234"/>
                  </a:lnTo>
                  <a:lnTo>
                    <a:pt x="2850438" y="567753"/>
                  </a:lnTo>
                  <a:lnTo>
                    <a:pt x="2850438" y="1485557"/>
                  </a:lnTo>
                  <a:lnTo>
                    <a:pt x="534365" y="1485557"/>
                  </a:lnTo>
                  <a:lnTo>
                    <a:pt x="534365" y="567753"/>
                  </a:lnTo>
                  <a:lnTo>
                    <a:pt x="2850438" y="567753"/>
                  </a:lnTo>
                  <a:lnTo>
                    <a:pt x="2850438" y="552234"/>
                  </a:lnTo>
                  <a:lnTo>
                    <a:pt x="534365" y="552234"/>
                  </a:lnTo>
                  <a:lnTo>
                    <a:pt x="534365" y="7658"/>
                  </a:lnTo>
                  <a:lnTo>
                    <a:pt x="518883" y="7658"/>
                  </a:lnTo>
                  <a:lnTo>
                    <a:pt x="518883" y="552234"/>
                  </a:lnTo>
                  <a:lnTo>
                    <a:pt x="518883" y="567753"/>
                  </a:lnTo>
                  <a:lnTo>
                    <a:pt x="518883" y="1485557"/>
                  </a:lnTo>
                  <a:lnTo>
                    <a:pt x="7734" y="1485557"/>
                  </a:lnTo>
                  <a:lnTo>
                    <a:pt x="7734" y="567753"/>
                  </a:lnTo>
                  <a:lnTo>
                    <a:pt x="518883" y="567753"/>
                  </a:lnTo>
                  <a:lnTo>
                    <a:pt x="518883" y="552234"/>
                  </a:lnTo>
                  <a:lnTo>
                    <a:pt x="7734" y="552234"/>
                  </a:lnTo>
                  <a:lnTo>
                    <a:pt x="7734" y="0"/>
                  </a:lnTo>
                  <a:lnTo>
                    <a:pt x="0" y="0"/>
                  </a:lnTo>
                  <a:lnTo>
                    <a:pt x="0" y="1485544"/>
                  </a:lnTo>
                  <a:lnTo>
                    <a:pt x="0" y="3368014"/>
                  </a:lnTo>
                  <a:lnTo>
                    <a:pt x="7734" y="3368014"/>
                  </a:lnTo>
                  <a:lnTo>
                    <a:pt x="12176125" y="3368014"/>
                  </a:lnTo>
                  <a:lnTo>
                    <a:pt x="12191606" y="3368014"/>
                  </a:lnTo>
                  <a:lnTo>
                    <a:pt x="12191619" y="3352495"/>
                  </a:lnTo>
                  <a:lnTo>
                    <a:pt x="12191606" y="2434704"/>
                  </a:lnTo>
                  <a:lnTo>
                    <a:pt x="12191619" y="2419172"/>
                  </a:lnTo>
                  <a:lnTo>
                    <a:pt x="12191606" y="1501076"/>
                  </a:lnTo>
                  <a:lnTo>
                    <a:pt x="12191619" y="1485557"/>
                  </a:lnTo>
                  <a:lnTo>
                    <a:pt x="12191619" y="567753"/>
                  </a:lnTo>
                  <a:lnTo>
                    <a:pt x="12191619" y="552234"/>
                  </a:lnTo>
                  <a:lnTo>
                    <a:pt x="12191619" y="7658"/>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16" name="object 16"/>
            <p:cNvPicPr/>
            <p:nvPr/>
          </p:nvPicPr>
          <p:blipFill>
            <a:blip r:embed="rId2" cstate="print"/>
            <a:stretch>
              <a:fillRect/>
            </a:stretch>
          </p:blipFill>
          <p:spPr>
            <a:xfrm>
              <a:off x="3297542" y="2521709"/>
              <a:ext cx="1749400" cy="620836"/>
            </a:xfrm>
            <a:prstGeom prst="rect">
              <a:avLst/>
            </a:prstGeom>
          </p:spPr>
        </p:pic>
        <p:pic>
          <p:nvPicPr>
            <p:cNvPr id="17" name="object 17"/>
            <p:cNvPicPr/>
            <p:nvPr/>
          </p:nvPicPr>
          <p:blipFill>
            <a:blip r:embed="rId3" cstate="print"/>
            <a:stretch>
              <a:fillRect/>
            </a:stretch>
          </p:blipFill>
          <p:spPr>
            <a:xfrm>
              <a:off x="944366" y="2544990"/>
              <a:ext cx="1563623" cy="613075"/>
            </a:xfrm>
            <a:prstGeom prst="rect">
              <a:avLst/>
            </a:prstGeom>
          </p:spPr>
        </p:pic>
        <p:pic>
          <p:nvPicPr>
            <p:cNvPr id="18" name="object 18"/>
            <p:cNvPicPr/>
            <p:nvPr/>
          </p:nvPicPr>
          <p:blipFill>
            <a:blip r:embed="rId4" cstate="print"/>
            <a:stretch>
              <a:fillRect/>
            </a:stretch>
          </p:blipFill>
          <p:spPr>
            <a:xfrm>
              <a:off x="5666200" y="2909731"/>
              <a:ext cx="1563623" cy="240574"/>
            </a:xfrm>
            <a:prstGeom prst="rect">
              <a:avLst/>
            </a:prstGeom>
          </p:spPr>
        </p:pic>
        <p:pic>
          <p:nvPicPr>
            <p:cNvPr id="19" name="object 19"/>
            <p:cNvPicPr/>
            <p:nvPr/>
          </p:nvPicPr>
          <p:blipFill>
            <a:blip r:embed="rId5" cstate="print"/>
            <a:stretch>
              <a:fillRect/>
            </a:stretch>
          </p:blipFill>
          <p:spPr>
            <a:xfrm>
              <a:off x="5666200" y="2537229"/>
              <a:ext cx="1315920" cy="240574"/>
            </a:xfrm>
            <a:prstGeom prst="rect">
              <a:avLst/>
            </a:prstGeom>
          </p:spPr>
        </p:pic>
        <p:sp>
          <p:nvSpPr>
            <p:cNvPr id="20" name="object 20"/>
            <p:cNvSpPr/>
            <p:nvPr/>
          </p:nvSpPr>
          <p:spPr>
            <a:xfrm>
              <a:off x="6657011" y="2413062"/>
              <a:ext cx="325120" cy="124460"/>
            </a:xfrm>
            <a:custGeom>
              <a:avLst/>
              <a:gdLst/>
              <a:ahLst/>
              <a:cxnLst/>
              <a:rect l="l" t="t" r="r" b="b"/>
              <a:pathLst>
                <a:path w="325120" h="124460">
                  <a:moveTo>
                    <a:pt x="325109" y="0"/>
                  </a:moveTo>
                  <a:lnTo>
                    <a:pt x="0" y="0"/>
                  </a:lnTo>
                  <a:lnTo>
                    <a:pt x="162554" y="124167"/>
                  </a:lnTo>
                  <a:lnTo>
                    <a:pt x="325109" y="0"/>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21" name="object 21"/>
            <p:cNvPicPr/>
            <p:nvPr/>
          </p:nvPicPr>
          <p:blipFill>
            <a:blip r:embed="rId3" cstate="print"/>
            <a:stretch>
              <a:fillRect/>
            </a:stretch>
          </p:blipFill>
          <p:spPr>
            <a:xfrm>
              <a:off x="10256441" y="2544990"/>
              <a:ext cx="1571364" cy="613075"/>
            </a:xfrm>
            <a:prstGeom prst="rect">
              <a:avLst/>
            </a:prstGeom>
          </p:spPr>
        </p:pic>
        <p:sp>
          <p:nvSpPr>
            <p:cNvPr id="22" name="object 22"/>
            <p:cNvSpPr/>
            <p:nvPr/>
          </p:nvSpPr>
          <p:spPr>
            <a:xfrm>
              <a:off x="712145" y="4228993"/>
              <a:ext cx="1881505" cy="900430"/>
            </a:xfrm>
            <a:custGeom>
              <a:avLst/>
              <a:gdLst/>
              <a:ahLst/>
              <a:cxnLst/>
              <a:rect l="l" t="t" r="r" b="b"/>
              <a:pathLst>
                <a:path w="1881505" h="900429">
                  <a:moveTo>
                    <a:pt x="1880992" y="0"/>
                  </a:moveTo>
                  <a:lnTo>
                    <a:pt x="0" y="0"/>
                  </a:lnTo>
                  <a:lnTo>
                    <a:pt x="0" y="900212"/>
                  </a:lnTo>
                  <a:lnTo>
                    <a:pt x="1880992" y="900212"/>
                  </a:lnTo>
                  <a:lnTo>
                    <a:pt x="1880992"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3" name="object 23"/>
            <p:cNvSpPr/>
            <p:nvPr/>
          </p:nvSpPr>
          <p:spPr>
            <a:xfrm>
              <a:off x="925014" y="4341525"/>
              <a:ext cx="1556385" cy="675640"/>
            </a:xfrm>
            <a:custGeom>
              <a:avLst/>
              <a:gdLst/>
              <a:ahLst/>
              <a:cxnLst/>
              <a:rect l="l" t="t" r="r" b="b"/>
              <a:pathLst>
                <a:path w="1556385" h="675639">
                  <a:moveTo>
                    <a:pt x="30962" y="675159"/>
                  </a:moveTo>
                  <a:lnTo>
                    <a:pt x="1555934" y="675159"/>
                  </a:lnTo>
                </a:path>
                <a:path w="1556385" h="675639">
                  <a:moveTo>
                    <a:pt x="30962" y="504429"/>
                  </a:moveTo>
                  <a:lnTo>
                    <a:pt x="1555934" y="504429"/>
                  </a:lnTo>
                </a:path>
                <a:path w="1556385" h="675639">
                  <a:moveTo>
                    <a:pt x="30962" y="170730"/>
                  </a:moveTo>
                  <a:lnTo>
                    <a:pt x="1555934" y="170730"/>
                  </a:lnTo>
                </a:path>
                <a:path w="1556385" h="675639">
                  <a:moveTo>
                    <a:pt x="30962" y="0"/>
                  </a:moveTo>
                  <a:lnTo>
                    <a:pt x="1555934" y="0"/>
                  </a:lnTo>
                </a:path>
                <a:path w="1556385" h="675639">
                  <a:moveTo>
                    <a:pt x="30962" y="675159"/>
                  </a:moveTo>
                  <a:lnTo>
                    <a:pt x="30962" y="0"/>
                  </a:lnTo>
                </a:path>
                <a:path w="1556385" h="675639">
                  <a:moveTo>
                    <a:pt x="0" y="675159"/>
                  </a:moveTo>
                  <a:lnTo>
                    <a:pt x="30962" y="675159"/>
                  </a:lnTo>
                </a:path>
                <a:path w="1556385" h="675639">
                  <a:moveTo>
                    <a:pt x="0" y="504429"/>
                  </a:moveTo>
                  <a:lnTo>
                    <a:pt x="30962" y="504429"/>
                  </a:lnTo>
                </a:path>
                <a:path w="1556385" h="675639">
                  <a:moveTo>
                    <a:pt x="0" y="341460"/>
                  </a:moveTo>
                  <a:lnTo>
                    <a:pt x="30962" y="341460"/>
                  </a:lnTo>
                </a:path>
                <a:path w="1556385" h="675639">
                  <a:moveTo>
                    <a:pt x="0" y="170730"/>
                  </a:moveTo>
                  <a:lnTo>
                    <a:pt x="30962" y="170730"/>
                  </a:lnTo>
                </a:path>
                <a:path w="1556385" h="675639">
                  <a:moveTo>
                    <a:pt x="0" y="0"/>
                  </a:moveTo>
                  <a:lnTo>
                    <a:pt x="30962" y="0"/>
                  </a:lnTo>
                </a:path>
                <a:path w="1556385" h="675639">
                  <a:moveTo>
                    <a:pt x="30962" y="341460"/>
                  </a:moveTo>
                  <a:lnTo>
                    <a:pt x="1555934" y="341460"/>
                  </a:lnTo>
                </a:path>
              </a:pathLst>
            </a:custGeom>
            <a:ln w="7758">
              <a:solidFill>
                <a:srgbClr val="85858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4" name="object 24"/>
            <p:cNvSpPr/>
            <p:nvPr/>
          </p:nvSpPr>
          <p:spPr>
            <a:xfrm>
              <a:off x="959840" y="4660480"/>
              <a:ext cx="1169035" cy="31115"/>
            </a:xfrm>
            <a:custGeom>
              <a:avLst/>
              <a:gdLst/>
              <a:ahLst/>
              <a:cxnLst/>
              <a:rect l="l" t="t" r="r" b="b"/>
              <a:pathLst>
                <a:path w="1169035" h="31114">
                  <a:moveTo>
                    <a:pt x="456704" y="6946"/>
                  </a:moveTo>
                  <a:lnTo>
                    <a:pt x="449783" y="0"/>
                  </a:lnTo>
                  <a:lnTo>
                    <a:pt x="434301" y="0"/>
                  </a:lnTo>
                  <a:lnTo>
                    <a:pt x="432650" y="0"/>
                  </a:lnTo>
                  <a:lnTo>
                    <a:pt x="6934" y="0"/>
                  </a:lnTo>
                  <a:lnTo>
                    <a:pt x="0" y="6946"/>
                  </a:lnTo>
                  <a:lnTo>
                    <a:pt x="0" y="24091"/>
                  </a:lnTo>
                  <a:lnTo>
                    <a:pt x="6934" y="31038"/>
                  </a:lnTo>
                  <a:lnTo>
                    <a:pt x="22415" y="31038"/>
                  </a:lnTo>
                  <a:lnTo>
                    <a:pt x="24028" y="31038"/>
                  </a:lnTo>
                  <a:lnTo>
                    <a:pt x="449783" y="31038"/>
                  </a:lnTo>
                  <a:lnTo>
                    <a:pt x="456704" y="24091"/>
                  </a:lnTo>
                  <a:lnTo>
                    <a:pt x="456704" y="15519"/>
                  </a:lnTo>
                  <a:lnTo>
                    <a:pt x="456704" y="6946"/>
                  </a:lnTo>
                  <a:close/>
                </a:path>
                <a:path w="1169035" h="31114">
                  <a:moveTo>
                    <a:pt x="1168844" y="6946"/>
                  </a:moveTo>
                  <a:lnTo>
                    <a:pt x="1161935" y="0"/>
                  </a:lnTo>
                  <a:lnTo>
                    <a:pt x="1146454" y="0"/>
                  </a:lnTo>
                  <a:lnTo>
                    <a:pt x="1144803" y="0"/>
                  </a:lnTo>
                  <a:lnTo>
                    <a:pt x="525538" y="0"/>
                  </a:lnTo>
                  <a:lnTo>
                    <a:pt x="518629" y="6946"/>
                  </a:lnTo>
                  <a:lnTo>
                    <a:pt x="518629" y="24091"/>
                  </a:lnTo>
                  <a:lnTo>
                    <a:pt x="525538" y="31038"/>
                  </a:lnTo>
                  <a:lnTo>
                    <a:pt x="541020" y="31038"/>
                  </a:lnTo>
                  <a:lnTo>
                    <a:pt x="542671" y="31038"/>
                  </a:lnTo>
                  <a:lnTo>
                    <a:pt x="1161935" y="31038"/>
                  </a:lnTo>
                  <a:lnTo>
                    <a:pt x="1168844" y="24091"/>
                  </a:lnTo>
                  <a:lnTo>
                    <a:pt x="1168844" y="15519"/>
                  </a:lnTo>
                  <a:lnTo>
                    <a:pt x="1168844" y="6946"/>
                  </a:lnTo>
                  <a:close/>
                </a:path>
              </a:pathLst>
            </a:custGeom>
            <a:solidFill>
              <a:srgbClr val="94373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5" name="object 25"/>
            <p:cNvSpPr/>
            <p:nvPr/>
          </p:nvSpPr>
          <p:spPr>
            <a:xfrm>
              <a:off x="2097722" y="4660480"/>
              <a:ext cx="402590" cy="31115"/>
            </a:xfrm>
            <a:custGeom>
              <a:avLst/>
              <a:gdLst/>
              <a:ahLst/>
              <a:cxnLst/>
              <a:rect l="l" t="t" r="r" b="b"/>
              <a:pathLst>
                <a:path w="402589" h="31114">
                  <a:moveTo>
                    <a:pt x="402526" y="6946"/>
                  </a:moveTo>
                  <a:lnTo>
                    <a:pt x="395605" y="0"/>
                  </a:lnTo>
                  <a:lnTo>
                    <a:pt x="380123" y="0"/>
                  </a:lnTo>
                  <a:lnTo>
                    <a:pt x="378472" y="0"/>
                  </a:lnTo>
                  <a:lnTo>
                    <a:pt x="6921" y="0"/>
                  </a:lnTo>
                  <a:lnTo>
                    <a:pt x="0" y="6946"/>
                  </a:lnTo>
                  <a:lnTo>
                    <a:pt x="0" y="24091"/>
                  </a:lnTo>
                  <a:lnTo>
                    <a:pt x="6921" y="31038"/>
                  </a:lnTo>
                  <a:lnTo>
                    <a:pt x="22402" y="31038"/>
                  </a:lnTo>
                  <a:lnTo>
                    <a:pt x="24053" y="31038"/>
                  </a:lnTo>
                  <a:lnTo>
                    <a:pt x="395605" y="31038"/>
                  </a:lnTo>
                  <a:lnTo>
                    <a:pt x="402526" y="24091"/>
                  </a:lnTo>
                  <a:lnTo>
                    <a:pt x="402526" y="15519"/>
                  </a:lnTo>
                  <a:lnTo>
                    <a:pt x="402526" y="6946"/>
                  </a:lnTo>
                  <a:close/>
                </a:path>
              </a:pathLst>
            </a:custGeom>
            <a:solidFill>
              <a:srgbClr val="94373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26" name="object 26"/>
          <p:cNvSpPr txBox="1"/>
          <p:nvPr/>
        </p:nvSpPr>
        <p:spPr>
          <a:xfrm>
            <a:off x="767047" y="4216847"/>
            <a:ext cx="108585" cy="873125"/>
          </a:xfrm>
          <a:prstGeom prst="rect">
            <a:avLst/>
          </a:prstGeom>
        </p:spPr>
        <p:txBody>
          <a:bodyPr vert="horz" wrap="square" lIns="0" tIns="60325" rIns="0" bIns="0" rtlCol="0">
            <a:spAutoFit/>
          </a:bodyPr>
          <a:lstStyle/>
          <a:p>
            <a:pPr marL="43815" marR="0" lvl="0" indent="0" algn="l" defTabSz="914400" rtl="0" eaLnBrk="1" fontAlgn="auto" latinLnBrk="0" hangingPunct="1">
              <a:lnSpc>
                <a:spcPct val="100000"/>
              </a:lnSpc>
              <a:spcBef>
                <a:spcPts val="475"/>
              </a:spcBef>
              <a:spcAft>
                <a:spcPts val="0"/>
              </a:spcAft>
              <a:buClrTx/>
              <a:buSzTx/>
              <a:buFontTx/>
              <a:buNone/>
              <a:tabLst/>
              <a:defRPr/>
            </a:pPr>
            <a:r>
              <a:rPr kumimoji="0" sz="800" b="0" i="0" u="none" strike="noStrike" kern="0" cap="none" spc="-5" normalizeH="0" baseline="0" noProof="0" dirty="0">
                <a:ln>
                  <a:noFill/>
                </a:ln>
                <a:solidFill>
                  <a:sysClr val="windowText" lastClr="000000"/>
                </a:solidFill>
                <a:effectLst/>
                <a:uLnTx/>
                <a:uFillTx/>
                <a:latin typeface="Calibri"/>
                <a:ea typeface="+mn-ea"/>
                <a:cs typeface="Calibri"/>
              </a:rPr>
              <a:t>2</a:t>
            </a:r>
            <a:endParaRPr kumimoji="0" sz="800" b="0" i="0" u="none" strike="noStrike" kern="0" cap="none" spc="0" normalizeH="0" baseline="0" noProof="0">
              <a:ln>
                <a:noFill/>
              </a:ln>
              <a:solidFill>
                <a:sysClr val="windowText" lastClr="000000"/>
              </a:solidFill>
              <a:effectLst/>
              <a:uLnTx/>
              <a:uFillTx/>
              <a:latin typeface="Calibri"/>
              <a:ea typeface="+mn-ea"/>
              <a:cs typeface="Calibri"/>
            </a:endParaRPr>
          </a:p>
          <a:p>
            <a:pPr marL="43815" marR="0" lvl="0" indent="0" algn="l" defTabSz="914400" rtl="0" eaLnBrk="1" fontAlgn="auto" latinLnBrk="0" hangingPunct="1">
              <a:lnSpc>
                <a:spcPct val="100000"/>
              </a:lnSpc>
              <a:spcBef>
                <a:spcPts val="375"/>
              </a:spcBef>
              <a:spcAft>
                <a:spcPts val="0"/>
              </a:spcAft>
              <a:buClrTx/>
              <a:buSzTx/>
              <a:buFontTx/>
              <a:buNone/>
              <a:tabLst/>
              <a:defRPr/>
            </a:pPr>
            <a:r>
              <a:rPr kumimoji="0" sz="800" b="0" i="0" u="none" strike="noStrike" kern="0" cap="none" spc="-5" normalizeH="0" baseline="0" noProof="0" dirty="0">
                <a:ln>
                  <a:noFill/>
                </a:ln>
                <a:solidFill>
                  <a:sysClr val="windowText" lastClr="000000"/>
                </a:solidFill>
                <a:effectLst/>
                <a:uLnTx/>
                <a:uFillTx/>
                <a:latin typeface="Calibri"/>
                <a:ea typeface="+mn-ea"/>
                <a:cs typeface="Calibri"/>
              </a:rPr>
              <a:t>1</a:t>
            </a:r>
            <a:endParaRPr kumimoji="0" sz="800" b="0" i="0" u="none" strike="noStrike" kern="0" cap="none" spc="0" normalizeH="0" baseline="0" noProof="0">
              <a:ln>
                <a:noFill/>
              </a:ln>
              <a:solidFill>
                <a:sysClr val="windowText" lastClr="000000"/>
              </a:solidFill>
              <a:effectLst/>
              <a:uLnTx/>
              <a:uFillTx/>
              <a:latin typeface="Calibri"/>
              <a:ea typeface="+mn-ea"/>
              <a:cs typeface="Calibri"/>
            </a:endParaRPr>
          </a:p>
          <a:p>
            <a:pPr marL="43815" marR="0" lvl="0" indent="0" algn="l" defTabSz="914400" rtl="0" eaLnBrk="1" fontAlgn="auto" latinLnBrk="0" hangingPunct="1">
              <a:lnSpc>
                <a:spcPct val="100000"/>
              </a:lnSpc>
              <a:spcBef>
                <a:spcPts val="375"/>
              </a:spcBef>
              <a:spcAft>
                <a:spcPts val="0"/>
              </a:spcAft>
              <a:buClrTx/>
              <a:buSzTx/>
              <a:buFontTx/>
              <a:buNone/>
              <a:tabLst/>
              <a:defRPr/>
            </a:pPr>
            <a:r>
              <a:rPr kumimoji="0" sz="800" b="0" i="0" u="none" strike="noStrike" kern="0" cap="none" spc="-5" normalizeH="0" baseline="0" noProof="0" dirty="0">
                <a:ln>
                  <a:noFill/>
                </a:ln>
                <a:solidFill>
                  <a:sysClr val="windowText" lastClr="000000"/>
                </a:solidFill>
                <a:effectLst/>
                <a:uLnTx/>
                <a:uFillTx/>
                <a:latin typeface="Calibri"/>
                <a:ea typeface="+mn-ea"/>
                <a:cs typeface="Calibri"/>
              </a:rPr>
              <a:t>0</a:t>
            </a:r>
            <a:endParaRPr kumimoji="0" sz="800" b="0" i="0" u="none" strike="noStrike" kern="0" cap="none" spc="0" normalizeH="0" baseline="0" noProof="0">
              <a:ln>
                <a:noFill/>
              </a:ln>
              <a:solidFill>
                <a:sysClr val="windowText" lastClr="000000"/>
              </a:solidFill>
              <a:effectLst/>
              <a:uLnTx/>
              <a:uFillTx/>
              <a:latin typeface="Calibri"/>
              <a:ea typeface="+mn-ea"/>
              <a:cs typeface="Calibri"/>
            </a:endParaRPr>
          </a:p>
          <a:p>
            <a:pPr marL="12700" marR="0" lvl="0" indent="0" algn="l" defTabSz="914400" rtl="0" eaLnBrk="1" fontAlgn="auto" latinLnBrk="0" hangingPunct="1">
              <a:lnSpc>
                <a:spcPct val="100000"/>
              </a:lnSpc>
              <a:spcBef>
                <a:spcPts val="375"/>
              </a:spcBef>
              <a:spcAft>
                <a:spcPts val="0"/>
              </a:spcAft>
              <a:buClrTx/>
              <a:buSzTx/>
              <a:buFontTx/>
              <a:buNone/>
              <a:tabLst/>
              <a:defRPr/>
            </a:pPr>
            <a:r>
              <a:rPr kumimoji="0" sz="800" b="0" i="0" u="none" strike="noStrike" kern="0" cap="none" spc="-10" normalizeH="0" baseline="0" noProof="0" dirty="0">
                <a:ln>
                  <a:noFill/>
                </a:ln>
                <a:solidFill>
                  <a:sysClr val="windowText" lastClr="000000"/>
                </a:solidFill>
                <a:effectLst/>
                <a:uLnTx/>
                <a:uFillTx/>
                <a:latin typeface="Calibri"/>
                <a:ea typeface="+mn-ea"/>
                <a:cs typeface="Calibri"/>
              </a:rPr>
              <a:t>-</a:t>
            </a:r>
            <a:r>
              <a:rPr kumimoji="0" sz="800" b="0" i="0" u="none" strike="noStrike" kern="0" cap="none" spc="-50" normalizeH="0" baseline="0" noProof="0" dirty="0">
                <a:ln>
                  <a:noFill/>
                </a:ln>
                <a:solidFill>
                  <a:sysClr val="windowText" lastClr="000000"/>
                </a:solidFill>
                <a:effectLst/>
                <a:uLnTx/>
                <a:uFillTx/>
                <a:latin typeface="Calibri"/>
                <a:ea typeface="+mn-ea"/>
                <a:cs typeface="Calibri"/>
              </a:rPr>
              <a:t>1</a:t>
            </a:r>
            <a:endParaRPr kumimoji="0" sz="800" b="0" i="0" u="none" strike="noStrike" kern="0" cap="none" spc="0" normalizeH="0" baseline="0" noProof="0">
              <a:ln>
                <a:noFill/>
              </a:ln>
              <a:solidFill>
                <a:sysClr val="windowText" lastClr="000000"/>
              </a:solidFill>
              <a:effectLst/>
              <a:uLnTx/>
              <a:uFillTx/>
              <a:latin typeface="Calibri"/>
              <a:ea typeface="+mn-ea"/>
              <a:cs typeface="Calibri"/>
            </a:endParaRPr>
          </a:p>
          <a:p>
            <a:pPr marL="12700" marR="0" lvl="0" indent="0" algn="l" defTabSz="914400" rtl="0" eaLnBrk="1" fontAlgn="auto" latinLnBrk="0" hangingPunct="1">
              <a:lnSpc>
                <a:spcPct val="100000"/>
              </a:lnSpc>
              <a:spcBef>
                <a:spcPts val="375"/>
              </a:spcBef>
              <a:spcAft>
                <a:spcPts val="0"/>
              </a:spcAft>
              <a:buClrTx/>
              <a:buSzTx/>
              <a:buFontTx/>
              <a:buNone/>
              <a:tabLst/>
              <a:defRPr/>
            </a:pPr>
            <a:r>
              <a:rPr kumimoji="0" sz="800" b="0" i="0" u="none" strike="noStrike" kern="0" cap="none" spc="-10" normalizeH="0" baseline="0" noProof="0" dirty="0">
                <a:ln>
                  <a:noFill/>
                </a:ln>
                <a:solidFill>
                  <a:sysClr val="windowText" lastClr="000000"/>
                </a:solidFill>
                <a:effectLst/>
                <a:uLnTx/>
                <a:uFillTx/>
                <a:latin typeface="Calibri"/>
                <a:ea typeface="+mn-ea"/>
                <a:cs typeface="Calibri"/>
              </a:rPr>
              <a:t>-</a:t>
            </a:r>
            <a:r>
              <a:rPr kumimoji="0" sz="800" b="0" i="0" u="none" strike="noStrike" kern="0" cap="none" spc="-50" normalizeH="0" baseline="0" noProof="0" dirty="0">
                <a:ln>
                  <a:noFill/>
                </a:ln>
                <a:solidFill>
                  <a:sysClr val="windowText" lastClr="000000"/>
                </a:solidFill>
                <a:effectLst/>
                <a:uLnTx/>
                <a:uFillTx/>
                <a:latin typeface="Calibri"/>
                <a:ea typeface="+mn-ea"/>
                <a:cs typeface="Calibri"/>
              </a:rPr>
              <a:t>2</a:t>
            </a:r>
            <a:endParaRPr kumimoji="0" sz="800" b="0" i="0" u="none" strike="noStrike" kern="0" cap="none" spc="0" normalizeH="0" baseline="0" noProof="0">
              <a:ln>
                <a:noFill/>
              </a:ln>
              <a:solidFill>
                <a:sysClr val="windowText" lastClr="000000"/>
              </a:solidFill>
              <a:effectLst/>
              <a:uLnTx/>
              <a:uFillTx/>
              <a:latin typeface="Calibri"/>
              <a:ea typeface="+mn-ea"/>
              <a:cs typeface="Calibri"/>
            </a:endParaRPr>
          </a:p>
        </p:txBody>
      </p:sp>
      <p:grpSp>
        <p:nvGrpSpPr>
          <p:cNvPr id="27" name="object 27"/>
          <p:cNvGrpSpPr/>
          <p:nvPr/>
        </p:nvGrpSpPr>
        <p:grpSpPr>
          <a:xfrm>
            <a:off x="3073062" y="4228993"/>
            <a:ext cx="1881505" cy="900430"/>
            <a:chOff x="3073062" y="4228993"/>
            <a:chExt cx="1881505" cy="900430"/>
          </a:xfrm>
        </p:grpSpPr>
        <p:sp>
          <p:nvSpPr>
            <p:cNvPr id="28" name="object 28"/>
            <p:cNvSpPr/>
            <p:nvPr/>
          </p:nvSpPr>
          <p:spPr>
            <a:xfrm>
              <a:off x="3073062" y="4228993"/>
              <a:ext cx="1881505" cy="900430"/>
            </a:xfrm>
            <a:custGeom>
              <a:avLst/>
              <a:gdLst/>
              <a:ahLst/>
              <a:cxnLst/>
              <a:rect l="l" t="t" r="r" b="b"/>
              <a:pathLst>
                <a:path w="1881504" h="900429">
                  <a:moveTo>
                    <a:pt x="1880992" y="0"/>
                  </a:moveTo>
                  <a:lnTo>
                    <a:pt x="0" y="0"/>
                  </a:lnTo>
                  <a:lnTo>
                    <a:pt x="0" y="900212"/>
                  </a:lnTo>
                  <a:lnTo>
                    <a:pt x="1880992" y="900212"/>
                  </a:lnTo>
                  <a:lnTo>
                    <a:pt x="1880992"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9" name="object 29"/>
            <p:cNvSpPr/>
            <p:nvPr/>
          </p:nvSpPr>
          <p:spPr>
            <a:xfrm>
              <a:off x="3285983" y="4341525"/>
              <a:ext cx="1556385" cy="675640"/>
            </a:xfrm>
            <a:custGeom>
              <a:avLst/>
              <a:gdLst/>
              <a:ahLst/>
              <a:cxnLst/>
              <a:rect l="l" t="t" r="r" b="b"/>
              <a:pathLst>
                <a:path w="1556385" h="675639">
                  <a:moveTo>
                    <a:pt x="30962" y="675159"/>
                  </a:moveTo>
                  <a:lnTo>
                    <a:pt x="1555882" y="675159"/>
                  </a:lnTo>
                </a:path>
                <a:path w="1556385" h="675639">
                  <a:moveTo>
                    <a:pt x="30962" y="504429"/>
                  </a:moveTo>
                  <a:lnTo>
                    <a:pt x="1555882" y="504429"/>
                  </a:lnTo>
                </a:path>
                <a:path w="1556385" h="675639">
                  <a:moveTo>
                    <a:pt x="30962" y="170730"/>
                  </a:moveTo>
                  <a:lnTo>
                    <a:pt x="1555882" y="170730"/>
                  </a:lnTo>
                </a:path>
                <a:path w="1556385" h="675639">
                  <a:moveTo>
                    <a:pt x="30962" y="0"/>
                  </a:moveTo>
                  <a:lnTo>
                    <a:pt x="1555882" y="0"/>
                  </a:lnTo>
                </a:path>
                <a:path w="1556385" h="675639">
                  <a:moveTo>
                    <a:pt x="30962" y="675159"/>
                  </a:moveTo>
                  <a:lnTo>
                    <a:pt x="30962" y="0"/>
                  </a:lnTo>
                </a:path>
                <a:path w="1556385" h="675639">
                  <a:moveTo>
                    <a:pt x="0" y="675159"/>
                  </a:moveTo>
                  <a:lnTo>
                    <a:pt x="30962" y="675159"/>
                  </a:lnTo>
                </a:path>
                <a:path w="1556385" h="675639">
                  <a:moveTo>
                    <a:pt x="0" y="504429"/>
                  </a:moveTo>
                  <a:lnTo>
                    <a:pt x="30962" y="504429"/>
                  </a:lnTo>
                </a:path>
                <a:path w="1556385" h="675639">
                  <a:moveTo>
                    <a:pt x="0" y="341460"/>
                  </a:moveTo>
                  <a:lnTo>
                    <a:pt x="30962" y="341460"/>
                  </a:lnTo>
                </a:path>
                <a:path w="1556385" h="675639">
                  <a:moveTo>
                    <a:pt x="0" y="170730"/>
                  </a:moveTo>
                  <a:lnTo>
                    <a:pt x="30962" y="170730"/>
                  </a:lnTo>
                </a:path>
                <a:path w="1556385" h="675639">
                  <a:moveTo>
                    <a:pt x="0" y="0"/>
                  </a:moveTo>
                  <a:lnTo>
                    <a:pt x="30962" y="0"/>
                  </a:lnTo>
                </a:path>
                <a:path w="1556385" h="675639">
                  <a:moveTo>
                    <a:pt x="30962" y="341460"/>
                  </a:moveTo>
                  <a:lnTo>
                    <a:pt x="1555882" y="341460"/>
                  </a:lnTo>
                </a:path>
              </a:pathLst>
            </a:custGeom>
            <a:ln w="7758">
              <a:solidFill>
                <a:srgbClr val="85858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0" name="object 30"/>
            <p:cNvSpPr/>
            <p:nvPr/>
          </p:nvSpPr>
          <p:spPr>
            <a:xfrm>
              <a:off x="3320757" y="4489741"/>
              <a:ext cx="1169035" cy="201930"/>
            </a:xfrm>
            <a:custGeom>
              <a:avLst/>
              <a:gdLst/>
              <a:ahLst/>
              <a:cxnLst/>
              <a:rect l="l" t="t" r="r" b="b"/>
              <a:pathLst>
                <a:path w="1169035" h="201929">
                  <a:moveTo>
                    <a:pt x="456704" y="177685"/>
                  </a:moveTo>
                  <a:lnTo>
                    <a:pt x="449783" y="170738"/>
                  </a:lnTo>
                  <a:lnTo>
                    <a:pt x="434301" y="170738"/>
                  </a:lnTo>
                  <a:lnTo>
                    <a:pt x="432650" y="170738"/>
                  </a:lnTo>
                  <a:lnTo>
                    <a:pt x="6921" y="170738"/>
                  </a:lnTo>
                  <a:lnTo>
                    <a:pt x="0" y="177685"/>
                  </a:lnTo>
                  <a:lnTo>
                    <a:pt x="0" y="194830"/>
                  </a:lnTo>
                  <a:lnTo>
                    <a:pt x="6921" y="201777"/>
                  </a:lnTo>
                  <a:lnTo>
                    <a:pt x="22402" y="201777"/>
                  </a:lnTo>
                  <a:lnTo>
                    <a:pt x="24053" y="201777"/>
                  </a:lnTo>
                  <a:lnTo>
                    <a:pt x="449783" y="201777"/>
                  </a:lnTo>
                  <a:lnTo>
                    <a:pt x="456704" y="194830"/>
                  </a:lnTo>
                  <a:lnTo>
                    <a:pt x="456704" y="186258"/>
                  </a:lnTo>
                  <a:lnTo>
                    <a:pt x="456704" y="177685"/>
                  </a:lnTo>
                  <a:close/>
                </a:path>
                <a:path w="1169035" h="201929">
                  <a:moveTo>
                    <a:pt x="1083703" y="177685"/>
                  </a:moveTo>
                  <a:lnTo>
                    <a:pt x="1076782" y="170738"/>
                  </a:lnTo>
                  <a:lnTo>
                    <a:pt x="1061300" y="170738"/>
                  </a:lnTo>
                  <a:lnTo>
                    <a:pt x="1059649" y="170738"/>
                  </a:lnTo>
                  <a:lnTo>
                    <a:pt x="525538" y="170738"/>
                  </a:lnTo>
                  <a:lnTo>
                    <a:pt x="518629" y="177685"/>
                  </a:lnTo>
                  <a:lnTo>
                    <a:pt x="518629" y="194830"/>
                  </a:lnTo>
                  <a:lnTo>
                    <a:pt x="525538" y="201777"/>
                  </a:lnTo>
                  <a:lnTo>
                    <a:pt x="541020" y="201777"/>
                  </a:lnTo>
                  <a:lnTo>
                    <a:pt x="542671" y="201777"/>
                  </a:lnTo>
                  <a:lnTo>
                    <a:pt x="1076782" y="201777"/>
                  </a:lnTo>
                  <a:lnTo>
                    <a:pt x="1083703" y="194830"/>
                  </a:lnTo>
                  <a:lnTo>
                    <a:pt x="1083703" y="186258"/>
                  </a:lnTo>
                  <a:lnTo>
                    <a:pt x="1083703" y="177685"/>
                  </a:lnTo>
                  <a:close/>
                </a:path>
                <a:path w="1169035" h="201929">
                  <a:moveTo>
                    <a:pt x="1168844" y="6959"/>
                  </a:moveTo>
                  <a:lnTo>
                    <a:pt x="1161935" y="0"/>
                  </a:lnTo>
                  <a:lnTo>
                    <a:pt x="1146454" y="0"/>
                  </a:lnTo>
                  <a:lnTo>
                    <a:pt x="1144803" y="0"/>
                  </a:lnTo>
                  <a:lnTo>
                    <a:pt x="1075131" y="0"/>
                  </a:lnTo>
                  <a:lnTo>
                    <a:pt x="1068222" y="6959"/>
                  </a:lnTo>
                  <a:lnTo>
                    <a:pt x="1068222" y="24104"/>
                  </a:lnTo>
                  <a:lnTo>
                    <a:pt x="1075131" y="31051"/>
                  </a:lnTo>
                  <a:lnTo>
                    <a:pt x="1082878" y="31051"/>
                  </a:lnTo>
                  <a:lnTo>
                    <a:pt x="1092263" y="31051"/>
                  </a:lnTo>
                  <a:lnTo>
                    <a:pt x="1161935" y="31051"/>
                  </a:lnTo>
                  <a:lnTo>
                    <a:pt x="1168844" y="24104"/>
                  </a:lnTo>
                  <a:lnTo>
                    <a:pt x="1168844" y="15519"/>
                  </a:lnTo>
                  <a:lnTo>
                    <a:pt x="1168844" y="6959"/>
                  </a:lnTo>
                  <a:close/>
                </a:path>
              </a:pathLst>
            </a:custGeom>
            <a:solidFill>
              <a:srgbClr val="94373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1" name="object 31"/>
            <p:cNvSpPr/>
            <p:nvPr/>
          </p:nvSpPr>
          <p:spPr>
            <a:xfrm>
              <a:off x="4458639" y="4489741"/>
              <a:ext cx="402590" cy="201930"/>
            </a:xfrm>
            <a:custGeom>
              <a:avLst/>
              <a:gdLst/>
              <a:ahLst/>
              <a:cxnLst/>
              <a:rect l="l" t="t" r="r" b="b"/>
              <a:pathLst>
                <a:path w="402589" h="201929">
                  <a:moveTo>
                    <a:pt x="247700" y="6959"/>
                  </a:moveTo>
                  <a:lnTo>
                    <a:pt x="240792" y="0"/>
                  </a:lnTo>
                  <a:lnTo>
                    <a:pt x="225310" y="0"/>
                  </a:lnTo>
                  <a:lnTo>
                    <a:pt x="223659" y="0"/>
                  </a:lnTo>
                  <a:lnTo>
                    <a:pt x="6921" y="0"/>
                  </a:lnTo>
                  <a:lnTo>
                    <a:pt x="0" y="6959"/>
                  </a:lnTo>
                  <a:lnTo>
                    <a:pt x="0" y="24104"/>
                  </a:lnTo>
                  <a:lnTo>
                    <a:pt x="6921" y="31051"/>
                  </a:lnTo>
                  <a:lnTo>
                    <a:pt x="22402" y="31051"/>
                  </a:lnTo>
                  <a:lnTo>
                    <a:pt x="24053" y="31051"/>
                  </a:lnTo>
                  <a:lnTo>
                    <a:pt x="240792" y="31051"/>
                  </a:lnTo>
                  <a:lnTo>
                    <a:pt x="247700" y="24104"/>
                  </a:lnTo>
                  <a:lnTo>
                    <a:pt x="247700" y="15519"/>
                  </a:lnTo>
                  <a:lnTo>
                    <a:pt x="247700" y="6959"/>
                  </a:lnTo>
                  <a:close/>
                </a:path>
                <a:path w="402589" h="201929">
                  <a:moveTo>
                    <a:pt x="402513" y="177685"/>
                  </a:moveTo>
                  <a:lnTo>
                    <a:pt x="395605" y="170738"/>
                  </a:lnTo>
                  <a:lnTo>
                    <a:pt x="380123" y="170738"/>
                  </a:lnTo>
                  <a:lnTo>
                    <a:pt x="378472" y="170738"/>
                  </a:lnTo>
                  <a:lnTo>
                    <a:pt x="239141" y="170738"/>
                  </a:lnTo>
                  <a:lnTo>
                    <a:pt x="232219" y="177685"/>
                  </a:lnTo>
                  <a:lnTo>
                    <a:pt x="232219" y="194830"/>
                  </a:lnTo>
                  <a:lnTo>
                    <a:pt x="239141" y="201777"/>
                  </a:lnTo>
                  <a:lnTo>
                    <a:pt x="254622" y="201777"/>
                  </a:lnTo>
                  <a:lnTo>
                    <a:pt x="256273" y="201777"/>
                  </a:lnTo>
                  <a:lnTo>
                    <a:pt x="395605" y="201777"/>
                  </a:lnTo>
                  <a:lnTo>
                    <a:pt x="402513" y="194830"/>
                  </a:lnTo>
                  <a:lnTo>
                    <a:pt x="402513" y="186258"/>
                  </a:lnTo>
                  <a:lnTo>
                    <a:pt x="402513" y="177685"/>
                  </a:lnTo>
                  <a:close/>
                </a:path>
              </a:pathLst>
            </a:custGeom>
            <a:solidFill>
              <a:srgbClr val="94373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32" name="object 32"/>
          <p:cNvSpPr txBox="1"/>
          <p:nvPr/>
        </p:nvSpPr>
        <p:spPr>
          <a:xfrm>
            <a:off x="3129512" y="4216847"/>
            <a:ext cx="108585" cy="873125"/>
          </a:xfrm>
          <a:prstGeom prst="rect">
            <a:avLst/>
          </a:prstGeom>
        </p:spPr>
        <p:txBody>
          <a:bodyPr vert="horz" wrap="square" lIns="0" tIns="60325" rIns="0" bIns="0" rtlCol="0">
            <a:spAutoFit/>
          </a:bodyPr>
          <a:lstStyle/>
          <a:p>
            <a:pPr marL="43815" marR="0" lvl="0" indent="0" algn="l" defTabSz="914400" rtl="0" eaLnBrk="1" fontAlgn="auto" latinLnBrk="0" hangingPunct="1">
              <a:lnSpc>
                <a:spcPct val="100000"/>
              </a:lnSpc>
              <a:spcBef>
                <a:spcPts val="475"/>
              </a:spcBef>
              <a:spcAft>
                <a:spcPts val="0"/>
              </a:spcAft>
              <a:buClrTx/>
              <a:buSzTx/>
              <a:buFontTx/>
              <a:buNone/>
              <a:tabLst/>
              <a:defRPr/>
            </a:pPr>
            <a:r>
              <a:rPr kumimoji="0" sz="800" b="0" i="0" u="none" strike="noStrike" kern="0" cap="none" spc="-5" normalizeH="0" baseline="0" noProof="0" dirty="0">
                <a:ln>
                  <a:noFill/>
                </a:ln>
                <a:solidFill>
                  <a:sysClr val="windowText" lastClr="000000"/>
                </a:solidFill>
                <a:effectLst/>
                <a:uLnTx/>
                <a:uFillTx/>
                <a:latin typeface="Calibri"/>
                <a:ea typeface="+mn-ea"/>
                <a:cs typeface="Calibri"/>
              </a:rPr>
              <a:t>2</a:t>
            </a:r>
            <a:endParaRPr kumimoji="0" sz="800" b="0" i="0" u="none" strike="noStrike" kern="0" cap="none" spc="0" normalizeH="0" baseline="0" noProof="0">
              <a:ln>
                <a:noFill/>
              </a:ln>
              <a:solidFill>
                <a:sysClr val="windowText" lastClr="000000"/>
              </a:solidFill>
              <a:effectLst/>
              <a:uLnTx/>
              <a:uFillTx/>
              <a:latin typeface="Calibri"/>
              <a:ea typeface="+mn-ea"/>
              <a:cs typeface="Calibri"/>
            </a:endParaRPr>
          </a:p>
          <a:p>
            <a:pPr marL="43815" marR="0" lvl="0" indent="0" algn="l" defTabSz="914400" rtl="0" eaLnBrk="1" fontAlgn="auto" latinLnBrk="0" hangingPunct="1">
              <a:lnSpc>
                <a:spcPct val="100000"/>
              </a:lnSpc>
              <a:spcBef>
                <a:spcPts val="375"/>
              </a:spcBef>
              <a:spcAft>
                <a:spcPts val="0"/>
              </a:spcAft>
              <a:buClrTx/>
              <a:buSzTx/>
              <a:buFontTx/>
              <a:buNone/>
              <a:tabLst/>
              <a:defRPr/>
            </a:pPr>
            <a:r>
              <a:rPr kumimoji="0" sz="800" b="0" i="0" u="none" strike="noStrike" kern="0" cap="none" spc="-5" normalizeH="0" baseline="0" noProof="0" dirty="0">
                <a:ln>
                  <a:noFill/>
                </a:ln>
                <a:solidFill>
                  <a:sysClr val="windowText" lastClr="000000"/>
                </a:solidFill>
                <a:effectLst/>
                <a:uLnTx/>
                <a:uFillTx/>
                <a:latin typeface="Calibri"/>
                <a:ea typeface="+mn-ea"/>
                <a:cs typeface="Calibri"/>
              </a:rPr>
              <a:t>1</a:t>
            </a:r>
            <a:endParaRPr kumimoji="0" sz="800" b="0" i="0" u="none" strike="noStrike" kern="0" cap="none" spc="0" normalizeH="0" baseline="0" noProof="0">
              <a:ln>
                <a:noFill/>
              </a:ln>
              <a:solidFill>
                <a:sysClr val="windowText" lastClr="000000"/>
              </a:solidFill>
              <a:effectLst/>
              <a:uLnTx/>
              <a:uFillTx/>
              <a:latin typeface="Calibri"/>
              <a:ea typeface="+mn-ea"/>
              <a:cs typeface="Calibri"/>
            </a:endParaRPr>
          </a:p>
          <a:p>
            <a:pPr marL="43815" marR="0" lvl="0" indent="0" algn="l" defTabSz="914400" rtl="0" eaLnBrk="1" fontAlgn="auto" latinLnBrk="0" hangingPunct="1">
              <a:lnSpc>
                <a:spcPct val="100000"/>
              </a:lnSpc>
              <a:spcBef>
                <a:spcPts val="375"/>
              </a:spcBef>
              <a:spcAft>
                <a:spcPts val="0"/>
              </a:spcAft>
              <a:buClrTx/>
              <a:buSzTx/>
              <a:buFontTx/>
              <a:buNone/>
              <a:tabLst/>
              <a:defRPr/>
            </a:pPr>
            <a:r>
              <a:rPr kumimoji="0" sz="800" b="0" i="0" u="none" strike="noStrike" kern="0" cap="none" spc="-5" normalizeH="0" baseline="0" noProof="0" dirty="0">
                <a:ln>
                  <a:noFill/>
                </a:ln>
                <a:solidFill>
                  <a:sysClr val="windowText" lastClr="000000"/>
                </a:solidFill>
                <a:effectLst/>
                <a:uLnTx/>
                <a:uFillTx/>
                <a:latin typeface="Calibri"/>
                <a:ea typeface="+mn-ea"/>
                <a:cs typeface="Calibri"/>
              </a:rPr>
              <a:t>0</a:t>
            </a:r>
            <a:endParaRPr kumimoji="0" sz="800" b="0" i="0" u="none" strike="noStrike" kern="0" cap="none" spc="0" normalizeH="0" baseline="0" noProof="0">
              <a:ln>
                <a:noFill/>
              </a:ln>
              <a:solidFill>
                <a:sysClr val="windowText" lastClr="000000"/>
              </a:solidFill>
              <a:effectLst/>
              <a:uLnTx/>
              <a:uFillTx/>
              <a:latin typeface="Calibri"/>
              <a:ea typeface="+mn-ea"/>
              <a:cs typeface="Calibri"/>
            </a:endParaRPr>
          </a:p>
          <a:p>
            <a:pPr marL="12700" marR="0" lvl="0" indent="0" algn="l" defTabSz="914400" rtl="0" eaLnBrk="1" fontAlgn="auto" latinLnBrk="0" hangingPunct="1">
              <a:lnSpc>
                <a:spcPct val="100000"/>
              </a:lnSpc>
              <a:spcBef>
                <a:spcPts val="375"/>
              </a:spcBef>
              <a:spcAft>
                <a:spcPts val="0"/>
              </a:spcAft>
              <a:buClrTx/>
              <a:buSzTx/>
              <a:buFontTx/>
              <a:buNone/>
              <a:tabLst/>
              <a:defRPr/>
            </a:pPr>
            <a:r>
              <a:rPr kumimoji="0" sz="800" b="0" i="0" u="none" strike="noStrike" kern="0" cap="none" spc="-10" normalizeH="0" baseline="0" noProof="0" dirty="0">
                <a:ln>
                  <a:noFill/>
                </a:ln>
                <a:solidFill>
                  <a:sysClr val="windowText" lastClr="000000"/>
                </a:solidFill>
                <a:effectLst/>
                <a:uLnTx/>
                <a:uFillTx/>
                <a:latin typeface="Calibri"/>
                <a:ea typeface="+mn-ea"/>
                <a:cs typeface="Calibri"/>
              </a:rPr>
              <a:t>-</a:t>
            </a:r>
            <a:r>
              <a:rPr kumimoji="0" sz="800" b="0" i="0" u="none" strike="noStrike" kern="0" cap="none" spc="-50" normalizeH="0" baseline="0" noProof="0" dirty="0">
                <a:ln>
                  <a:noFill/>
                </a:ln>
                <a:solidFill>
                  <a:sysClr val="windowText" lastClr="000000"/>
                </a:solidFill>
                <a:effectLst/>
                <a:uLnTx/>
                <a:uFillTx/>
                <a:latin typeface="Calibri"/>
                <a:ea typeface="+mn-ea"/>
                <a:cs typeface="Calibri"/>
              </a:rPr>
              <a:t>1</a:t>
            </a:r>
            <a:endParaRPr kumimoji="0" sz="800" b="0" i="0" u="none" strike="noStrike" kern="0" cap="none" spc="0" normalizeH="0" baseline="0" noProof="0">
              <a:ln>
                <a:noFill/>
              </a:ln>
              <a:solidFill>
                <a:sysClr val="windowText" lastClr="000000"/>
              </a:solidFill>
              <a:effectLst/>
              <a:uLnTx/>
              <a:uFillTx/>
              <a:latin typeface="Calibri"/>
              <a:ea typeface="+mn-ea"/>
              <a:cs typeface="Calibri"/>
            </a:endParaRPr>
          </a:p>
          <a:p>
            <a:pPr marL="12700" marR="0" lvl="0" indent="0" algn="l" defTabSz="914400" rtl="0" eaLnBrk="1" fontAlgn="auto" latinLnBrk="0" hangingPunct="1">
              <a:lnSpc>
                <a:spcPct val="100000"/>
              </a:lnSpc>
              <a:spcBef>
                <a:spcPts val="375"/>
              </a:spcBef>
              <a:spcAft>
                <a:spcPts val="0"/>
              </a:spcAft>
              <a:buClrTx/>
              <a:buSzTx/>
              <a:buFontTx/>
              <a:buNone/>
              <a:tabLst/>
              <a:defRPr/>
            </a:pPr>
            <a:r>
              <a:rPr kumimoji="0" sz="800" b="0" i="0" u="none" strike="noStrike" kern="0" cap="none" spc="-10" normalizeH="0" baseline="0" noProof="0" dirty="0">
                <a:ln>
                  <a:noFill/>
                </a:ln>
                <a:solidFill>
                  <a:sysClr val="windowText" lastClr="000000"/>
                </a:solidFill>
                <a:effectLst/>
                <a:uLnTx/>
                <a:uFillTx/>
                <a:latin typeface="Calibri"/>
                <a:ea typeface="+mn-ea"/>
                <a:cs typeface="Calibri"/>
              </a:rPr>
              <a:t>-</a:t>
            </a:r>
            <a:r>
              <a:rPr kumimoji="0" sz="800" b="0" i="0" u="none" strike="noStrike" kern="0" cap="none" spc="-50" normalizeH="0" baseline="0" noProof="0" dirty="0">
                <a:ln>
                  <a:noFill/>
                </a:ln>
                <a:solidFill>
                  <a:sysClr val="windowText" lastClr="000000"/>
                </a:solidFill>
                <a:effectLst/>
                <a:uLnTx/>
                <a:uFillTx/>
                <a:latin typeface="Calibri"/>
                <a:ea typeface="+mn-ea"/>
                <a:cs typeface="Calibri"/>
              </a:rPr>
              <a:t>2</a:t>
            </a:r>
            <a:endParaRPr kumimoji="0" sz="800" b="0" i="0" u="none" strike="noStrike" kern="0" cap="none" spc="0" normalizeH="0" baseline="0" noProof="0">
              <a:ln>
                <a:noFill/>
              </a:ln>
              <a:solidFill>
                <a:sysClr val="windowText" lastClr="000000"/>
              </a:solidFill>
              <a:effectLst/>
              <a:uLnTx/>
              <a:uFillTx/>
              <a:latin typeface="Calibri"/>
              <a:ea typeface="+mn-ea"/>
              <a:cs typeface="Calibri"/>
            </a:endParaRPr>
          </a:p>
        </p:txBody>
      </p:sp>
      <p:grpSp>
        <p:nvGrpSpPr>
          <p:cNvPr id="33" name="object 33"/>
          <p:cNvGrpSpPr/>
          <p:nvPr/>
        </p:nvGrpSpPr>
        <p:grpSpPr>
          <a:xfrm>
            <a:off x="5426238" y="4228993"/>
            <a:ext cx="1881505" cy="900430"/>
            <a:chOff x="5426238" y="4228993"/>
            <a:chExt cx="1881505" cy="900430"/>
          </a:xfrm>
        </p:grpSpPr>
        <p:sp>
          <p:nvSpPr>
            <p:cNvPr id="34" name="object 34"/>
            <p:cNvSpPr/>
            <p:nvPr/>
          </p:nvSpPr>
          <p:spPr>
            <a:xfrm>
              <a:off x="5426238" y="4228993"/>
              <a:ext cx="1881505" cy="900430"/>
            </a:xfrm>
            <a:custGeom>
              <a:avLst/>
              <a:gdLst/>
              <a:ahLst/>
              <a:cxnLst/>
              <a:rect l="l" t="t" r="r" b="b"/>
              <a:pathLst>
                <a:path w="1881504" h="900429">
                  <a:moveTo>
                    <a:pt x="1880992" y="0"/>
                  </a:moveTo>
                  <a:lnTo>
                    <a:pt x="0" y="0"/>
                  </a:lnTo>
                  <a:lnTo>
                    <a:pt x="0" y="900212"/>
                  </a:lnTo>
                  <a:lnTo>
                    <a:pt x="1880992" y="900212"/>
                  </a:lnTo>
                  <a:lnTo>
                    <a:pt x="1880992"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5" name="object 35"/>
            <p:cNvSpPr/>
            <p:nvPr/>
          </p:nvSpPr>
          <p:spPr>
            <a:xfrm>
              <a:off x="5639159" y="4341525"/>
              <a:ext cx="1556385" cy="675640"/>
            </a:xfrm>
            <a:custGeom>
              <a:avLst/>
              <a:gdLst/>
              <a:ahLst/>
              <a:cxnLst/>
              <a:rect l="l" t="t" r="r" b="b"/>
              <a:pathLst>
                <a:path w="1556384" h="675639">
                  <a:moveTo>
                    <a:pt x="38703" y="675159"/>
                  </a:moveTo>
                  <a:lnTo>
                    <a:pt x="1555882" y="675159"/>
                  </a:lnTo>
                </a:path>
                <a:path w="1556384" h="675639">
                  <a:moveTo>
                    <a:pt x="38703" y="504429"/>
                  </a:moveTo>
                  <a:lnTo>
                    <a:pt x="1555882" y="504429"/>
                  </a:lnTo>
                </a:path>
                <a:path w="1556384" h="675639">
                  <a:moveTo>
                    <a:pt x="38703" y="170730"/>
                  </a:moveTo>
                  <a:lnTo>
                    <a:pt x="1555882" y="170730"/>
                  </a:lnTo>
                </a:path>
                <a:path w="1556384" h="675639">
                  <a:moveTo>
                    <a:pt x="38703" y="0"/>
                  </a:moveTo>
                  <a:lnTo>
                    <a:pt x="1555882" y="0"/>
                  </a:lnTo>
                </a:path>
                <a:path w="1556384" h="675639">
                  <a:moveTo>
                    <a:pt x="38703" y="675159"/>
                  </a:moveTo>
                  <a:lnTo>
                    <a:pt x="38703" y="0"/>
                  </a:lnTo>
                </a:path>
                <a:path w="1556384" h="675639">
                  <a:moveTo>
                    <a:pt x="0" y="675159"/>
                  </a:moveTo>
                  <a:lnTo>
                    <a:pt x="38703" y="675159"/>
                  </a:lnTo>
                </a:path>
                <a:path w="1556384" h="675639">
                  <a:moveTo>
                    <a:pt x="0" y="504429"/>
                  </a:moveTo>
                  <a:lnTo>
                    <a:pt x="38703" y="504429"/>
                  </a:lnTo>
                </a:path>
                <a:path w="1556384" h="675639">
                  <a:moveTo>
                    <a:pt x="0" y="341460"/>
                  </a:moveTo>
                  <a:lnTo>
                    <a:pt x="38703" y="341460"/>
                  </a:lnTo>
                </a:path>
                <a:path w="1556384" h="675639">
                  <a:moveTo>
                    <a:pt x="0" y="170730"/>
                  </a:moveTo>
                  <a:lnTo>
                    <a:pt x="38703" y="170730"/>
                  </a:lnTo>
                </a:path>
                <a:path w="1556384" h="675639">
                  <a:moveTo>
                    <a:pt x="0" y="0"/>
                  </a:moveTo>
                  <a:lnTo>
                    <a:pt x="38703" y="0"/>
                  </a:lnTo>
                </a:path>
                <a:path w="1556384" h="675639">
                  <a:moveTo>
                    <a:pt x="38703" y="341460"/>
                  </a:moveTo>
                  <a:lnTo>
                    <a:pt x="1555882" y="341460"/>
                  </a:lnTo>
                </a:path>
              </a:pathLst>
            </a:custGeom>
            <a:ln w="7758">
              <a:solidFill>
                <a:srgbClr val="85858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6" name="object 36"/>
            <p:cNvSpPr/>
            <p:nvPr/>
          </p:nvSpPr>
          <p:spPr>
            <a:xfrm>
              <a:off x="5675477" y="4660480"/>
              <a:ext cx="1176655" cy="201930"/>
            </a:xfrm>
            <a:custGeom>
              <a:avLst/>
              <a:gdLst/>
              <a:ahLst/>
              <a:cxnLst/>
              <a:rect l="l" t="t" r="r" b="b"/>
              <a:pathLst>
                <a:path w="1176654" h="201929">
                  <a:moveTo>
                    <a:pt x="456704" y="6946"/>
                  </a:moveTo>
                  <a:lnTo>
                    <a:pt x="449795" y="0"/>
                  </a:lnTo>
                  <a:lnTo>
                    <a:pt x="434314" y="0"/>
                  </a:lnTo>
                  <a:lnTo>
                    <a:pt x="432663" y="0"/>
                  </a:lnTo>
                  <a:lnTo>
                    <a:pt x="6921" y="0"/>
                  </a:lnTo>
                  <a:lnTo>
                    <a:pt x="0" y="6946"/>
                  </a:lnTo>
                  <a:lnTo>
                    <a:pt x="0" y="24091"/>
                  </a:lnTo>
                  <a:lnTo>
                    <a:pt x="6921" y="31038"/>
                  </a:lnTo>
                  <a:lnTo>
                    <a:pt x="22402" y="31038"/>
                  </a:lnTo>
                  <a:lnTo>
                    <a:pt x="24053" y="31038"/>
                  </a:lnTo>
                  <a:lnTo>
                    <a:pt x="449795" y="31038"/>
                  </a:lnTo>
                  <a:lnTo>
                    <a:pt x="456704" y="24091"/>
                  </a:lnTo>
                  <a:lnTo>
                    <a:pt x="456704" y="15519"/>
                  </a:lnTo>
                  <a:lnTo>
                    <a:pt x="456704" y="6946"/>
                  </a:lnTo>
                  <a:close/>
                </a:path>
                <a:path w="1176654" h="201929">
                  <a:moveTo>
                    <a:pt x="1083703" y="6946"/>
                  </a:moveTo>
                  <a:lnTo>
                    <a:pt x="1076794" y="0"/>
                  </a:lnTo>
                  <a:lnTo>
                    <a:pt x="1061313" y="0"/>
                  </a:lnTo>
                  <a:lnTo>
                    <a:pt x="1059662" y="0"/>
                  </a:lnTo>
                  <a:lnTo>
                    <a:pt x="525551" y="0"/>
                  </a:lnTo>
                  <a:lnTo>
                    <a:pt x="518629" y="6946"/>
                  </a:lnTo>
                  <a:lnTo>
                    <a:pt x="518629" y="24091"/>
                  </a:lnTo>
                  <a:lnTo>
                    <a:pt x="525551" y="31038"/>
                  </a:lnTo>
                  <a:lnTo>
                    <a:pt x="541032" y="31038"/>
                  </a:lnTo>
                  <a:lnTo>
                    <a:pt x="542683" y="31038"/>
                  </a:lnTo>
                  <a:lnTo>
                    <a:pt x="1076794" y="31038"/>
                  </a:lnTo>
                  <a:lnTo>
                    <a:pt x="1083703" y="24091"/>
                  </a:lnTo>
                  <a:lnTo>
                    <a:pt x="1083703" y="15519"/>
                  </a:lnTo>
                  <a:lnTo>
                    <a:pt x="1083703" y="6946"/>
                  </a:lnTo>
                  <a:close/>
                </a:path>
                <a:path w="1176654" h="201929">
                  <a:moveTo>
                    <a:pt x="1176591" y="177673"/>
                  </a:moveTo>
                  <a:lnTo>
                    <a:pt x="1169682" y="170726"/>
                  </a:lnTo>
                  <a:lnTo>
                    <a:pt x="1154201" y="170726"/>
                  </a:lnTo>
                  <a:lnTo>
                    <a:pt x="1152550" y="170726"/>
                  </a:lnTo>
                  <a:lnTo>
                    <a:pt x="1075143" y="170726"/>
                  </a:lnTo>
                  <a:lnTo>
                    <a:pt x="1068222" y="177673"/>
                  </a:lnTo>
                  <a:lnTo>
                    <a:pt x="1068222" y="194818"/>
                  </a:lnTo>
                  <a:lnTo>
                    <a:pt x="1075143" y="201764"/>
                  </a:lnTo>
                  <a:lnTo>
                    <a:pt x="1090625" y="201764"/>
                  </a:lnTo>
                  <a:lnTo>
                    <a:pt x="1092276" y="201764"/>
                  </a:lnTo>
                  <a:lnTo>
                    <a:pt x="1169682" y="201764"/>
                  </a:lnTo>
                  <a:lnTo>
                    <a:pt x="1176591" y="194818"/>
                  </a:lnTo>
                  <a:lnTo>
                    <a:pt x="1176591" y="186245"/>
                  </a:lnTo>
                  <a:lnTo>
                    <a:pt x="1176591" y="177673"/>
                  </a:lnTo>
                  <a:close/>
                </a:path>
              </a:pathLst>
            </a:custGeom>
            <a:solidFill>
              <a:srgbClr val="94373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7" name="object 37"/>
            <p:cNvSpPr/>
            <p:nvPr/>
          </p:nvSpPr>
          <p:spPr>
            <a:xfrm>
              <a:off x="6821106" y="4660480"/>
              <a:ext cx="394970" cy="201930"/>
            </a:xfrm>
            <a:custGeom>
              <a:avLst/>
              <a:gdLst/>
              <a:ahLst/>
              <a:cxnLst/>
              <a:rect l="l" t="t" r="r" b="b"/>
              <a:pathLst>
                <a:path w="394970" h="201929">
                  <a:moveTo>
                    <a:pt x="239966" y="177673"/>
                  </a:moveTo>
                  <a:lnTo>
                    <a:pt x="233045" y="170726"/>
                  </a:lnTo>
                  <a:lnTo>
                    <a:pt x="217563" y="170726"/>
                  </a:lnTo>
                  <a:lnTo>
                    <a:pt x="215912" y="170726"/>
                  </a:lnTo>
                  <a:lnTo>
                    <a:pt x="6921" y="170726"/>
                  </a:lnTo>
                  <a:lnTo>
                    <a:pt x="0" y="177673"/>
                  </a:lnTo>
                  <a:lnTo>
                    <a:pt x="0" y="194818"/>
                  </a:lnTo>
                  <a:lnTo>
                    <a:pt x="6921" y="201764"/>
                  </a:lnTo>
                  <a:lnTo>
                    <a:pt x="22402" y="201764"/>
                  </a:lnTo>
                  <a:lnTo>
                    <a:pt x="24053" y="201764"/>
                  </a:lnTo>
                  <a:lnTo>
                    <a:pt x="233045" y="201764"/>
                  </a:lnTo>
                  <a:lnTo>
                    <a:pt x="239966" y="194818"/>
                  </a:lnTo>
                  <a:lnTo>
                    <a:pt x="239966" y="186245"/>
                  </a:lnTo>
                  <a:lnTo>
                    <a:pt x="239966" y="177673"/>
                  </a:lnTo>
                  <a:close/>
                </a:path>
                <a:path w="394970" h="201929">
                  <a:moveTo>
                    <a:pt x="394779" y="6946"/>
                  </a:moveTo>
                  <a:lnTo>
                    <a:pt x="387858" y="0"/>
                  </a:lnTo>
                  <a:lnTo>
                    <a:pt x="372376" y="0"/>
                  </a:lnTo>
                  <a:lnTo>
                    <a:pt x="370725" y="0"/>
                  </a:lnTo>
                  <a:lnTo>
                    <a:pt x="231394" y="0"/>
                  </a:lnTo>
                  <a:lnTo>
                    <a:pt x="224485" y="6946"/>
                  </a:lnTo>
                  <a:lnTo>
                    <a:pt x="224485" y="24091"/>
                  </a:lnTo>
                  <a:lnTo>
                    <a:pt x="231394" y="31038"/>
                  </a:lnTo>
                  <a:lnTo>
                    <a:pt x="246875" y="31038"/>
                  </a:lnTo>
                  <a:lnTo>
                    <a:pt x="248526" y="31038"/>
                  </a:lnTo>
                  <a:lnTo>
                    <a:pt x="387858" y="31038"/>
                  </a:lnTo>
                  <a:lnTo>
                    <a:pt x="394779" y="24091"/>
                  </a:lnTo>
                  <a:lnTo>
                    <a:pt x="394779" y="15519"/>
                  </a:lnTo>
                  <a:lnTo>
                    <a:pt x="394779" y="6946"/>
                  </a:lnTo>
                  <a:close/>
                </a:path>
              </a:pathLst>
            </a:custGeom>
            <a:solidFill>
              <a:srgbClr val="94373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38" name="object 38"/>
          <p:cNvSpPr txBox="1"/>
          <p:nvPr/>
        </p:nvSpPr>
        <p:spPr>
          <a:xfrm>
            <a:off x="5485475" y="4216847"/>
            <a:ext cx="108585" cy="873125"/>
          </a:xfrm>
          <a:prstGeom prst="rect">
            <a:avLst/>
          </a:prstGeom>
        </p:spPr>
        <p:txBody>
          <a:bodyPr vert="horz" wrap="square" lIns="0" tIns="60325" rIns="0" bIns="0" rtlCol="0">
            <a:spAutoFit/>
          </a:bodyPr>
          <a:lstStyle/>
          <a:p>
            <a:pPr marL="44450" marR="0" lvl="0" indent="0" algn="l" defTabSz="914400" rtl="0" eaLnBrk="1" fontAlgn="auto" latinLnBrk="0" hangingPunct="1">
              <a:lnSpc>
                <a:spcPct val="100000"/>
              </a:lnSpc>
              <a:spcBef>
                <a:spcPts val="475"/>
              </a:spcBef>
              <a:spcAft>
                <a:spcPts val="0"/>
              </a:spcAft>
              <a:buClrTx/>
              <a:buSzTx/>
              <a:buFontTx/>
              <a:buNone/>
              <a:tabLst/>
              <a:defRPr/>
            </a:pPr>
            <a:r>
              <a:rPr kumimoji="0" sz="800" b="0" i="0" u="none" strike="noStrike" kern="0" cap="none" spc="-5" normalizeH="0" baseline="0" noProof="0" dirty="0">
                <a:ln>
                  <a:noFill/>
                </a:ln>
                <a:solidFill>
                  <a:sysClr val="windowText" lastClr="000000"/>
                </a:solidFill>
                <a:effectLst/>
                <a:uLnTx/>
                <a:uFillTx/>
                <a:latin typeface="Calibri"/>
                <a:ea typeface="+mn-ea"/>
                <a:cs typeface="Calibri"/>
              </a:rPr>
              <a:t>2</a:t>
            </a:r>
            <a:endParaRPr kumimoji="0" sz="800" b="0" i="0" u="none" strike="noStrike" kern="0" cap="none" spc="0" normalizeH="0" baseline="0" noProof="0">
              <a:ln>
                <a:noFill/>
              </a:ln>
              <a:solidFill>
                <a:sysClr val="windowText" lastClr="000000"/>
              </a:solidFill>
              <a:effectLst/>
              <a:uLnTx/>
              <a:uFillTx/>
              <a:latin typeface="Calibri"/>
              <a:ea typeface="+mn-ea"/>
              <a:cs typeface="Calibri"/>
            </a:endParaRPr>
          </a:p>
          <a:p>
            <a:pPr marL="44450" marR="0" lvl="0" indent="0" algn="l" defTabSz="914400" rtl="0" eaLnBrk="1" fontAlgn="auto" latinLnBrk="0" hangingPunct="1">
              <a:lnSpc>
                <a:spcPct val="100000"/>
              </a:lnSpc>
              <a:spcBef>
                <a:spcPts val="375"/>
              </a:spcBef>
              <a:spcAft>
                <a:spcPts val="0"/>
              </a:spcAft>
              <a:buClrTx/>
              <a:buSzTx/>
              <a:buFontTx/>
              <a:buNone/>
              <a:tabLst/>
              <a:defRPr/>
            </a:pPr>
            <a:r>
              <a:rPr kumimoji="0" sz="800" b="0" i="0" u="none" strike="noStrike" kern="0" cap="none" spc="-5" normalizeH="0" baseline="0" noProof="0" dirty="0">
                <a:ln>
                  <a:noFill/>
                </a:ln>
                <a:solidFill>
                  <a:sysClr val="windowText" lastClr="000000"/>
                </a:solidFill>
                <a:effectLst/>
                <a:uLnTx/>
                <a:uFillTx/>
                <a:latin typeface="Calibri"/>
                <a:ea typeface="+mn-ea"/>
                <a:cs typeface="Calibri"/>
              </a:rPr>
              <a:t>1</a:t>
            </a:r>
            <a:endParaRPr kumimoji="0" sz="800" b="0" i="0" u="none" strike="noStrike" kern="0" cap="none" spc="0" normalizeH="0" baseline="0" noProof="0">
              <a:ln>
                <a:noFill/>
              </a:ln>
              <a:solidFill>
                <a:sysClr val="windowText" lastClr="000000"/>
              </a:solidFill>
              <a:effectLst/>
              <a:uLnTx/>
              <a:uFillTx/>
              <a:latin typeface="Calibri"/>
              <a:ea typeface="+mn-ea"/>
              <a:cs typeface="Calibri"/>
            </a:endParaRPr>
          </a:p>
          <a:p>
            <a:pPr marL="44450" marR="0" lvl="0" indent="0" algn="l" defTabSz="914400" rtl="0" eaLnBrk="1" fontAlgn="auto" latinLnBrk="0" hangingPunct="1">
              <a:lnSpc>
                <a:spcPct val="100000"/>
              </a:lnSpc>
              <a:spcBef>
                <a:spcPts val="375"/>
              </a:spcBef>
              <a:spcAft>
                <a:spcPts val="0"/>
              </a:spcAft>
              <a:buClrTx/>
              <a:buSzTx/>
              <a:buFontTx/>
              <a:buNone/>
              <a:tabLst/>
              <a:defRPr/>
            </a:pPr>
            <a:r>
              <a:rPr kumimoji="0" sz="800" b="0" i="0" u="none" strike="noStrike" kern="0" cap="none" spc="-5" normalizeH="0" baseline="0" noProof="0" dirty="0">
                <a:ln>
                  <a:noFill/>
                </a:ln>
                <a:solidFill>
                  <a:sysClr val="windowText" lastClr="000000"/>
                </a:solidFill>
                <a:effectLst/>
                <a:uLnTx/>
                <a:uFillTx/>
                <a:latin typeface="Calibri"/>
                <a:ea typeface="+mn-ea"/>
                <a:cs typeface="Calibri"/>
              </a:rPr>
              <a:t>0</a:t>
            </a:r>
            <a:endParaRPr kumimoji="0" sz="800" b="0" i="0" u="none" strike="noStrike" kern="0" cap="none" spc="0" normalizeH="0" baseline="0" noProof="0">
              <a:ln>
                <a:noFill/>
              </a:ln>
              <a:solidFill>
                <a:sysClr val="windowText" lastClr="000000"/>
              </a:solidFill>
              <a:effectLst/>
              <a:uLnTx/>
              <a:uFillTx/>
              <a:latin typeface="Calibri"/>
              <a:ea typeface="+mn-ea"/>
              <a:cs typeface="Calibri"/>
            </a:endParaRPr>
          </a:p>
          <a:p>
            <a:pPr marL="12700" marR="0" lvl="0" indent="0" algn="l" defTabSz="914400" rtl="0" eaLnBrk="1" fontAlgn="auto" latinLnBrk="0" hangingPunct="1">
              <a:lnSpc>
                <a:spcPct val="100000"/>
              </a:lnSpc>
              <a:spcBef>
                <a:spcPts val="375"/>
              </a:spcBef>
              <a:spcAft>
                <a:spcPts val="0"/>
              </a:spcAft>
              <a:buClrTx/>
              <a:buSzTx/>
              <a:buFontTx/>
              <a:buNone/>
              <a:tabLst/>
              <a:defRPr/>
            </a:pPr>
            <a:r>
              <a:rPr kumimoji="0" sz="800" b="0" i="0" u="none" strike="noStrike" kern="0" cap="none" spc="-10" normalizeH="0" baseline="0" noProof="0" dirty="0">
                <a:ln>
                  <a:noFill/>
                </a:ln>
                <a:solidFill>
                  <a:sysClr val="windowText" lastClr="000000"/>
                </a:solidFill>
                <a:effectLst/>
                <a:uLnTx/>
                <a:uFillTx/>
                <a:latin typeface="Calibri"/>
                <a:ea typeface="+mn-ea"/>
                <a:cs typeface="Calibri"/>
              </a:rPr>
              <a:t>-</a:t>
            </a:r>
            <a:r>
              <a:rPr kumimoji="0" sz="800" b="0" i="0" u="none" strike="noStrike" kern="0" cap="none" spc="-50" normalizeH="0" baseline="0" noProof="0" dirty="0">
                <a:ln>
                  <a:noFill/>
                </a:ln>
                <a:solidFill>
                  <a:sysClr val="windowText" lastClr="000000"/>
                </a:solidFill>
                <a:effectLst/>
                <a:uLnTx/>
                <a:uFillTx/>
                <a:latin typeface="Calibri"/>
                <a:ea typeface="+mn-ea"/>
                <a:cs typeface="Calibri"/>
              </a:rPr>
              <a:t>1</a:t>
            </a:r>
            <a:endParaRPr kumimoji="0" sz="800" b="0" i="0" u="none" strike="noStrike" kern="0" cap="none" spc="0" normalizeH="0" baseline="0" noProof="0">
              <a:ln>
                <a:noFill/>
              </a:ln>
              <a:solidFill>
                <a:sysClr val="windowText" lastClr="000000"/>
              </a:solidFill>
              <a:effectLst/>
              <a:uLnTx/>
              <a:uFillTx/>
              <a:latin typeface="Calibri"/>
              <a:ea typeface="+mn-ea"/>
              <a:cs typeface="Calibri"/>
            </a:endParaRPr>
          </a:p>
          <a:p>
            <a:pPr marL="12700" marR="0" lvl="0" indent="0" algn="l" defTabSz="914400" rtl="0" eaLnBrk="1" fontAlgn="auto" latinLnBrk="0" hangingPunct="1">
              <a:lnSpc>
                <a:spcPct val="100000"/>
              </a:lnSpc>
              <a:spcBef>
                <a:spcPts val="375"/>
              </a:spcBef>
              <a:spcAft>
                <a:spcPts val="0"/>
              </a:spcAft>
              <a:buClrTx/>
              <a:buSzTx/>
              <a:buFontTx/>
              <a:buNone/>
              <a:tabLst/>
              <a:defRPr/>
            </a:pPr>
            <a:r>
              <a:rPr kumimoji="0" sz="800" b="0" i="0" u="none" strike="noStrike" kern="0" cap="none" spc="-10" normalizeH="0" baseline="0" noProof="0" dirty="0">
                <a:ln>
                  <a:noFill/>
                </a:ln>
                <a:solidFill>
                  <a:sysClr val="windowText" lastClr="000000"/>
                </a:solidFill>
                <a:effectLst/>
                <a:uLnTx/>
                <a:uFillTx/>
                <a:latin typeface="Calibri"/>
                <a:ea typeface="+mn-ea"/>
                <a:cs typeface="Calibri"/>
              </a:rPr>
              <a:t>-</a:t>
            </a:r>
            <a:r>
              <a:rPr kumimoji="0" sz="800" b="0" i="0" u="none" strike="noStrike" kern="0" cap="none" spc="-50" normalizeH="0" baseline="0" noProof="0" dirty="0">
                <a:ln>
                  <a:noFill/>
                </a:ln>
                <a:solidFill>
                  <a:sysClr val="windowText" lastClr="000000"/>
                </a:solidFill>
                <a:effectLst/>
                <a:uLnTx/>
                <a:uFillTx/>
                <a:latin typeface="Calibri"/>
                <a:ea typeface="+mn-ea"/>
                <a:cs typeface="Calibri"/>
              </a:rPr>
              <a:t>2</a:t>
            </a:r>
            <a:endParaRPr kumimoji="0" sz="800" b="0" i="0" u="none" strike="noStrike" kern="0" cap="none" spc="0" normalizeH="0" baseline="0" noProof="0">
              <a:ln>
                <a:noFill/>
              </a:ln>
              <a:solidFill>
                <a:sysClr val="windowText" lastClr="000000"/>
              </a:solidFill>
              <a:effectLst/>
              <a:uLnTx/>
              <a:uFillTx/>
              <a:latin typeface="Calibri"/>
              <a:ea typeface="+mn-ea"/>
              <a:cs typeface="Calibri"/>
            </a:endParaRPr>
          </a:p>
        </p:txBody>
      </p:sp>
      <p:grpSp>
        <p:nvGrpSpPr>
          <p:cNvPr id="39" name="object 39"/>
          <p:cNvGrpSpPr/>
          <p:nvPr/>
        </p:nvGrpSpPr>
        <p:grpSpPr>
          <a:xfrm>
            <a:off x="10016479" y="4228993"/>
            <a:ext cx="1889125" cy="900430"/>
            <a:chOff x="10016479" y="4228993"/>
            <a:chExt cx="1889125" cy="900430"/>
          </a:xfrm>
        </p:grpSpPr>
        <p:sp>
          <p:nvSpPr>
            <p:cNvPr id="40" name="object 40"/>
            <p:cNvSpPr/>
            <p:nvPr/>
          </p:nvSpPr>
          <p:spPr>
            <a:xfrm>
              <a:off x="10016479" y="4228993"/>
              <a:ext cx="1889125" cy="900430"/>
            </a:xfrm>
            <a:custGeom>
              <a:avLst/>
              <a:gdLst/>
              <a:ahLst/>
              <a:cxnLst/>
              <a:rect l="l" t="t" r="r" b="b"/>
              <a:pathLst>
                <a:path w="1889125" h="900429">
                  <a:moveTo>
                    <a:pt x="1888733" y="0"/>
                  </a:moveTo>
                  <a:lnTo>
                    <a:pt x="0" y="0"/>
                  </a:lnTo>
                  <a:lnTo>
                    <a:pt x="0" y="900212"/>
                  </a:lnTo>
                  <a:lnTo>
                    <a:pt x="1888733" y="900212"/>
                  </a:lnTo>
                  <a:lnTo>
                    <a:pt x="1888733"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1" name="object 41"/>
            <p:cNvSpPr/>
            <p:nvPr/>
          </p:nvSpPr>
          <p:spPr>
            <a:xfrm>
              <a:off x="10237141" y="4341525"/>
              <a:ext cx="1548765" cy="675640"/>
            </a:xfrm>
            <a:custGeom>
              <a:avLst/>
              <a:gdLst/>
              <a:ahLst/>
              <a:cxnLst/>
              <a:rect l="l" t="t" r="r" b="b"/>
              <a:pathLst>
                <a:path w="1548765" h="675639">
                  <a:moveTo>
                    <a:pt x="30962" y="675159"/>
                  </a:moveTo>
                  <a:lnTo>
                    <a:pt x="1548142" y="675159"/>
                  </a:lnTo>
                </a:path>
                <a:path w="1548765" h="675639">
                  <a:moveTo>
                    <a:pt x="30962" y="504429"/>
                  </a:moveTo>
                  <a:lnTo>
                    <a:pt x="1548142" y="504429"/>
                  </a:lnTo>
                </a:path>
                <a:path w="1548765" h="675639">
                  <a:moveTo>
                    <a:pt x="30962" y="170730"/>
                  </a:moveTo>
                  <a:lnTo>
                    <a:pt x="1548142" y="170730"/>
                  </a:lnTo>
                </a:path>
                <a:path w="1548765" h="675639">
                  <a:moveTo>
                    <a:pt x="30962" y="0"/>
                  </a:moveTo>
                  <a:lnTo>
                    <a:pt x="1548142" y="0"/>
                  </a:lnTo>
                </a:path>
                <a:path w="1548765" h="675639">
                  <a:moveTo>
                    <a:pt x="30962" y="675159"/>
                  </a:moveTo>
                  <a:lnTo>
                    <a:pt x="30962" y="0"/>
                  </a:lnTo>
                </a:path>
                <a:path w="1548765" h="675639">
                  <a:moveTo>
                    <a:pt x="0" y="675159"/>
                  </a:moveTo>
                  <a:lnTo>
                    <a:pt x="30962" y="675159"/>
                  </a:lnTo>
                </a:path>
                <a:path w="1548765" h="675639">
                  <a:moveTo>
                    <a:pt x="0" y="504429"/>
                  </a:moveTo>
                  <a:lnTo>
                    <a:pt x="30962" y="504429"/>
                  </a:lnTo>
                </a:path>
                <a:path w="1548765" h="675639">
                  <a:moveTo>
                    <a:pt x="0" y="341460"/>
                  </a:moveTo>
                  <a:lnTo>
                    <a:pt x="30962" y="341460"/>
                  </a:lnTo>
                </a:path>
                <a:path w="1548765" h="675639">
                  <a:moveTo>
                    <a:pt x="0" y="170730"/>
                  </a:moveTo>
                  <a:lnTo>
                    <a:pt x="30962" y="170730"/>
                  </a:lnTo>
                </a:path>
                <a:path w="1548765" h="675639">
                  <a:moveTo>
                    <a:pt x="0" y="0"/>
                  </a:moveTo>
                  <a:lnTo>
                    <a:pt x="30962" y="0"/>
                  </a:lnTo>
                </a:path>
                <a:path w="1548765" h="675639">
                  <a:moveTo>
                    <a:pt x="30962" y="341460"/>
                  </a:moveTo>
                  <a:lnTo>
                    <a:pt x="1548142" y="341460"/>
                  </a:lnTo>
                </a:path>
              </a:pathLst>
            </a:custGeom>
            <a:ln w="7758">
              <a:solidFill>
                <a:srgbClr val="85858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2" name="object 42"/>
            <p:cNvSpPr/>
            <p:nvPr/>
          </p:nvSpPr>
          <p:spPr>
            <a:xfrm>
              <a:off x="10267277" y="4660480"/>
              <a:ext cx="1176655" cy="31115"/>
            </a:xfrm>
            <a:custGeom>
              <a:avLst/>
              <a:gdLst/>
              <a:ahLst/>
              <a:cxnLst/>
              <a:rect l="l" t="t" r="r" b="b"/>
              <a:pathLst>
                <a:path w="1176654" h="31114">
                  <a:moveTo>
                    <a:pt x="456692" y="6946"/>
                  </a:moveTo>
                  <a:lnTo>
                    <a:pt x="449783" y="0"/>
                  </a:lnTo>
                  <a:lnTo>
                    <a:pt x="434301" y="0"/>
                  </a:lnTo>
                  <a:lnTo>
                    <a:pt x="432650" y="0"/>
                  </a:lnTo>
                  <a:lnTo>
                    <a:pt x="6908" y="0"/>
                  </a:lnTo>
                  <a:lnTo>
                    <a:pt x="0" y="6946"/>
                  </a:lnTo>
                  <a:lnTo>
                    <a:pt x="0" y="24091"/>
                  </a:lnTo>
                  <a:lnTo>
                    <a:pt x="6908" y="31038"/>
                  </a:lnTo>
                  <a:lnTo>
                    <a:pt x="22390" y="31038"/>
                  </a:lnTo>
                  <a:lnTo>
                    <a:pt x="24041" y="31038"/>
                  </a:lnTo>
                  <a:lnTo>
                    <a:pt x="449783" y="31038"/>
                  </a:lnTo>
                  <a:lnTo>
                    <a:pt x="456692" y="24091"/>
                  </a:lnTo>
                  <a:lnTo>
                    <a:pt x="456692" y="15519"/>
                  </a:lnTo>
                  <a:lnTo>
                    <a:pt x="456692" y="6946"/>
                  </a:lnTo>
                  <a:close/>
                </a:path>
                <a:path w="1176654" h="31114">
                  <a:moveTo>
                    <a:pt x="1176578" y="6946"/>
                  </a:moveTo>
                  <a:lnTo>
                    <a:pt x="1169670" y="0"/>
                  </a:lnTo>
                  <a:lnTo>
                    <a:pt x="1154188" y="0"/>
                  </a:lnTo>
                  <a:lnTo>
                    <a:pt x="1152537" y="0"/>
                  </a:lnTo>
                  <a:lnTo>
                    <a:pt x="525538" y="0"/>
                  </a:lnTo>
                  <a:lnTo>
                    <a:pt x="518617" y="6946"/>
                  </a:lnTo>
                  <a:lnTo>
                    <a:pt x="518617" y="24091"/>
                  </a:lnTo>
                  <a:lnTo>
                    <a:pt x="525538" y="31038"/>
                  </a:lnTo>
                  <a:lnTo>
                    <a:pt x="541020" y="31038"/>
                  </a:lnTo>
                  <a:lnTo>
                    <a:pt x="542671" y="31038"/>
                  </a:lnTo>
                  <a:lnTo>
                    <a:pt x="1169670" y="31038"/>
                  </a:lnTo>
                  <a:lnTo>
                    <a:pt x="1176578" y="24091"/>
                  </a:lnTo>
                  <a:lnTo>
                    <a:pt x="1176578" y="15519"/>
                  </a:lnTo>
                  <a:lnTo>
                    <a:pt x="1176578" y="6946"/>
                  </a:lnTo>
                  <a:close/>
                </a:path>
              </a:pathLst>
            </a:custGeom>
            <a:solidFill>
              <a:srgbClr val="94373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3" name="object 43"/>
            <p:cNvSpPr/>
            <p:nvPr/>
          </p:nvSpPr>
          <p:spPr>
            <a:xfrm>
              <a:off x="11412893" y="4660480"/>
              <a:ext cx="394970" cy="31115"/>
            </a:xfrm>
            <a:custGeom>
              <a:avLst/>
              <a:gdLst/>
              <a:ahLst/>
              <a:cxnLst/>
              <a:rect l="l" t="t" r="r" b="b"/>
              <a:pathLst>
                <a:path w="394970" h="31114">
                  <a:moveTo>
                    <a:pt x="394779" y="6946"/>
                  </a:moveTo>
                  <a:lnTo>
                    <a:pt x="387870" y="0"/>
                  </a:lnTo>
                  <a:lnTo>
                    <a:pt x="372389" y="0"/>
                  </a:lnTo>
                  <a:lnTo>
                    <a:pt x="370738" y="0"/>
                  </a:lnTo>
                  <a:lnTo>
                    <a:pt x="6921" y="0"/>
                  </a:lnTo>
                  <a:lnTo>
                    <a:pt x="0" y="6946"/>
                  </a:lnTo>
                  <a:lnTo>
                    <a:pt x="0" y="24091"/>
                  </a:lnTo>
                  <a:lnTo>
                    <a:pt x="6921" y="31038"/>
                  </a:lnTo>
                  <a:lnTo>
                    <a:pt x="22402" y="31038"/>
                  </a:lnTo>
                  <a:lnTo>
                    <a:pt x="24053" y="31038"/>
                  </a:lnTo>
                  <a:lnTo>
                    <a:pt x="387870" y="31038"/>
                  </a:lnTo>
                  <a:lnTo>
                    <a:pt x="394779" y="24091"/>
                  </a:lnTo>
                  <a:lnTo>
                    <a:pt x="394779" y="15519"/>
                  </a:lnTo>
                  <a:lnTo>
                    <a:pt x="394779" y="6946"/>
                  </a:lnTo>
                  <a:close/>
                </a:path>
              </a:pathLst>
            </a:custGeom>
            <a:solidFill>
              <a:srgbClr val="94373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44" name="object 44"/>
          <p:cNvSpPr txBox="1"/>
          <p:nvPr/>
        </p:nvSpPr>
        <p:spPr>
          <a:xfrm>
            <a:off x="10080360" y="4216847"/>
            <a:ext cx="108585" cy="873125"/>
          </a:xfrm>
          <a:prstGeom prst="rect">
            <a:avLst/>
          </a:prstGeom>
        </p:spPr>
        <p:txBody>
          <a:bodyPr vert="horz" wrap="square" lIns="0" tIns="60325" rIns="0" bIns="0" rtlCol="0">
            <a:spAutoFit/>
          </a:bodyPr>
          <a:lstStyle/>
          <a:p>
            <a:pPr marL="43815" marR="0" lvl="0" indent="0" algn="l" defTabSz="914400" rtl="0" eaLnBrk="1" fontAlgn="auto" latinLnBrk="0" hangingPunct="1">
              <a:lnSpc>
                <a:spcPct val="100000"/>
              </a:lnSpc>
              <a:spcBef>
                <a:spcPts val="475"/>
              </a:spcBef>
              <a:spcAft>
                <a:spcPts val="0"/>
              </a:spcAft>
              <a:buClrTx/>
              <a:buSzTx/>
              <a:buFontTx/>
              <a:buNone/>
              <a:tabLst/>
              <a:defRPr/>
            </a:pPr>
            <a:r>
              <a:rPr kumimoji="0" sz="800" b="0" i="0" u="none" strike="noStrike" kern="0" cap="none" spc="-5" normalizeH="0" baseline="0" noProof="0" dirty="0">
                <a:ln>
                  <a:noFill/>
                </a:ln>
                <a:solidFill>
                  <a:sysClr val="windowText" lastClr="000000"/>
                </a:solidFill>
                <a:effectLst/>
                <a:uLnTx/>
                <a:uFillTx/>
                <a:latin typeface="Calibri"/>
                <a:ea typeface="+mn-ea"/>
                <a:cs typeface="Calibri"/>
              </a:rPr>
              <a:t>2</a:t>
            </a:r>
            <a:endParaRPr kumimoji="0" sz="800" b="0" i="0" u="none" strike="noStrike" kern="0" cap="none" spc="0" normalizeH="0" baseline="0" noProof="0">
              <a:ln>
                <a:noFill/>
              </a:ln>
              <a:solidFill>
                <a:sysClr val="windowText" lastClr="000000"/>
              </a:solidFill>
              <a:effectLst/>
              <a:uLnTx/>
              <a:uFillTx/>
              <a:latin typeface="Calibri"/>
              <a:ea typeface="+mn-ea"/>
              <a:cs typeface="Calibri"/>
            </a:endParaRPr>
          </a:p>
          <a:p>
            <a:pPr marL="43815" marR="0" lvl="0" indent="0" algn="l" defTabSz="914400" rtl="0" eaLnBrk="1" fontAlgn="auto" latinLnBrk="0" hangingPunct="1">
              <a:lnSpc>
                <a:spcPct val="100000"/>
              </a:lnSpc>
              <a:spcBef>
                <a:spcPts val="375"/>
              </a:spcBef>
              <a:spcAft>
                <a:spcPts val="0"/>
              </a:spcAft>
              <a:buClrTx/>
              <a:buSzTx/>
              <a:buFontTx/>
              <a:buNone/>
              <a:tabLst/>
              <a:defRPr/>
            </a:pPr>
            <a:r>
              <a:rPr kumimoji="0" sz="800" b="0" i="0" u="none" strike="noStrike" kern="0" cap="none" spc="-5" normalizeH="0" baseline="0" noProof="0" dirty="0">
                <a:ln>
                  <a:noFill/>
                </a:ln>
                <a:solidFill>
                  <a:sysClr val="windowText" lastClr="000000"/>
                </a:solidFill>
                <a:effectLst/>
                <a:uLnTx/>
                <a:uFillTx/>
                <a:latin typeface="Calibri"/>
                <a:ea typeface="+mn-ea"/>
                <a:cs typeface="Calibri"/>
              </a:rPr>
              <a:t>1</a:t>
            </a:r>
            <a:endParaRPr kumimoji="0" sz="800" b="0" i="0" u="none" strike="noStrike" kern="0" cap="none" spc="0" normalizeH="0" baseline="0" noProof="0">
              <a:ln>
                <a:noFill/>
              </a:ln>
              <a:solidFill>
                <a:sysClr val="windowText" lastClr="000000"/>
              </a:solidFill>
              <a:effectLst/>
              <a:uLnTx/>
              <a:uFillTx/>
              <a:latin typeface="Calibri"/>
              <a:ea typeface="+mn-ea"/>
              <a:cs typeface="Calibri"/>
            </a:endParaRPr>
          </a:p>
          <a:p>
            <a:pPr marL="43815" marR="0" lvl="0" indent="0" algn="l" defTabSz="914400" rtl="0" eaLnBrk="1" fontAlgn="auto" latinLnBrk="0" hangingPunct="1">
              <a:lnSpc>
                <a:spcPct val="100000"/>
              </a:lnSpc>
              <a:spcBef>
                <a:spcPts val="375"/>
              </a:spcBef>
              <a:spcAft>
                <a:spcPts val="0"/>
              </a:spcAft>
              <a:buClrTx/>
              <a:buSzTx/>
              <a:buFontTx/>
              <a:buNone/>
              <a:tabLst/>
              <a:defRPr/>
            </a:pPr>
            <a:r>
              <a:rPr kumimoji="0" sz="800" b="0" i="0" u="none" strike="noStrike" kern="0" cap="none" spc="-5" normalizeH="0" baseline="0" noProof="0" dirty="0">
                <a:ln>
                  <a:noFill/>
                </a:ln>
                <a:solidFill>
                  <a:sysClr val="windowText" lastClr="000000"/>
                </a:solidFill>
                <a:effectLst/>
                <a:uLnTx/>
                <a:uFillTx/>
                <a:latin typeface="Calibri"/>
                <a:ea typeface="+mn-ea"/>
                <a:cs typeface="Calibri"/>
              </a:rPr>
              <a:t>0</a:t>
            </a:r>
            <a:endParaRPr kumimoji="0" sz="800" b="0" i="0" u="none" strike="noStrike" kern="0" cap="none" spc="0" normalizeH="0" baseline="0" noProof="0">
              <a:ln>
                <a:noFill/>
              </a:ln>
              <a:solidFill>
                <a:sysClr val="windowText" lastClr="000000"/>
              </a:solidFill>
              <a:effectLst/>
              <a:uLnTx/>
              <a:uFillTx/>
              <a:latin typeface="Calibri"/>
              <a:ea typeface="+mn-ea"/>
              <a:cs typeface="Calibri"/>
            </a:endParaRPr>
          </a:p>
          <a:p>
            <a:pPr marL="12700" marR="0" lvl="0" indent="0" algn="l" defTabSz="914400" rtl="0" eaLnBrk="1" fontAlgn="auto" latinLnBrk="0" hangingPunct="1">
              <a:lnSpc>
                <a:spcPct val="100000"/>
              </a:lnSpc>
              <a:spcBef>
                <a:spcPts val="375"/>
              </a:spcBef>
              <a:spcAft>
                <a:spcPts val="0"/>
              </a:spcAft>
              <a:buClrTx/>
              <a:buSzTx/>
              <a:buFontTx/>
              <a:buNone/>
              <a:tabLst/>
              <a:defRPr/>
            </a:pPr>
            <a:r>
              <a:rPr kumimoji="0" sz="800" b="0" i="0" u="none" strike="noStrike" kern="0" cap="none" spc="-10" normalizeH="0" baseline="0" noProof="0" dirty="0">
                <a:ln>
                  <a:noFill/>
                </a:ln>
                <a:solidFill>
                  <a:sysClr val="windowText" lastClr="000000"/>
                </a:solidFill>
                <a:effectLst/>
                <a:uLnTx/>
                <a:uFillTx/>
                <a:latin typeface="Calibri"/>
                <a:ea typeface="+mn-ea"/>
                <a:cs typeface="Calibri"/>
              </a:rPr>
              <a:t>-</a:t>
            </a:r>
            <a:r>
              <a:rPr kumimoji="0" sz="800" b="0" i="0" u="none" strike="noStrike" kern="0" cap="none" spc="-50" normalizeH="0" baseline="0" noProof="0" dirty="0">
                <a:ln>
                  <a:noFill/>
                </a:ln>
                <a:solidFill>
                  <a:sysClr val="windowText" lastClr="000000"/>
                </a:solidFill>
                <a:effectLst/>
                <a:uLnTx/>
                <a:uFillTx/>
                <a:latin typeface="Calibri"/>
                <a:ea typeface="+mn-ea"/>
                <a:cs typeface="Calibri"/>
              </a:rPr>
              <a:t>1</a:t>
            </a:r>
            <a:endParaRPr kumimoji="0" sz="800" b="0" i="0" u="none" strike="noStrike" kern="0" cap="none" spc="0" normalizeH="0" baseline="0" noProof="0">
              <a:ln>
                <a:noFill/>
              </a:ln>
              <a:solidFill>
                <a:sysClr val="windowText" lastClr="000000"/>
              </a:solidFill>
              <a:effectLst/>
              <a:uLnTx/>
              <a:uFillTx/>
              <a:latin typeface="Calibri"/>
              <a:ea typeface="+mn-ea"/>
              <a:cs typeface="Calibri"/>
            </a:endParaRPr>
          </a:p>
          <a:p>
            <a:pPr marL="12700" marR="0" lvl="0" indent="0" algn="l" defTabSz="914400" rtl="0" eaLnBrk="1" fontAlgn="auto" latinLnBrk="0" hangingPunct="1">
              <a:lnSpc>
                <a:spcPct val="100000"/>
              </a:lnSpc>
              <a:spcBef>
                <a:spcPts val="375"/>
              </a:spcBef>
              <a:spcAft>
                <a:spcPts val="0"/>
              </a:spcAft>
              <a:buClrTx/>
              <a:buSzTx/>
              <a:buFontTx/>
              <a:buNone/>
              <a:tabLst/>
              <a:defRPr/>
            </a:pPr>
            <a:r>
              <a:rPr kumimoji="0" sz="800" b="0" i="0" u="none" strike="noStrike" kern="0" cap="none" spc="-10" normalizeH="0" baseline="0" noProof="0" dirty="0">
                <a:ln>
                  <a:noFill/>
                </a:ln>
                <a:solidFill>
                  <a:sysClr val="windowText" lastClr="000000"/>
                </a:solidFill>
                <a:effectLst/>
                <a:uLnTx/>
                <a:uFillTx/>
                <a:latin typeface="Calibri"/>
                <a:ea typeface="+mn-ea"/>
                <a:cs typeface="Calibri"/>
              </a:rPr>
              <a:t>-</a:t>
            </a:r>
            <a:r>
              <a:rPr kumimoji="0" sz="800" b="0" i="0" u="none" strike="noStrike" kern="0" cap="none" spc="-50" normalizeH="0" baseline="0" noProof="0" dirty="0">
                <a:ln>
                  <a:noFill/>
                </a:ln>
                <a:solidFill>
                  <a:sysClr val="windowText" lastClr="000000"/>
                </a:solidFill>
                <a:effectLst/>
                <a:uLnTx/>
                <a:uFillTx/>
                <a:latin typeface="Calibri"/>
                <a:ea typeface="+mn-ea"/>
                <a:cs typeface="Calibri"/>
              </a:rPr>
              <a:t>2</a:t>
            </a:r>
            <a:endParaRPr kumimoji="0" sz="800" b="0" i="0" u="none" strike="noStrike" kern="0" cap="none" spc="0" normalizeH="0" baseline="0" noProof="0">
              <a:ln>
                <a:noFill/>
              </a:ln>
              <a:solidFill>
                <a:sysClr val="windowText" lastClr="000000"/>
              </a:solidFill>
              <a:effectLst/>
              <a:uLnTx/>
              <a:uFillTx/>
              <a:latin typeface="Calibri"/>
              <a:ea typeface="+mn-ea"/>
              <a:cs typeface="Calibri"/>
            </a:endParaRPr>
          </a:p>
        </p:txBody>
      </p:sp>
      <p:grpSp>
        <p:nvGrpSpPr>
          <p:cNvPr id="45" name="object 45"/>
          <p:cNvGrpSpPr/>
          <p:nvPr/>
        </p:nvGrpSpPr>
        <p:grpSpPr>
          <a:xfrm>
            <a:off x="835996" y="2413062"/>
            <a:ext cx="8801735" cy="2716530"/>
            <a:chOff x="835996" y="2413062"/>
            <a:chExt cx="8801735" cy="2716530"/>
          </a:xfrm>
        </p:grpSpPr>
        <p:sp>
          <p:nvSpPr>
            <p:cNvPr id="46" name="object 46"/>
            <p:cNvSpPr/>
            <p:nvPr/>
          </p:nvSpPr>
          <p:spPr>
            <a:xfrm>
              <a:off x="835996" y="3297744"/>
              <a:ext cx="1757680" cy="900430"/>
            </a:xfrm>
            <a:custGeom>
              <a:avLst/>
              <a:gdLst/>
              <a:ahLst/>
              <a:cxnLst/>
              <a:rect l="l" t="t" r="r" b="b"/>
              <a:pathLst>
                <a:path w="1757680" h="900429">
                  <a:moveTo>
                    <a:pt x="1757141" y="0"/>
                  </a:moveTo>
                  <a:lnTo>
                    <a:pt x="0" y="0"/>
                  </a:lnTo>
                  <a:lnTo>
                    <a:pt x="0" y="900212"/>
                  </a:lnTo>
                  <a:lnTo>
                    <a:pt x="1757141" y="900212"/>
                  </a:lnTo>
                  <a:lnTo>
                    <a:pt x="1757141"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7" name="object 47"/>
            <p:cNvSpPr/>
            <p:nvPr/>
          </p:nvSpPr>
          <p:spPr>
            <a:xfrm>
              <a:off x="917274" y="3410229"/>
              <a:ext cx="1564005" cy="675640"/>
            </a:xfrm>
            <a:custGeom>
              <a:avLst/>
              <a:gdLst/>
              <a:ahLst/>
              <a:cxnLst/>
              <a:rect l="l" t="t" r="r" b="b"/>
              <a:pathLst>
                <a:path w="1564005" h="675639">
                  <a:moveTo>
                    <a:pt x="30962" y="675159"/>
                  </a:moveTo>
                  <a:lnTo>
                    <a:pt x="30962" y="0"/>
                  </a:lnTo>
                </a:path>
                <a:path w="1564005" h="675639">
                  <a:moveTo>
                    <a:pt x="0" y="675159"/>
                  </a:moveTo>
                  <a:lnTo>
                    <a:pt x="30962" y="675159"/>
                  </a:lnTo>
                </a:path>
                <a:path w="1564005" h="675639">
                  <a:moveTo>
                    <a:pt x="0" y="341460"/>
                  </a:moveTo>
                  <a:lnTo>
                    <a:pt x="30962" y="341460"/>
                  </a:lnTo>
                </a:path>
                <a:path w="1564005" h="675639">
                  <a:moveTo>
                    <a:pt x="0" y="0"/>
                  </a:moveTo>
                  <a:lnTo>
                    <a:pt x="30962" y="0"/>
                  </a:lnTo>
                </a:path>
                <a:path w="1564005" h="675639">
                  <a:moveTo>
                    <a:pt x="30962" y="341460"/>
                  </a:moveTo>
                  <a:lnTo>
                    <a:pt x="1563675" y="341460"/>
                  </a:lnTo>
                </a:path>
              </a:pathLst>
            </a:custGeom>
            <a:ln w="7758">
              <a:solidFill>
                <a:srgbClr val="85858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8" name="object 48"/>
            <p:cNvSpPr/>
            <p:nvPr/>
          </p:nvSpPr>
          <p:spPr>
            <a:xfrm>
              <a:off x="3073062" y="3297744"/>
              <a:ext cx="1881505" cy="900430"/>
            </a:xfrm>
            <a:custGeom>
              <a:avLst/>
              <a:gdLst/>
              <a:ahLst/>
              <a:cxnLst/>
              <a:rect l="l" t="t" r="r" b="b"/>
              <a:pathLst>
                <a:path w="1881504" h="900429">
                  <a:moveTo>
                    <a:pt x="1880992" y="0"/>
                  </a:moveTo>
                  <a:lnTo>
                    <a:pt x="0" y="0"/>
                  </a:lnTo>
                  <a:lnTo>
                    <a:pt x="0" y="900212"/>
                  </a:lnTo>
                  <a:lnTo>
                    <a:pt x="1880992" y="900212"/>
                  </a:lnTo>
                  <a:lnTo>
                    <a:pt x="1880992"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9" name="object 49"/>
            <p:cNvSpPr/>
            <p:nvPr/>
          </p:nvSpPr>
          <p:spPr>
            <a:xfrm>
              <a:off x="3278242" y="3410229"/>
              <a:ext cx="31115" cy="675640"/>
            </a:xfrm>
            <a:custGeom>
              <a:avLst/>
              <a:gdLst/>
              <a:ahLst/>
              <a:cxnLst/>
              <a:rect l="l" t="t" r="r" b="b"/>
              <a:pathLst>
                <a:path w="31114" h="675639">
                  <a:moveTo>
                    <a:pt x="30962" y="675159"/>
                  </a:moveTo>
                  <a:lnTo>
                    <a:pt x="30962" y="0"/>
                  </a:lnTo>
                </a:path>
                <a:path w="31114" h="675639">
                  <a:moveTo>
                    <a:pt x="0" y="675159"/>
                  </a:moveTo>
                  <a:lnTo>
                    <a:pt x="30962" y="675159"/>
                  </a:lnTo>
                </a:path>
                <a:path w="31114" h="675639">
                  <a:moveTo>
                    <a:pt x="0" y="341460"/>
                  </a:moveTo>
                  <a:lnTo>
                    <a:pt x="30962" y="341460"/>
                  </a:lnTo>
                </a:path>
                <a:path w="31114" h="675639">
                  <a:moveTo>
                    <a:pt x="0" y="0"/>
                  </a:moveTo>
                  <a:lnTo>
                    <a:pt x="30962" y="0"/>
                  </a:lnTo>
                </a:path>
              </a:pathLst>
            </a:custGeom>
            <a:ln w="7758">
              <a:solidFill>
                <a:srgbClr val="85858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0" name="object 50"/>
            <p:cNvSpPr/>
            <p:nvPr/>
          </p:nvSpPr>
          <p:spPr>
            <a:xfrm>
              <a:off x="3309205" y="3751689"/>
              <a:ext cx="1532890" cy="0"/>
            </a:xfrm>
            <a:custGeom>
              <a:avLst/>
              <a:gdLst/>
              <a:ahLst/>
              <a:cxnLst/>
              <a:rect l="l" t="t" r="r" b="b"/>
              <a:pathLst>
                <a:path w="1532889">
                  <a:moveTo>
                    <a:pt x="0" y="0"/>
                  </a:moveTo>
                  <a:lnTo>
                    <a:pt x="1056555" y="0"/>
                  </a:lnTo>
                </a:path>
                <a:path w="1532889">
                  <a:moveTo>
                    <a:pt x="1412628" y="0"/>
                  </a:moveTo>
                  <a:lnTo>
                    <a:pt x="1532660" y="0"/>
                  </a:lnTo>
                </a:path>
              </a:pathLst>
            </a:custGeom>
            <a:ln w="7768">
              <a:solidFill>
                <a:srgbClr val="85858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1" name="object 51"/>
            <p:cNvSpPr/>
            <p:nvPr/>
          </p:nvSpPr>
          <p:spPr>
            <a:xfrm>
              <a:off x="4365752" y="3713721"/>
              <a:ext cx="356235" cy="62230"/>
            </a:xfrm>
            <a:custGeom>
              <a:avLst/>
              <a:gdLst/>
              <a:ahLst/>
              <a:cxnLst/>
              <a:rect l="l" t="t" r="r" b="b"/>
              <a:pathLst>
                <a:path w="356235" h="62229">
                  <a:moveTo>
                    <a:pt x="356069" y="0"/>
                  </a:moveTo>
                  <a:lnTo>
                    <a:pt x="356069" y="0"/>
                  </a:lnTo>
                  <a:lnTo>
                    <a:pt x="0" y="0"/>
                  </a:lnTo>
                  <a:lnTo>
                    <a:pt x="0" y="62077"/>
                  </a:lnTo>
                  <a:lnTo>
                    <a:pt x="356069" y="62077"/>
                  </a:lnTo>
                  <a:lnTo>
                    <a:pt x="356069" y="0"/>
                  </a:lnTo>
                  <a:close/>
                </a:path>
              </a:pathLst>
            </a:custGeom>
            <a:solidFill>
              <a:srgbClr val="2A01B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2" name="object 52"/>
            <p:cNvSpPr/>
            <p:nvPr/>
          </p:nvSpPr>
          <p:spPr>
            <a:xfrm>
              <a:off x="5426238" y="3297744"/>
              <a:ext cx="1881505" cy="900430"/>
            </a:xfrm>
            <a:custGeom>
              <a:avLst/>
              <a:gdLst/>
              <a:ahLst/>
              <a:cxnLst/>
              <a:rect l="l" t="t" r="r" b="b"/>
              <a:pathLst>
                <a:path w="1881504" h="900429">
                  <a:moveTo>
                    <a:pt x="1880992" y="0"/>
                  </a:moveTo>
                  <a:lnTo>
                    <a:pt x="0" y="0"/>
                  </a:lnTo>
                  <a:lnTo>
                    <a:pt x="0" y="900212"/>
                  </a:lnTo>
                  <a:lnTo>
                    <a:pt x="1880992" y="900212"/>
                  </a:lnTo>
                  <a:lnTo>
                    <a:pt x="1880992"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3" name="object 53"/>
            <p:cNvSpPr/>
            <p:nvPr/>
          </p:nvSpPr>
          <p:spPr>
            <a:xfrm>
              <a:off x="5631418" y="3410229"/>
              <a:ext cx="31115" cy="675640"/>
            </a:xfrm>
            <a:custGeom>
              <a:avLst/>
              <a:gdLst/>
              <a:ahLst/>
              <a:cxnLst/>
              <a:rect l="l" t="t" r="r" b="b"/>
              <a:pathLst>
                <a:path w="31114" h="675639">
                  <a:moveTo>
                    <a:pt x="30962" y="675159"/>
                  </a:moveTo>
                  <a:lnTo>
                    <a:pt x="30962" y="0"/>
                  </a:lnTo>
                </a:path>
                <a:path w="31114" h="675639">
                  <a:moveTo>
                    <a:pt x="0" y="675159"/>
                  </a:moveTo>
                  <a:lnTo>
                    <a:pt x="30962" y="675159"/>
                  </a:lnTo>
                </a:path>
                <a:path w="31114" h="675639">
                  <a:moveTo>
                    <a:pt x="0" y="341460"/>
                  </a:moveTo>
                  <a:lnTo>
                    <a:pt x="30962" y="341460"/>
                  </a:lnTo>
                </a:path>
                <a:path w="31114" h="675639">
                  <a:moveTo>
                    <a:pt x="0" y="0"/>
                  </a:moveTo>
                  <a:lnTo>
                    <a:pt x="30962" y="0"/>
                  </a:lnTo>
                </a:path>
              </a:pathLst>
            </a:custGeom>
            <a:ln w="7758">
              <a:solidFill>
                <a:srgbClr val="85858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4" name="object 54"/>
            <p:cNvSpPr/>
            <p:nvPr/>
          </p:nvSpPr>
          <p:spPr>
            <a:xfrm>
              <a:off x="5662381" y="3751689"/>
              <a:ext cx="1532890" cy="0"/>
            </a:xfrm>
            <a:custGeom>
              <a:avLst/>
              <a:gdLst/>
              <a:ahLst/>
              <a:cxnLst/>
              <a:rect l="l" t="t" r="r" b="b"/>
              <a:pathLst>
                <a:path w="1532890">
                  <a:moveTo>
                    <a:pt x="0" y="0"/>
                  </a:moveTo>
                  <a:lnTo>
                    <a:pt x="1058103" y="0"/>
                  </a:lnTo>
                </a:path>
                <a:path w="1532890">
                  <a:moveTo>
                    <a:pt x="1414176" y="0"/>
                  </a:moveTo>
                  <a:lnTo>
                    <a:pt x="1532660" y="0"/>
                  </a:lnTo>
                </a:path>
              </a:pathLst>
            </a:custGeom>
            <a:ln w="7768">
              <a:solidFill>
                <a:srgbClr val="85858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5" name="object 55"/>
            <p:cNvSpPr/>
            <p:nvPr/>
          </p:nvSpPr>
          <p:spPr>
            <a:xfrm>
              <a:off x="6720484" y="3713721"/>
              <a:ext cx="356235" cy="62230"/>
            </a:xfrm>
            <a:custGeom>
              <a:avLst/>
              <a:gdLst/>
              <a:ahLst/>
              <a:cxnLst/>
              <a:rect l="l" t="t" r="r" b="b"/>
              <a:pathLst>
                <a:path w="356234" h="62229">
                  <a:moveTo>
                    <a:pt x="356069" y="0"/>
                  </a:moveTo>
                  <a:lnTo>
                    <a:pt x="356069" y="0"/>
                  </a:lnTo>
                  <a:lnTo>
                    <a:pt x="0" y="0"/>
                  </a:lnTo>
                  <a:lnTo>
                    <a:pt x="0" y="62077"/>
                  </a:lnTo>
                  <a:lnTo>
                    <a:pt x="356069" y="62077"/>
                  </a:lnTo>
                  <a:lnTo>
                    <a:pt x="356069" y="0"/>
                  </a:lnTo>
                  <a:close/>
                </a:path>
              </a:pathLst>
            </a:custGeom>
            <a:solidFill>
              <a:srgbClr val="FB041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56" name="object 56"/>
            <p:cNvPicPr/>
            <p:nvPr/>
          </p:nvPicPr>
          <p:blipFill>
            <a:blip r:embed="rId5" cstate="print"/>
            <a:stretch>
              <a:fillRect/>
            </a:stretch>
          </p:blipFill>
          <p:spPr>
            <a:xfrm>
              <a:off x="7996154" y="2537230"/>
              <a:ext cx="1315920" cy="240574"/>
            </a:xfrm>
            <a:prstGeom prst="rect">
              <a:avLst/>
            </a:prstGeom>
          </p:spPr>
        </p:pic>
        <p:sp>
          <p:nvSpPr>
            <p:cNvPr id="57" name="object 57"/>
            <p:cNvSpPr/>
            <p:nvPr/>
          </p:nvSpPr>
          <p:spPr>
            <a:xfrm>
              <a:off x="8986965" y="2413062"/>
              <a:ext cx="325120" cy="124460"/>
            </a:xfrm>
            <a:custGeom>
              <a:avLst/>
              <a:gdLst/>
              <a:ahLst/>
              <a:cxnLst/>
              <a:rect l="l" t="t" r="r" b="b"/>
              <a:pathLst>
                <a:path w="325120" h="124460">
                  <a:moveTo>
                    <a:pt x="325109" y="0"/>
                  </a:moveTo>
                  <a:lnTo>
                    <a:pt x="0" y="0"/>
                  </a:lnTo>
                  <a:lnTo>
                    <a:pt x="162554" y="124167"/>
                  </a:lnTo>
                  <a:lnTo>
                    <a:pt x="325109" y="0"/>
                  </a:lnTo>
                  <a:close/>
                </a:path>
              </a:pathLst>
            </a:custGeom>
            <a:solidFill>
              <a:srgbClr val="92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8" name="object 58"/>
            <p:cNvSpPr/>
            <p:nvPr/>
          </p:nvSpPr>
          <p:spPr>
            <a:xfrm>
              <a:off x="7756192" y="4228993"/>
              <a:ext cx="1881505" cy="900430"/>
            </a:xfrm>
            <a:custGeom>
              <a:avLst/>
              <a:gdLst/>
              <a:ahLst/>
              <a:cxnLst/>
              <a:rect l="l" t="t" r="r" b="b"/>
              <a:pathLst>
                <a:path w="1881504" h="900429">
                  <a:moveTo>
                    <a:pt x="1880992" y="0"/>
                  </a:moveTo>
                  <a:lnTo>
                    <a:pt x="0" y="0"/>
                  </a:lnTo>
                  <a:lnTo>
                    <a:pt x="0" y="900212"/>
                  </a:lnTo>
                  <a:lnTo>
                    <a:pt x="1880992" y="900212"/>
                  </a:lnTo>
                  <a:lnTo>
                    <a:pt x="1880992"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9" name="object 59"/>
            <p:cNvSpPr/>
            <p:nvPr/>
          </p:nvSpPr>
          <p:spPr>
            <a:xfrm>
              <a:off x="7969113" y="4341525"/>
              <a:ext cx="1556385" cy="675640"/>
            </a:xfrm>
            <a:custGeom>
              <a:avLst/>
              <a:gdLst/>
              <a:ahLst/>
              <a:cxnLst/>
              <a:rect l="l" t="t" r="r" b="b"/>
              <a:pathLst>
                <a:path w="1556384" h="675639">
                  <a:moveTo>
                    <a:pt x="38703" y="675159"/>
                  </a:moveTo>
                  <a:lnTo>
                    <a:pt x="1555882" y="675159"/>
                  </a:lnTo>
                </a:path>
                <a:path w="1556384" h="675639">
                  <a:moveTo>
                    <a:pt x="38703" y="504429"/>
                  </a:moveTo>
                  <a:lnTo>
                    <a:pt x="1555882" y="504429"/>
                  </a:lnTo>
                </a:path>
                <a:path w="1556384" h="675639">
                  <a:moveTo>
                    <a:pt x="38703" y="170730"/>
                  </a:moveTo>
                  <a:lnTo>
                    <a:pt x="1555882" y="170730"/>
                  </a:lnTo>
                </a:path>
                <a:path w="1556384" h="675639">
                  <a:moveTo>
                    <a:pt x="38703" y="0"/>
                  </a:moveTo>
                  <a:lnTo>
                    <a:pt x="1555882" y="0"/>
                  </a:lnTo>
                </a:path>
                <a:path w="1556384" h="675639">
                  <a:moveTo>
                    <a:pt x="38703" y="675159"/>
                  </a:moveTo>
                  <a:lnTo>
                    <a:pt x="38703" y="0"/>
                  </a:lnTo>
                </a:path>
                <a:path w="1556384" h="675639">
                  <a:moveTo>
                    <a:pt x="0" y="675159"/>
                  </a:moveTo>
                  <a:lnTo>
                    <a:pt x="38703" y="675159"/>
                  </a:lnTo>
                </a:path>
                <a:path w="1556384" h="675639">
                  <a:moveTo>
                    <a:pt x="0" y="504429"/>
                  </a:moveTo>
                  <a:lnTo>
                    <a:pt x="38703" y="504429"/>
                  </a:lnTo>
                </a:path>
                <a:path w="1556384" h="675639">
                  <a:moveTo>
                    <a:pt x="0" y="341460"/>
                  </a:moveTo>
                  <a:lnTo>
                    <a:pt x="38703" y="341460"/>
                  </a:lnTo>
                </a:path>
                <a:path w="1556384" h="675639">
                  <a:moveTo>
                    <a:pt x="0" y="170730"/>
                  </a:moveTo>
                  <a:lnTo>
                    <a:pt x="38703" y="170730"/>
                  </a:lnTo>
                </a:path>
                <a:path w="1556384" h="675639">
                  <a:moveTo>
                    <a:pt x="0" y="0"/>
                  </a:moveTo>
                  <a:lnTo>
                    <a:pt x="38703" y="0"/>
                  </a:lnTo>
                </a:path>
                <a:path w="1556384" h="675639">
                  <a:moveTo>
                    <a:pt x="38703" y="341460"/>
                  </a:moveTo>
                  <a:lnTo>
                    <a:pt x="1555882" y="341460"/>
                  </a:lnTo>
                </a:path>
              </a:pathLst>
            </a:custGeom>
            <a:ln w="7758">
              <a:solidFill>
                <a:srgbClr val="85858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0" name="object 60"/>
            <p:cNvSpPr/>
            <p:nvPr/>
          </p:nvSpPr>
          <p:spPr>
            <a:xfrm>
              <a:off x="8005432" y="4660480"/>
              <a:ext cx="1176655" cy="372745"/>
            </a:xfrm>
            <a:custGeom>
              <a:avLst/>
              <a:gdLst/>
              <a:ahLst/>
              <a:cxnLst/>
              <a:rect l="l" t="t" r="r" b="b"/>
              <a:pathLst>
                <a:path w="1176654" h="372745">
                  <a:moveTo>
                    <a:pt x="456704" y="6946"/>
                  </a:moveTo>
                  <a:lnTo>
                    <a:pt x="449795" y="0"/>
                  </a:lnTo>
                  <a:lnTo>
                    <a:pt x="434314" y="0"/>
                  </a:lnTo>
                  <a:lnTo>
                    <a:pt x="432663" y="0"/>
                  </a:lnTo>
                  <a:lnTo>
                    <a:pt x="6921" y="0"/>
                  </a:lnTo>
                  <a:lnTo>
                    <a:pt x="0" y="6946"/>
                  </a:lnTo>
                  <a:lnTo>
                    <a:pt x="0" y="24091"/>
                  </a:lnTo>
                  <a:lnTo>
                    <a:pt x="6921" y="31038"/>
                  </a:lnTo>
                  <a:lnTo>
                    <a:pt x="22402" y="31038"/>
                  </a:lnTo>
                  <a:lnTo>
                    <a:pt x="24053" y="31038"/>
                  </a:lnTo>
                  <a:lnTo>
                    <a:pt x="449795" y="31038"/>
                  </a:lnTo>
                  <a:lnTo>
                    <a:pt x="456704" y="24091"/>
                  </a:lnTo>
                  <a:lnTo>
                    <a:pt x="456704" y="15519"/>
                  </a:lnTo>
                  <a:lnTo>
                    <a:pt x="456704" y="6946"/>
                  </a:lnTo>
                  <a:close/>
                </a:path>
                <a:path w="1176654" h="372745">
                  <a:moveTo>
                    <a:pt x="1083703" y="6946"/>
                  </a:moveTo>
                  <a:lnTo>
                    <a:pt x="1076794" y="0"/>
                  </a:lnTo>
                  <a:lnTo>
                    <a:pt x="1061313" y="0"/>
                  </a:lnTo>
                  <a:lnTo>
                    <a:pt x="1059649" y="0"/>
                  </a:lnTo>
                  <a:lnTo>
                    <a:pt x="525551" y="0"/>
                  </a:lnTo>
                  <a:lnTo>
                    <a:pt x="518629" y="6946"/>
                  </a:lnTo>
                  <a:lnTo>
                    <a:pt x="518629" y="24091"/>
                  </a:lnTo>
                  <a:lnTo>
                    <a:pt x="525551" y="31038"/>
                  </a:lnTo>
                  <a:lnTo>
                    <a:pt x="541032" y="31038"/>
                  </a:lnTo>
                  <a:lnTo>
                    <a:pt x="542683" y="31038"/>
                  </a:lnTo>
                  <a:lnTo>
                    <a:pt x="1076794" y="31038"/>
                  </a:lnTo>
                  <a:lnTo>
                    <a:pt x="1083703" y="24091"/>
                  </a:lnTo>
                  <a:lnTo>
                    <a:pt x="1083703" y="15519"/>
                  </a:lnTo>
                  <a:lnTo>
                    <a:pt x="1083703" y="6946"/>
                  </a:lnTo>
                  <a:close/>
                </a:path>
                <a:path w="1176654" h="372745">
                  <a:moveTo>
                    <a:pt x="1176591" y="348411"/>
                  </a:moveTo>
                  <a:lnTo>
                    <a:pt x="1169682" y="341452"/>
                  </a:lnTo>
                  <a:lnTo>
                    <a:pt x="1154201" y="341452"/>
                  </a:lnTo>
                  <a:lnTo>
                    <a:pt x="1152550" y="341452"/>
                  </a:lnTo>
                  <a:lnTo>
                    <a:pt x="1075131" y="341452"/>
                  </a:lnTo>
                  <a:lnTo>
                    <a:pt x="1068222" y="348411"/>
                  </a:lnTo>
                  <a:lnTo>
                    <a:pt x="1068222" y="365556"/>
                  </a:lnTo>
                  <a:lnTo>
                    <a:pt x="1075131" y="372491"/>
                  </a:lnTo>
                  <a:lnTo>
                    <a:pt x="1090612" y="372491"/>
                  </a:lnTo>
                  <a:lnTo>
                    <a:pt x="1092276" y="372491"/>
                  </a:lnTo>
                  <a:lnTo>
                    <a:pt x="1169682" y="372491"/>
                  </a:lnTo>
                  <a:lnTo>
                    <a:pt x="1176591" y="365556"/>
                  </a:lnTo>
                  <a:lnTo>
                    <a:pt x="1176591" y="356971"/>
                  </a:lnTo>
                  <a:lnTo>
                    <a:pt x="1176591" y="348411"/>
                  </a:lnTo>
                  <a:close/>
                </a:path>
              </a:pathLst>
            </a:custGeom>
            <a:solidFill>
              <a:srgbClr val="94373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1" name="object 61"/>
            <p:cNvSpPr/>
            <p:nvPr/>
          </p:nvSpPr>
          <p:spPr>
            <a:xfrm>
              <a:off x="9151061" y="4660480"/>
              <a:ext cx="394970" cy="372745"/>
            </a:xfrm>
            <a:custGeom>
              <a:avLst/>
              <a:gdLst/>
              <a:ahLst/>
              <a:cxnLst/>
              <a:rect l="l" t="t" r="r" b="b"/>
              <a:pathLst>
                <a:path w="394970" h="372745">
                  <a:moveTo>
                    <a:pt x="239966" y="348411"/>
                  </a:moveTo>
                  <a:lnTo>
                    <a:pt x="233045" y="341452"/>
                  </a:lnTo>
                  <a:lnTo>
                    <a:pt x="217563" y="341452"/>
                  </a:lnTo>
                  <a:lnTo>
                    <a:pt x="215912" y="341452"/>
                  </a:lnTo>
                  <a:lnTo>
                    <a:pt x="6921" y="341452"/>
                  </a:lnTo>
                  <a:lnTo>
                    <a:pt x="0" y="348411"/>
                  </a:lnTo>
                  <a:lnTo>
                    <a:pt x="0" y="365556"/>
                  </a:lnTo>
                  <a:lnTo>
                    <a:pt x="6921" y="372491"/>
                  </a:lnTo>
                  <a:lnTo>
                    <a:pt x="22402" y="372491"/>
                  </a:lnTo>
                  <a:lnTo>
                    <a:pt x="24053" y="372491"/>
                  </a:lnTo>
                  <a:lnTo>
                    <a:pt x="233045" y="372491"/>
                  </a:lnTo>
                  <a:lnTo>
                    <a:pt x="239966" y="365556"/>
                  </a:lnTo>
                  <a:lnTo>
                    <a:pt x="239966" y="356971"/>
                  </a:lnTo>
                  <a:lnTo>
                    <a:pt x="239966" y="348411"/>
                  </a:lnTo>
                  <a:close/>
                </a:path>
                <a:path w="394970" h="372745">
                  <a:moveTo>
                    <a:pt x="394779" y="6946"/>
                  </a:moveTo>
                  <a:lnTo>
                    <a:pt x="387858" y="0"/>
                  </a:lnTo>
                  <a:lnTo>
                    <a:pt x="372376" y="0"/>
                  </a:lnTo>
                  <a:lnTo>
                    <a:pt x="370725" y="0"/>
                  </a:lnTo>
                  <a:lnTo>
                    <a:pt x="231394" y="0"/>
                  </a:lnTo>
                  <a:lnTo>
                    <a:pt x="224485" y="6946"/>
                  </a:lnTo>
                  <a:lnTo>
                    <a:pt x="224485" y="24091"/>
                  </a:lnTo>
                  <a:lnTo>
                    <a:pt x="231394" y="31038"/>
                  </a:lnTo>
                  <a:lnTo>
                    <a:pt x="246875" y="31038"/>
                  </a:lnTo>
                  <a:lnTo>
                    <a:pt x="248526" y="31038"/>
                  </a:lnTo>
                  <a:lnTo>
                    <a:pt x="387858" y="31038"/>
                  </a:lnTo>
                  <a:lnTo>
                    <a:pt x="394779" y="24091"/>
                  </a:lnTo>
                  <a:lnTo>
                    <a:pt x="394779" y="15519"/>
                  </a:lnTo>
                  <a:lnTo>
                    <a:pt x="394779" y="6946"/>
                  </a:lnTo>
                  <a:close/>
                </a:path>
              </a:pathLst>
            </a:custGeom>
            <a:solidFill>
              <a:srgbClr val="94373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62" name="object 62"/>
          <p:cNvSpPr txBox="1"/>
          <p:nvPr/>
        </p:nvSpPr>
        <p:spPr>
          <a:xfrm>
            <a:off x="7817080" y="4216847"/>
            <a:ext cx="108585" cy="873125"/>
          </a:xfrm>
          <a:prstGeom prst="rect">
            <a:avLst/>
          </a:prstGeom>
        </p:spPr>
        <p:txBody>
          <a:bodyPr vert="horz" wrap="square" lIns="0" tIns="60325" rIns="0" bIns="0" rtlCol="0">
            <a:spAutoFit/>
          </a:bodyPr>
          <a:lstStyle/>
          <a:p>
            <a:pPr marL="43815" marR="0" lvl="0" indent="0" algn="l" defTabSz="914400" rtl="0" eaLnBrk="1" fontAlgn="auto" latinLnBrk="0" hangingPunct="1">
              <a:lnSpc>
                <a:spcPct val="100000"/>
              </a:lnSpc>
              <a:spcBef>
                <a:spcPts val="475"/>
              </a:spcBef>
              <a:spcAft>
                <a:spcPts val="0"/>
              </a:spcAft>
              <a:buClrTx/>
              <a:buSzTx/>
              <a:buFontTx/>
              <a:buNone/>
              <a:tabLst/>
              <a:defRPr/>
            </a:pPr>
            <a:r>
              <a:rPr kumimoji="0" sz="800" b="0" i="0" u="none" strike="noStrike" kern="0" cap="none" spc="-5" normalizeH="0" baseline="0" noProof="0" dirty="0">
                <a:ln>
                  <a:noFill/>
                </a:ln>
                <a:solidFill>
                  <a:sysClr val="windowText" lastClr="000000"/>
                </a:solidFill>
                <a:effectLst/>
                <a:uLnTx/>
                <a:uFillTx/>
                <a:latin typeface="Calibri"/>
                <a:ea typeface="+mn-ea"/>
                <a:cs typeface="Calibri"/>
              </a:rPr>
              <a:t>2</a:t>
            </a:r>
            <a:endParaRPr kumimoji="0" sz="800" b="0" i="0" u="none" strike="noStrike" kern="0" cap="none" spc="0" normalizeH="0" baseline="0" noProof="0">
              <a:ln>
                <a:noFill/>
              </a:ln>
              <a:solidFill>
                <a:sysClr val="windowText" lastClr="000000"/>
              </a:solidFill>
              <a:effectLst/>
              <a:uLnTx/>
              <a:uFillTx/>
              <a:latin typeface="Calibri"/>
              <a:ea typeface="+mn-ea"/>
              <a:cs typeface="Calibri"/>
            </a:endParaRPr>
          </a:p>
          <a:p>
            <a:pPr marL="43815" marR="0" lvl="0" indent="0" algn="l" defTabSz="914400" rtl="0" eaLnBrk="1" fontAlgn="auto" latinLnBrk="0" hangingPunct="1">
              <a:lnSpc>
                <a:spcPct val="100000"/>
              </a:lnSpc>
              <a:spcBef>
                <a:spcPts val="375"/>
              </a:spcBef>
              <a:spcAft>
                <a:spcPts val="0"/>
              </a:spcAft>
              <a:buClrTx/>
              <a:buSzTx/>
              <a:buFontTx/>
              <a:buNone/>
              <a:tabLst/>
              <a:defRPr/>
            </a:pPr>
            <a:r>
              <a:rPr kumimoji="0" sz="800" b="0" i="0" u="none" strike="noStrike" kern="0" cap="none" spc="-5" normalizeH="0" baseline="0" noProof="0" dirty="0">
                <a:ln>
                  <a:noFill/>
                </a:ln>
                <a:solidFill>
                  <a:sysClr val="windowText" lastClr="000000"/>
                </a:solidFill>
                <a:effectLst/>
                <a:uLnTx/>
                <a:uFillTx/>
                <a:latin typeface="Calibri"/>
                <a:ea typeface="+mn-ea"/>
                <a:cs typeface="Calibri"/>
              </a:rPr>
              <a:t>1</a:t>
            </a:r>
            <a:endParaRPr kumimoji="0" sz="800" b="0" i="0" u="none" strike="noStrike" kern="0" cap="none" spc="0" normalizeH="0" baseline="0" noProof="0">
              <a:ln>
                <a:noFill/>
              </a:ln>
              <a:solidFill>
                <a:sysClr val="windowText" lastClr="000000"/>
              </a:solidFill>
              <a:effectLst/>
              <a:uLnTx/>
              <a:uFillTx/>
              <a:latin typeface="Calibri"/>
              <a:ea typeface="+mn-ea"/>
              <a:cs typeface="Calibri"/>
            </a:endParaRPr>
          </a:p>
          <a:p>
            <a:pPr marL="43815" marR="0" lvl="0" indent="0" algn="l" defTabSz="914400" rtl="0" eaLnBrk="1" fontAlgn="auto" latinLnBrk="0" hangingPunct="1">
              <a:lnSpc>
                <a:spcPct val="100000"/>
              </a:lnSpc>
              <a:spcBef>
                <a:spcPts val="375"/>
              </a:spcBef>
              <a:spcAft>
                <a:spcPts val="0"/>
              </a:spcAft>
              <a:buClrTx/>
              <a:buSzTx/>
              <a:buFontTx/>
              <a:buNone/>
              <a:tabLst/>
              <a:defRPr/>
            </a:pPr>
            <a:r>
              <a:rPr kumimoji="0" sz="800" b="0" i="0" u="none" strike="noStrike" kern="0" cap="none" spc="-5" normalizeH="0" baseline="0" noProof="0" dirty="0">
                <a:ln>
                  <a:noFill/>
                </a:ln>
                <a:solidFill>
                  <a:sysClr val="windowText" lastClr="000000"/>
                </a:solidFill>
                <a:effectLst/>
                <a:uLnTx/>
                <a:uFillTx/>
                <a:latin typeface="Calibri"/>
                <a:ea typeface="+mn-ea"/>
                <a:cs typeface="Calibri"/>
              </a:rPr>
              <a:t>0</a:t>
            </a:r>
            <a:endParaRPr kumimoji="0" sz="800" b="0" i="0" u="none" strike="noStrike" kern="0" cap="none" spc="0" normalizeH="0" baseline="0" noProof="0">
              <a:ln>
                <a:noFill/>
              </a:ln>
              <a:solidFill>
                <a:sysClr val="windowText" lastClr="000000"/>
              </a:solidFill>
              <a:effectLst/>
              <a:uLnTx/>
              <a:uFillTx/>
              <a:latin typeface="Calibri"/>
              <a:ea typeface="+mn-ea"/>
              <a:cs typeface="Calibri"/>
            </a:endParaRPr>
          </a:p>
          <a:p>
            <a:pPr marL="12700" marR="0" lvl="0" indent="0" algn="l" defTabSz="914400" rtl="0" eaLnBrk="1" fontAlgn="auto" latinLnBrk="0" hangingPunct="1">
              <a:lnSpc>
                <a:spcPct val="100000"/>
              </a:lnSpc>
              <a:spcBef>
                <a:spcPts val="375"/>
              </a:spcBef>
              <a:spcAft>
                <a:spcPts val="0"/>
              </a:spcAft>
              <a:buClrTx/>
              <a:buSzTx/>
              <a:buFontTx/>
              <a:buNone/>
              <a:tabLst/>
              <a:defRPr/>
            </a:pPr>
            <a:r>
              <a:rPr kumimoji="0" sz="800" b="0" i="0" u="none" strike="noStrike" kern="0" cap="none" spc="-10" normalizeH="0" baseline="0" noProof="0" dirty="0">
                <a:ln>
                  <a:noFill/>
                </a:ln>
                <a:solidFill>
                  <a:sysClr val="windowText" lastClr="000000"/>
                </a:solidFill>
                <a:effectLst/>
                <a:uLnTx/>
                <a:uFillTx/>
                <a:latin typeface="Calibri"/>
                <a:ea typeface="+mn-ea"/>
                <a:cs typeface="Calibri"/>
              </a:rPr>
              <a:t>-</a:t>
            </a:r>
            <a:r>
              <a:rPr kumimoji="0" sz="800" b="0" i="0" u="none" strike="noStrike" kern="0" cap="none" spc="-50" normalizeH="0" baseline="0" noProof="0" dirty="0">
                <a:ln>
                  <a:noFill/>
                </a:ln>
                <a:solidFill>
                  <a:sysClr val="windowText" lastClr="000000"/>
                </a:solidFill>
                <a:effectLst/>
                <a:uLnTx/>
                <a:uFillTx/>
                <a:latin typeface="Calibri"/>
                <a:ea typeface="+mn-ea"/>
                <a:cs typeface="Calibri"/>
              </a:rPr>
              <a:t>1</a:t>
            </a:r>
            <a:endParaRPr kumimoji="0" sz="800" b="0" i="0" u="none" strike="noStrike" kern="0" cap="none" spc="0" normalizeH="0" baseline="0" noProof="0">
              <a:ln>
                <a:noFill/>
              </a:ln>
              <a:solidFill>
                <a:sysClr val="windowText" lastClr="000000"/>
              </a:solidFill>
              <a:effectLst/>
              <a:uLnTx/>
              <a:uFillTx/>
              <a:latin typeface="Calibri"/>
              <a:ea typeface="+mn-ea"/>
              <a:cs typeface="Calibri"/>
            </a:endParaRPr>
          </a:p>
          <a:p>
            <a:pPr marL="12700" marR="0" lvl="0" indent="0" algn="l" defTabSz="914400" rtl="0" eaLnBrk="1" fontAlgn="auto" latinLnBrk="0" hangingPunct="1">
              <a:lnSpc>
                <a:spcPct val="100000"/>
              </a:lnSpc>
              <a:spcBef>
                <a:spcPts val="375"/>
              </a:spcBef>
              <a:spcAft>
                <a:spcPts val="0"/>
              </a:spcAft>
              <a:buClrTx/>
              <a:buSzTx/>
              <a:buFontTx/>
              <a:buNone/>
              <a:tabLst/>
              <a:defRPr/>
            </a:pPr>
            <a:r>
              <a:rPr kumimoji="0" sz="800" b="0" i="0" u="none" strike="noStrike" kern="0" cap="none" spc="-10" normalizeH="0" baseline="0" noProof="0" dirty="0">
                <a:ln>
                  <a:noFill/>
                </a:ln>
                <a:solidFill>
                  <a:sysClr val="windowText" lastClr="000000"/>
                </a:solidFill>
                <a:effectLst/>
                <a:uLnTx/>
                <a:uFillTx/>
                <a:latin typeface="Calibri"/>
                <a:ea typeface="+mn-ea"/>
                <a:cs typeface="Calibri"/>
              </a:rPr>
              <a:t>-</a:t>
            </a:r>
            <a:r>
              <a:rPr kumimoji="0" sz="800" b="0" i="0" u="none" strike="noStrike" kern="0" cap="none" spc="-50" normalizeH="0" baseline="0" noProof="0" dirty="0">
                <a:ln>
                  <a:noFill/>
                </a:ln>
                <a:solidFill>
                  <a:sysClr val="windowText" lastClr="000000"/>
                </a:solidFill>
                <a:effectLst/>
                <a:uLnTx/>
                <a:uFillTx/>
                <a:latin typeface="Calibri"/>
                <a:ea typeface="+mn-ea"/>
                <a:cs typeface="Calibri"/>
              </a:rPr>
              <a:t>2</a:t>
            </a:r>
            <a:endParaRPr kumimoji="0" sz="800" b="0" i="0" u="none" strike="noStrike" kern="0" cap="none" spc="0" normalizeH="0" baseline="0" noProof="0">
              <a:ln>
                <a:noFill/>
              </a:ln>
              <a:solidFill>
                <a:sysClr val="windowText" lastClr="000000"/>
              </a:solidFill>
              <a:effectLst/>
              <a:uLnTx/>
              <a:uFillTx/>
              <a:latin typeface="Calibri"/>
              <a:ea typeface="+mn-ea"/>
              <a:cs typeface="Calibri"/>
            </a:endParaRPr>
          </a:p>
        </p:txBody>
      </p:sp>
      <p:grpSp>
        <p:nvGrpSpPr>
          <p:cNvPr id="63" name="object 63"/>
          <p:cNvGrpSpPr/>
          <p:nvPr/>
        </p:nvGrpSpPr>
        <p:grpSpPr>
          <a:xfrm>
            <a:off x="7756191" y="2909731"/>
            <a:ext cx="4164965" cy="1288415"/>
            <a:chOff x="7756191" y="2909731"/>
            <a:chExt cx="4164965" cy="1288415"/>
          </a:xfrm>
        </p:grpSpPr>
        <p:sp>
          <p:nvSpPr>
            <p:cNvPr id="64" name="object 64"/>
            <p:cNvSpPr/>
            <p:nvPr/>
          </p:nvSpPr>
          <p:spPr>
            <a:xfrm>
              <a:off x="7756191" y="3297744"/>
              <a:ext cx="1881505" cy="900430"/>
            </a:xfrm>
            <a:custGeom>
              <a:avLst/>
              <a:gdLst/>
              <a:ahLst/>
              <a:cxnLst/>
              <a:rect l="l" t="t" r="r" b="b"/>
              <a:pathLst>
                <a:path w="1881504" h="900429">
                  <a:moveTo>
                    <a:pt x="1880992" y="0"/>
                  </a:moveTo>
                  <a:lnTo>
                    <a:pt x="0" y="0"/>
                  </a:lnTo>
                  <a:lnTo>
                    <a:pt x="0" y="900212"/>
                  </a:lnTo>
                  <a:lnTo>
                    <a:pt x="1880992" y="900212"/>
                  </a:lnTo>
                  <a:lnTo>
                    <a:pt x="1880992"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5" name="object 65"/>
            <p:cNvSpPr/>
            <p:nvPr/>
          </p:nvSpPr>
          <p:spPr>
            <a:xfrm>
              <a:off x="7961372" y="3410229"/>
              <a:ext cx="31115" cy="675640"/>
            </a:xfrm>
            <a:custGeom>
              <a:avLst/>
              <a:gdLst/>
              <a:ahLst/>
              <a:cxnLst/>
              <a:rect l="l" t="t" r="r" b="b"/>
              <a:pathLst>
                <a:path w="31115" h="675639">
                  <a:moveTo>
                    <a:pt x="30962" y="675159"/>
                  </a:moveTo>
                  <a:lnTo>
                    <a:pt x="30962" y="0"/>
                  </a:lnTo>
                </a:path>
                <a:path w="31115" h="675639">
                  <a:moveTo>
                    <a:pt x="0" y="675159"/>
                  </a:moveTo>
                  <a:lnTo>
                    <a:pt x="30962" y="675159"/>
                  </a:lnTo>
                </a:path>
                <a:path w="31115" h="675639">
                  <a:moveTo>
                    <a:pt x="0" y="341460"/>
                  </a:moveTo>
                  <a:lnTo>
                    <a:pt x="30962" y="341460"/>
                  </a:lnTo>
                </a:path>
                <a:path w="31115" h="675639">
                  <a:moveTo>
                    <a:pt x="0" y="0"/>
                  </a:moveTo>
                  <a:lnTo>
                    <a:pt x="30962" y="0"/>
                  </a:lnTo>
                </a:path>
              </a:pathLst>
            </a:custGeom>
            <a:ln w="7758">
              <a:solidFill>
                <a:srgbClr val="85858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6" name="object 66"/>
            <p:cNvSpPr/>
            <p:nvPr/>
          </p:nvSpPr>
          <p:spPr>
            <a:xfrm>
              <a:off x="7992334" y="3751689"/>
              <a:ext cx="1532890" cy="0"/>
            </a:xfrm>
            <a:custGeom>
              <a:avLst/>
              <a:gdLst/>
              <a:ahLst/>
              <a:cxnLst/>
              <a:rect l="l" t="t" r="r" b="b"/>
              <a:pathLst>
                <a:path w="1532890">
                  <a:moveTo>
                    <a:pt x="0" y="0"/>
                  </a:moveTo>
                  <a:lnTo>
                    <a:pt x="1058103" y="0"/>
                  </a:lnTo>
                </a:path>
                <a:path w="1532890">
                  <a:moveTo>
                    <a:pt x="1414176" y="0"/>
                  </a:moveTo>
                  <a:lnTo>
                    <a:pt x="1532660" y="0"/>
                  </a:lnTo>
                </a:path>
              </a:pathLst>
            </a:custGeom>
            <a:ln w="7768">
              <a:solidFill>
                <a:srgbClr val="85858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7" name="object 67"/>
            <p:cNvSpPr/>
            <p:nvPr/>
          </p:nvSpPr>
          <p:spPr>
            <a:xfrm>
              <a:off x="9050426" y="3713721"/>
              <a:ext cx="356235" cy="62230"/>
            </a:xfrm>
            <a:custGeom>
              <a:avLst/>
              <a:gdLst/>
              <a:ahLst/>
              <a:cxnLst/>
              <a:rect l="l" t="t" r="r" b="b"/>
              <a:pathLst>
                <a:path w="356234" h="62229">
                  <a:moveTo>
                    <a:pt x="356082" y="0"/>
                  </a:moveTo>
                  <a:lnTo>
                    <a:pt x="356082" y="0"/>
                  </a:lnTo>
                  <a:lnTo>
                    <a:pt x="0" y="0"/>
                  </a:lnTo>
                  <a:lnTo>
                    <a:pt x="0" y="62077"/>
                  </a:lnTo>
                  <a:lnTo>
                    <a:pt x="356082" y="62077"/>
                  </a:lnTo>
                  <a:lnTo>
                    <a:pt x="356082" y="0"/>
                  </a:lnTo>
                  <a:close/>
                </a:path>
              </a:pathLst>
            </a:custGeom>
            <a:solidFill>
              <a:srgbClr val="92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68" name="object 68"/>
            <p:cNvPicPr/>
            <p:nvPr/>
          </p:nvPicPr>
          <p:blipFill>
            <a:blip r:embed="rId5" cstate="print"/>
            <a:stretch>
              <a:fillRect/>
            </a:stretch>
          </p:blipFill>
          <p:spPr>
            <a:xfrm>
              <a:off x="7996153" y="2909731"/>
              <a:ext cx="1323661" cy="240574"/>
            </a:xfrm>
            <a:prstGeom prst="rect">
              <a:avLst/>
            </a:prstGeom>
          </p:spPr>
        </p:pic>
        <p:sp>
          <p:nvSpPr>
            <p:cNvPr id="69" name="object 69"/>
            <p:cNvSpPr/>
            <p:nvPr/>
          </p:nvSpPr>
          <p:spPr>
            <a:xfrm>
              <a:off x="10039701" y="3289983"/>
              <a:ext cx="1881505" cy="908050"/>
            </a:xfrm>
            <a:custGeom>
              <a:avLst/>
              <a:gdLst/>
              <a:ahLst/>
              <a:cxnLst/>
              <a:rect l="l" t="t" r="r" b="b"/>
              <a:pathLst>
                <a:path w="1881504" h="908050">
                  <a:moveTo>
                    <a:pt x="1880992" y="0"/>
                  </a:moveTo>
                  <a:lnTo>
                    <a:pt x="0" y="0"/>
                  </a:lnTo>
                  <a:lnTo>
                    <a:pt x="0" y="907973"/>
                  </a:lnTo>
                  <a:lnTo>
                    <a:pt x="1880992" y="907973"/>
                  </a:lnTo>
                  <a:lnTo>
                    <a:pt x="1880992"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0" name="object 70"/>
            <p:cNvSpPr/>
            <p:nvPr/>
          </p:nvSpPr>
          <p:spPr>
            <a:xfrm>
              <a:off x="10244881" y="3402469"/>
              <a:ext cx="1564005" cy="683260"/>
            </a:xfrm>
            <a:custGeom>
              <a:avLst/>
              <a:gdLst/>
              <a:ahLst/>
              <a:cxnLst/>
              <a:rect l="l" t="t" r="r" b="b"/>
              <a:pathLst>
                <a:path w="1564004" h="683260">
                  <a:moveTo>
                    <a:pt x="30962" y="682920"/>
                  </a:moveTo>
                  <a:lnTo>
                    <a:pt x="30962" y="0"/>
                  </a:lnTo>
                </a:path>
                <a:path w="1564004" h="683260">
                  <a:moveTo>
                    <a:pt x="0" y="682920"/>
                  </a:moveTo>
                  <a:lnTo>
                    <a:pt x="30962" y="682920"/>
                  </a:lnTo>
                </a:path>
                <a:path w="1564004" h="683260">
                  <a:moveTo>
                    <a:pt x="0" y="341460"/>
                  </a:moveTo>
                  <a:lnTo>
                    <a:pt x="30962" y="341460"/>
                  </a:lnTo>
                </a:path>
                <a:path w="1564004" h="683260">
                  <a:moveTo>
                    <a:pt x="0" y="0"/>
                  </a:moveTo>
                  <a:lnTo>
                    <a:pt x="30962" y="0"/>
                  </a:lnTo>
                </a:path>
                <a:path w="1564004" h="683260">
                  <a:moveTo>
                    <a:pt x="30962" y="341460"/>
                  </a:moveTo>
                  <a:lnTo>
                    <a:pt x="1563623" y="341460"/>
                  </a:lnTo>
                </a:path>
              </a:pathLst>
            </a:custGeom>
            <a:ln w="7758">
              <a:solidFill>
                <a:srgbClr val="85858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71" name="object 71"/>
          <p:cNvSpPr txBox="1">
            <a:spLocks noGrp="1"/>
          </p:cNvSpPr>
          <p:nvPr>
            <p:ph type="title"/>
          </p:nvPr>
        </p:nvSpPr>
        <p:spPr>
          <a:xfrm>
            <a:off x="292100" y="239979"/>
            <a:ext cx="9362440" cy="452120"/>
          </a:xfrm>
          <a:prstGeom prst="rect">
            <a:avLst/>
          </a:prstGeom>
        </p:spPr>
        <p:txBody>
          <a:bodyPr vert="horz" wrap="square" lIns="0" tIns="12065" rIns="0" bIns="0" rtlCol="0">
            <a:spAutoFit/>
          </a:bodyPr>
          <a:lstStyle/>
          <a:p>
            <a:pPr marL="12700">
              <a:lnSpc>
                <a:spcPct val="100000"/>
              </a:lnSpc>
              <a:spcBef>
                <a:spcPts val="95"/>
              </a:spcBef>
            </a:pPr>
            <a:r>
              <a:rPr lang="en-US">
                <a:solidFill>
                  <a:srgbClr val="E61216"/>
                </a:solidFill>
              </a:rPr>
              <a:t>Copy number variant</a:t>
            </a:r>
            <a:endParaRPr spc="-10" dirty="0">
              <a:solidFill>
                <a:srgbClr val="E61216"/>
              </a:solidFill>
            </a:endParaRPr>
          </a:p>
        </p:txBody>
      </p:sp>
      <p:sp>
        <p:nvSpPr>
          <p:cNvPr id="72" name="Rectangle 71">
            <a:extLst>
              <a:ext uri="{FF2B5EF4-FFF2-40B4-BE49-F238E27FC236}">
                <a16:creationId xmlns:a16="http://schemas.microsoft.com/office/drawing/2014/main" id="{C56B2B7F-C0F6-7D13-2B72-76CB3FC2898A}"/>
              </a:ext>
            </a:extLst>
          </p:cNvPr>
          <p:cNvSpPr/>
          <p:nvPr/>
        </p:nvSpPr>
        <p:spPr>
          <a:xfrm>
            <a:off x="9862457" y="0"/>
            <a:ext cx="2211355" cy="76511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6799140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p:nvPr/>
        </p:nvSpPr>
        <p:spPr>
          <a:xfrm>
            <a:off x="173420" y="4290083"/>
            <a:ext cx="160655" cy="617855"/>
          </a:xfrm>
          <a:prstGeom prst="rect">
            <a:avLst/>
          </a:prstGeom>
        </p:spPr>
        <p:txBody>
          <a:bodyPr vert="vert270" wrap="square" lIns="0" tIns="1270" rIns="0" bIns="0" rtlCol="0">
            <a:spAutoFit/>
          </a:bodyPr>
          <a:lstStyle/>
          <a:p>
            <a:pPr marL="12700" marR="0" lvl="0" indent="0" algn="l" defTabSz="914400" rtl="0" eaLnBrk="1" fontAlgn="auto" latinLnBrk="0" hangingPunct="1">
              <a:lnSpc>
                <a:spcPct val="100000"/>
              </a:lnSpc>
              <a:spcBef>
                <a:spcPts val="10"/>
              </a:spcBef>
              <a:spcAft>
                <a:spcPts val="0"/>
              </a:spcAft>
              <a:buClrTx/>
              <a:buSzTx/>
              <a:buFontTx/>
              <a:buNone/>
              <a:tabLst/>
              <a:defRPr/>
            </a:pPr>
            <a:r>
              <a:rPr kumimoji="0" sz="950" b="1" i="0" u="none" strike="noStrike" kern="0" cap="none" spc="-10" normalizeH="0" baseline="0" noProof="0" dirty="0">
                <a:ln>
                  <a:noFill/>
                </a:ln>
                <a:solidFill>
                  <a:sysClr val="windowText" lastClr="000000"/>
                </a:solidFill>
                <a:effectLst/>
                <a:uLnTx/>
                <a:uFillTx/>
                <a:latin typeface="Arial"/>
                <a:ea typeface="+mn-ea"/>
                <a:cs typeface="Arial"/>
              </a:rPr>
              <a:t>Difference</a:t>
            </a:r>
            <a:endParaRPr kumimoji="0" sz="95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4" name="object 4"/>
          <p:cNvSpPr txBox="1"/>
          <p:nvPr/>
        </p:nvSpPr>
        <p:spPr>
          <a:xfrm>
            <a:off x="113586" y="5253653"/>
            <a:ext cx="292100" cy="518159"/>
          </a:xfrm>
          <a:prstGeom prst="rect">
            <a:avLst/>
          </a:prstGeom>
        </p:spPr>
        <p:txBody>
          <a:bodyPr vert="vert270" wrap="square" lIns="0" tIns="0" rIns="0" bIns="0" rtlCol="0">
            <a:spAutoFit/>
          </a:bodyPr>
          <a:lstStyle/>
          <a:p>
            <a:pPr marL="12065" marR="0" lvl="0" indent="0" algn="ctr" defTabSz="914400" rtl="0" eaLnBrk="1" fontAlgn="auto" latinLnBrk="0" hangingPunct="1">
              <a:lnSpc>
                <a:spcPts val="1050"/>
              </a:lnSpc>
              <a:spcBef>
                <a:spcPts val="0"/>
              </a:spcBef>
              <a:spcAft>
                <a:spcPts val="0"/>
              </a:spcAft>
              <a:buClrTx/>
              <a:buSzTx/>
              <a:buFontTx/>
              <a:buNone/>
              <a:tabLst/>
              <a:defRPr/>
            </a:pPr>
            <a:r>
              <a:rPr kumimoji="0" sz="950" b="1" i="0" u="none" strike="noStrike" kern="0" cap="none" spc="-25" normalizeH="0" baseline="0" noProof="0" dirty="0">
                <a:ln>
                  <a:noFill/>
                </a:ln>
                <a:solidFill>
                  <a:sysClr val="windowText" lastClr="000000"/>
                </a:solidFill>
                <a:effectLst/>
                <a:uLnTx/>
                <a:uFillTx/>
                <a:latin typeface="Arial"/>
                <a:ea typeface="+mn-ea"/>
                <a:cs typeface="Arial"/>
              </a:rPr>
              <a:t>BAF</a:t>
            </a:r>
            <a:endParaRPr kumimoji="0" sz="950" b="0" i="0" u="none" strike="noStrike" kern="0" cap="none" spc="0" normalizeH="0" baseline="0" noProof="0">
              <a:ln>
                <a:noFill/>
              </a:ln>
              <a:solidFill>
                <a:sysClr val="windowText" lastClr="000000"/>
              </a:solidFill>
              <a:effectLst/>
              <a:uLnTx/>
              <a:uFillTx/>
              <a:latin typeface="Arial"/>
              <a:ea typeface="+mn-ea"/>
              <a:cs typeface="Arial"/>
            </a:endParaRPr>
          </a:p>
          <a:p>
            <a:pPr marL="0" marR="0" lvl="0" indent="0" algn="ctr" defTabSz="914400" rtl="0" eaLnBrk="1" fontAlgn="auto" latinLnBrk="0" hangingPunct="1">
              <a:lnSpc>
                <a:spcPct val="100000"/>
              </a:lnSpc>
              <a:spcBef>
                <a:spcPts val="95"/>
              </a:spcBef>
              <a:spcAft>
                <a:spcPts val="0"/>
              </a:spcAft>
              <a:buClrTx/>
              <a:buSzTx/>
              <a:buFontTx/>
              <a:buNone/>
              <a:tabLst/>
              <a:defRPr/>
            </a:pPr>
            <a:r>
              <a:rPr kumimoji="0" sz="950" b="1" i="0" u="none" strike="noStrike" kern="0" cap="none" spc="-20" normalizeH="0" baseline="0" noProof="0" dirty="0">
                <a:ln>
                  <a:noFill/>
                </a:ln>
                <a:solidFill>
                  <a:sysClr val="windowText" lastClr="000000"/>
                </a:solidFill>
                <a:effectLst/>
                <a:uLnTx/>
                <a:uFillTx/>
                <a:latin typeface="Arial"/>
                <a:ea typeface="+mn-ea"/>
                <a:cs typeface="Arial"/>
              </a:rPr>
              <a:t>(</a:t>
            </a:r>
            <a:r>
              <a:rPr kumimoji="0" sz="950" b="1" i="0" u="none" strike="noStrike" kern="0" cap="none" spc="-20" normalizeH="0" baseline="0" noProof="0" dirty="0">
                <a:ln>
                  <a:noFill/>
                </a:ln>
                <a:solidFill>
                  <a:srgbClr val="4F81BC"/>
                </a:solidFill>
                <a:effectLst/>
                <a:uLnTx/>
                <a:uFillTx/>
                <a:latin typeface="Arial"/>
                <a:ea typeface="+mn-ea"/>
                <a:cs typeface="Arial"/>
              </a:rPr>
              <a:t>B/(A+B)</a:t>
            </a:r>
            <a:r>
              <a:rPr kumimoji="0" sz="950" b="1" i="0" u="none" strike="noStrike" kern="0" cap="none" spc="-20" normalizeH="0" baseline="0" noProof="0" dirty="0">
                <a:ln>
                  <a:noFill/>
                </a:ln>
                <a:solidFill>
                  <a:sysClr val="windowText" lastClr="000000"/>
                </a:solidFill>
                <a:effectLst/>
                <a:uLnTx/>
                <a:uFillTx/>
                <a:latin typeface="Arial"/>
                <a:ea typeface="+mn-ea"/>
                <a:cs typeface="Arial"/>
              </a:rPr>
              <a:t>)</a:t>
            </a:r>
            <a:endParaRPr kumimoji="0" sz="950" b="0" i="0" u="none" strike="noStrike" kern="0" cap="none" spc="0" normalizeH="0" baseline="0" noProof="0">
              <a:ln>
                <a:noFill/>
              </a:ln>
              <a:solidFill>
                <a:sysClr val="windowText" lastClr="000000"/>
              </a:solidFill>
              <a:effectLst/>
              <a:uLnTx/>
              <a:uFillTx/>
              <a:latin typeface="Arial"/>
              <a:ea typeface="+mn-ea"/>
              <a:cs typeface="Arial"/>
            </a:endParaRPr>
          </a:p>
        </p:txBody>
      </p:sp>
      <p:pic>
        <p:nvPicPr>
          <p:cNvPr id="5" name="object 5"/>
          <p:cNvPicPr/>
          <p:nvPr/>
        </p:nvPicPr>
        <p:blipFill>
          <a:blip r:embed="rId2" cstate="print"/>
          <a:stretch>
            <a:fillRect/>
          </a:stretch>
        </p:blipFill>
        <p:spPr>
          <a:xfrm>
            <a:off x="3282868" y="1599394"/>
            <a:ext cx="1698658" cy="603817"/>
          </a:xfrm>
          <a:prstGeom prst="rect">
            <a:avLst/>
          </a:prstGeom>
        </p:spPr>
      </p:pic>
      <p:pic>
        <p:nvPicPr>
          <p:cNvPr id="6" name="object 6"/>
          <p:cNvPicPr/>
          <p:nvPr/>
        </p:nvPicPr>
        <p:blipFill>
          <a:blip r:embed="rId3" cstate="print"/>
          <a:stretch>
            <a:fillRect/>
          </a:stretch>
        </p:blipFill>
        <p:spPr>
          <a:xfrm>
            <a:off x="927636" y="1617509"/>
            <a:ext cx="1529997" cy="591740"/>
          </a:xfrm>
          <a:prstGeom prst="rect">
            <a:avLst/>
          </a:prstGeom>
        </p:spPr>
      </p:pic>
      <p:pic>
        <p:nvPicPr>
          <p:cNvPr id="7" name="object 7"/>
          <p:cNvPicPr/>
          <p:nvPr/>
        </p:nvPicPr>
        <p:blipFill>
          <a:blip r:embed="rId4" cstate="print"/>
          <a:stretch>
            <a:fillRect/>
          </a:stretch>
        </p:blipFill>
        <p:spPr>
          <a:xfrm>
            <a:off x="5650147" y="1973761"/>
            <a:ext cx="1523973" cy="229450"/>
          </a:xfrm>
          <a:prstGeom prst="rect">
            <a:avLst/>
          </a:prstGeom>
        </p:spPr>
      </p:pic>
      <p:pic>
        <p:nvPicPr>
          <p:cNvPr id="8" name="object 8"/>
          <p:cNvPicPr/>
          <p:nvPr/>
        </p:nvPicPr>
        <p:blipFill>
          <a:blip r:embed="rId5" cstate="print"/>
          <a:stretch>
            <a:fillRect/>
          </a:stretch>
        </p:blipFill>
        <p:spPr>
          <a:xfrm>
            <a:off x="5650147" y="1611471"/>
            <a:ext cx="1283029" cy="229450"/>
          </a:xfrm>
          <a:prstGeom prst="rect">
            <a:avLst/>
          </a:prstGeom>
        </p:spPr>
      </p:pic>
      <p:sp>
        <p:nvSpPr>
          <p:cNvPr id="9" name="object 9"/>
          <p:cNvSpPr/>
          <p:nvPr/>
        </p:nvSpPr>
        <p:spPr>
          <a:xfrm>
            <a:off x="6613925" y="1490707"/>
            <a:ext cx="319405" cy="121285"/>
          </a:xfrm>
          <a:custGeom>
            <a:avLst/>
            <a:gdLst/>
            <a:ahLst/>
            <a:cxnLst/>
            <a:rect l="l" t="t" r="r" b="b"/>
            <a:pathLst>
              <a:path w="319404" h="121284">
                <a:moveTo>
                  <a:pt x="319251" y="0"/>
                </a:moveTo>
                <a:lnTo>
                  <a:pt x="0" y="0"/>
                </a:lnTo>
                <a:lnTo>
                  <a:pt x="159625" y="120763"/>
                </a:lnTo>
                <a:lnTo>
                  <a:pt x="319251" y="0"/>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10" name="object 10"/>
          <p:cNvPicPr/>
          <p:nvPr/>
        </p:nvPicPr>
        <p:blipFill>
          <a:blip r:embed="rId3" cstate="print"/>
          <a:stretch>
            <a:fillRect/>
          </a:stretch>
        </p:blipFill>
        <p:spPr>
          <a:xfrm>
            <a:off x="10246163" y="1617509"/>
            <a:ext cx="1529997" cy="591740"/>
          </a:xfrm>
          <a:prstGeom prst="rect">
            <a:avLst/>
          </a:prstGeom>
        </p:spPr>
      </p:pic>
      <p:sp>
        <p:nvSpPr>
          <p:cNvPr id="11" name="object 11"/>
          <p:cNvSpPr/>
          <p:nvPr/>
        </p:nvSpPr>
        <p:spPr>
          <a:xfrm>
            <a:off x="906553" y="2459834"/>
            <a:ext cx="1518285" cy="658495"/>
          </a:xfrm>
          <a:custGeom>
            <a:avLst/>
            <a:gdLst/>
            <a:ahLst/>
            <a:cxnLst/>
            <a:rect l="l" t="t" r="r" b="b"/>
            <a:pathLst>
              <a:path w="1518285" h="658494">
                <a:moveTo>
                  <a:pt x="30118" y="658160"/>
                </a:moveTo>
                <a:lnTo>
                  <a:pt x="30118" y="0"/>
                </a:lnTo>
              </a:path>
              <a:path w="1518285" h="658494">
                <a:moveTo>
                  <a:pt x="0" y="658160"/>
                </a:moveTo>
                <a:lnTo>
                  <a:pt x="30118" y="658160"/>
                </a:lnTo>
              </a:path>
              <a:path w="1518285" h="658494">
                <a:moveTo>
                  <a:pt x="0" y="332099"/>
                </a:moveTo>
                <a:lnTo>
                  <a:pt x="30118" y="332099"/>
                </a:lnTo>
              </a:path>
              <a:path w="1518285" h="658494">
                <a:moveTo>
                  <a:pt x="0" y="0"/>
                </a:moveTo>
                <a:lnTo>
                  <a:pt x="30118" y="0"/>
                </a:lnTo>
              </a:path>
              <a:path w="1518285" h="658494">
                <a:moveTo>
                  <a:pt x="30118" y="332099"/>
                </a:moveTo>
                <a:lnTo>
                  <a:pt x="1517950" y="332099"/>
                </a:lnTo>
              </a:path>
            </a:pathLst>
          </a:custGeom>
          <a:ln w="6036">
            <a:solidFill>
              <a:srgbClr val="85858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12" name="object 12"/>
          <p:cNvPicPr/>
          <p:nvPr/>
        </p:nvPicPr>
        <p:blipFill>
          <a:blip r:embed="rId6" cstate="print"/>
          <a:stretch>
            <a:fillRect/>
          </a:stretch>
        </p:blipFill>
        <p:spPr>
          <a:xfrm>
            <a:off x="7981285" y="1611471"/>
            <a:ext cx="1283029" cy="229450"/>
          </a:xfrm>
          <a:prstGeom prst="rect">
            <a:avLst/>
          </a:prstGeom>
        </p:spPr>
      </p:pic>
      <p:sp>
        <p:nvSpPr>
          <p:cNvPr id="13" name="object 13"/>
          <p:cNvSpPr/>
          <p:nvPr/>
        </p:nvSpPr>
        <p:spPr>
          <a:xfrm>
            <a:off x="8945063" y="1490707"/>
            <a:ext cx="319405" cy="121285"/>
          </a:xfrm>
          <a:custGeom>
            <a:avLst/>
            <a:gdLst/>
            <a:ahLst/>
            <a:cxnLst/>
            <a:rect l="l" t="t" r="r" b="b"/>
            <a:pathLst>
              <a:path w="319404" h="121284">
                <a:moveTo>
                  <a:pt x="319251" y="0"/>
                </a:moveTo>
                <a:lnTo>
                  <a:pt x="0" y="0"/>
                </a:lnTo>
                <a:lnTo>
                  <a:pt x="159625" y="120763"/>
                </a:lnTo>
                <a:lnTo>
                  <a:pt x="319251" y="0"/>
                </a:lnTo>
                <a:close/>
              </a:path>
            </a:pathLst>
          </a:custGeom>
          <a:solidFill>
            <a:srgbClr val="92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nvGrpSpPr>
          <p:cNvPr id="14" name="object 14"/>
          <p:cNvGrpSpPr/>
          <p:nvPr/>
        </p:nvGrpSpPr>
        <p:grpSpPr>
          <a:xfrm>
            <a:off x="704762" y="2348128"/>
            <a:ext cx="11144250" cy="2693035"/>
            <a:chOff x="704762" y="2348128"/>
            <a:chExt cx="11144250" cy="2693035"/>
          </a:xfrm>
        </p:grpSpPr>
        <p:sp>
          <p:nvSpPr>
            <p:cNvPr id="15" name="object 15"/>
            <p:cNvSpPr/>
            <p:nvPr/>
          </p:nvSpPr>
          <p:spPr>
            <a:xfrm>
              <a:off x="704762" y="3253854"/>
              <a:ext cx="1831339" cy="882015"/>
            </a:xfrm>
            <a:custGeom>
              <a:avLst/>
              <a:gdLst/>
              <a:ahLst/>
              <a:cxnLst/>
              <a:rect l="l" t="t" r="r" b="b"/>
              <a:pathLst>
                <a:path w="1831339" h="882014">
                  <a:moveTo>
                    <a:pt x="1831177" y="0"/>
                  </a:moveTo>
                  <a:lnTo>
                    <a:pt x="0" y="0"/>
                  </a:lnTo>
                  <a:lnTo>
                    <a:pt x="0" y="881573"/>
                  </a:lnTo>
                  <a:lnTo>
                    <a:pt x="1831177" y="881573"/>
                  </a:lnTo>
                  <a:lnTo>
                    <a:pt x="1831177"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6" name="object 16"/>
            <p:cNvSpPr/>
            <p:nvPr/>
          </p:nvSpPr>
          <p:spPr>
            <a:xfrm>
              <a:off x="912577" y="3365560"/>
              <a:ext cx="1511935" cy="658495"/>
            </a:xfrm>
            <a:custGeom>
              <a:avLst/>
              <a:gdLst/>
              <a:ahLst/>
              <a:cxnLst/>
              <a:rect l="l" t="t" r="r" b="b"/>
              <a:pathLst>
                <a:path w="1511935" h="658495">
                  <a:moveTo>
                    <a:pt x="30118" y="658160"/>
                  </a:moveTo>
                  <a:lnTo>
                    <a:pt x="1511926" y="658160"/>
                  </a:lnTo>
                </a:path>
                <a:path w="1511935" h="658495">
                  <a:moveTo>
                    <a:pt x="30118" y="495130"/>
                  </a:moveTo>
                  <a:lnTo>
                    <a:pt x="1511926" y="495130"/>
                  </a:lnTo>
                </a:path>
                <a:path w="1511935" h="658495">
                  <a:moveTo>
                    <a:pt x="30118" y="163030"/>
                  </a:moveTo>
                  <a:lnTo>
                    <a:pt x="1511926" y="163030"/>
                  </a:lnTo>
                </a:path>
                <a:path w="1511935" h="658495">
                  <a:moveTo>
                    <a:pt x="30118" y="0"/>
                  </a:moveTo>
                  <a:lnTo>
                    <a:pt x="1511926" y="0"/>
                  </a:lnTo>
                </a:path>
                <a:path w="1511935" h="658495">
                  <a:moveTo>
                    <a:pt x="30118" y="658160"/>
                  </a:moveTo>
                  <a:lnTo>
                    <a:pt x="30118" y="0"/>
                  </a:lnTo>
                </a:path>
                <a:path w="1511935" h="658495">
                  <a:moveTo>
                    <a:pt x="0" y="658160"/>
                  </a:moveTo>
                  <a:lnTo>
                    <a:pt x="30118" y="658160"/>
                  </a:lnTo>
                </a:path>
                <a:path w="1511935" h="658495">
                  <a:moveTo>
                    <a:pt x="0" y="495130"/>
                  </a:moveTo>
                  <a:lnTo>
                    <a:pt x="30118" y="495130"/>
                  </a:lnTo>
                </a:path>
                <a:path w="1511935" h="658495">
                  <a:moveTo>
                    <a:pt x="0" y="332099"/>
                  </a:moveTo>
                  <a:lnTo>
                    <a:pt x="30118" y="332099"/>
                  </a:lnTo>
                </a:path>
                <a:path w="1511935" h="658495">
                  <a:moveTo>
                    <a:pt x="0" y="163030"/>
                  </a:moveTo>
                  <a:lnTo>
                    <a:pt x="30118" y="163030"/>
                  </a:lnTo>
                </a:path>
                <a:path w="1511935" h="658495">
                  <a:moveTo>
                    <a:pt x="0" y="0"/>
                  </a:moveTo>
                  <a:lnTo>
                    <a:pt x="30118" y="0"/>
                  </a:lnTo>
                </a:path>
                <a:path w="1511935" h="658495">
                  <a:moveTo>
                    <a:pt x="30118" y="332099"/>
                  </a:moveTo>
                  <a:lnTo>
                    <a:pt x="1511926" y="332099"/>
                  </a:lnTo>
                </a:path>
              </a:pathLst>
            </a:custGeom>
            <a:ln w="6036">
              <a:solidFill>
                <a:srgbClr val="85858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7" name="object 17"/>
            <p:cNvSpPr/>
            <p:nvPr/>
          </p:nvSpPr>
          <p:spPr>
            <a:xfrm>
              <a:off x="939673" y="3676535"/>
              <a:ext cx="1144905" cy="30480"/>
            </a:xfrm>
            <a:custGeom>
              <a:avLst/>
              <a:gdLst/>
              <a:ahLst/>
              <a:cxnLst/>
              <a:rect l="l" t="t" r="r" b="b"/>
              <a:pathLst>
                <a:path w="1144905" h="30479">
                  <a:moveTo>
                    <a:pt x="445757" y="6743"/>
                  </a:moveTo>
                  <a:lnTo>
                    <a:pt x="439026" y="0"/>
                  </a:lnTo>
                  <a:lnTo>
                    <a:pt x="426974" y="0"/>
                  </a:lnTo>
                  <a:lnTo>
                    <a:pt x="422363" y="0"/>
                  </a:lnTo>
                  <a:lnTo>
                    <a:pt x="410311" y="0"/>
                  </a:lnTo>
                  <a:lnTo>
                    <a:pt x="409600" y="711"/>
                  </a:lnTo>
                  <a:lnTo>
                    <a:pt x="408901" y="0"/>
                  </a:lnTo>
                  <a:lnTo>
                    <a:pt x="396862" y="0"/>
                  </a:lnTo>
                  <a:lnTo>
                    <a:pt x="392239" y="0"/>
                  </a:lnTo>
                  <a:lnTo>
                    <a:pt x="380199" y="0"/>
                  </a:lnTo>
                  <a:lnTo>
                    <a:pt x="379488" y="711"/>
                  </a:lnTo>
                  <a:lnTo>
                    <a:pt x="378790" y="0"/>
                  </a:lnTo>
                  <a:lnTo>
                    <a:pt x="366737" y="0"/>
                  </a:lnTo>
                  <a:lnTo>
                    <a:pt x="362127" y="0"/>
                  </a:lnTo>
                  <a:lnTo>
                    <a:pt x="350075" y="0"/>
                  </a:lnTo>
                  <a:lnTo>
                    <a:pt x="349364" y="711"/>
                  </a:lnTo>
                  <a:lnTo>
                    <a:pt x="348665" y="0"/>
                  </a:lnTo>
                  <a:lnTo>
                    <a:pt x="336626" y="0"/>
                  </a:lnTo>
                  <a:lnTo>
                    <a:pt x="332003" y="0"/>
                  </a:lnTo>
                  <a:lnTo>
                    <a:pt x="319963" y="0"/>
                  </a:lnTo>
                  <a:lnTo>
                    <a:pt x="319252" y="711"/>
                  </a:lnTo>
                  <a:lnTo>
                    <a:pt x="318554" y="0"/>
                  </a:lnTo>
                  <a:lnTo>
                    <a:pt x="306501" y="0"/>
                  </a:lnTo>
                  <a:lnTo>
                    <a:pt x="301891" y="0"/>
                  </a:lnTo>
                  <a:lnTo>
                    <a:pt x="294462" y="0"/>
                  </a:lnTo>
                  <a:lnTo>
                    <a:pt x="289839" y="0"/>
                  </a:lnTo>
                  <a:lnTo>
                    <a:pt x="277787" y="0"/>
                  </a:lnTo>
                  <a:lnTo>
                    <a:pt x="277088" y="711"/>
                  </a:lnTo>
                  <a:lnTo>
                    <a:pt x="276390" y="0"/>
                  </a:lnTo>
                  <a:lnTo>
                    <a:pt x="264337" y="0"/>
                  </a:lnTo>
                  <a:lnTo>
                    <a:pt x="259727" y="0"/>
                  </a:lnTo>
                  <a:lnTo>
                    <a:pt x="247675" y="0"/>
                  </a:lnTo>
                  <a:lnTo>
                    <a:pt x="246964" y="711"/>
                  </a:lnTo>
                  <a:lnTo>
                    <a:pt x="246265" y="0"/>
                  </a:lnTo>
                  <a:lnTo>
                    <a:pt x="234226" y="0"/>
                  </a:lnTo>
                  <a:lnTo>
                    <a:pt x="229603" y="0"/>
                  </a:lnTo>
                  <a:lnTo>
                    <a:pt x="217551" y="0"/>
                  </a:lnTo>
                  <a:lnTo>
                    <a:pt x="216852" y="711"/>
                  </a:lnTo>
                  <a:lnTo>
                    <a:pt x="216154" y="0"/>
                  </a:lnTo>
                  <a:lnTo>
                    <a:pt x="204101" y="0"/>
                  </a:lnTo>
                  <a:lnTo>
                    <a:pt x="199491" y="0"/>
                  </a:lnTo>
                  <a:lnTo>
                    <a:pt x="187439" y="0"/>
                  </a:lnTo>
                  <a:lnTo>
                    <a:pt x="186728" y="711"/>
                  </a:lnTo>
                  <a:lnTo>
                    <a:pt x="186029" y="0"/>
                  </a:lnTo>
                  <a:lnTo>
                    <a:pt x="173990" y="0"/>
                  </a:lnTo>
                  <a:lnTo>
                    <a:pt x="169367" y="0"/>
                  </a:lnTo>
                  <a:lnTo>
                    <a:pt x="157314" y="0"/>
                  </a:lnTo>
                  <a:lnTo>
                    <a:pt x="156616" y="711"/>
                  </a:lnTo>
                  <a:lnTo>
                    <a:pt x="155917" y="0"/>
                  </a:lnTo>
                  <a:lnTo>
                    <a:pt x="143865" y="0"/>
                  </a:lnTo>
                  <a:lnTo>
                    <a:pt x="139255" y="0"/>
                  </a:lnTo>
                  <a:lnTo>
                    <a:pt x="131826" y="0"/>
                  </a:lnTo>
                  <a:lnTo>
                    <a:pt x="127203" y="0"/>
                  </a:lnTo>
                  <a:lnTo>
                    <a:pt x="115150" y="0"/>
                  </a:lnTo>
                  <a:lnTo>
                    <a:pt x="114452" y="711"/>
                  </a:lnTo>
                  <a:lnTo>
                    <a:pt x="113753" y="0"/>
                  </a:lnTo>
                  <a:lnTo>
                    <a:pt x="101701" y="0"/>
                  </a:lnTo>
                  <a:lnTo>
                    <a:pt x="97078" y="0"/>
                  </a:lnTo>
                  <a:lnTo>
                    <a:pt x="85039" y="0"/>
                  </a:lnTo>
                  <a:lnTo>
                    <a:pt x="84328" y="711"/>
                  </a:lnTo>
                  <a:lnTo>
                    <a:pt x="83629" y="0"/>
                  </a:lnTo>
                  <a:lnTo>
                    <a:pt x="71589" y="0"/>
                  </a:lnTo>
                  <a:lnTo>
                    <a:pt x="66967" y="0"/>
                  </a:lnTo>
                  <a:lnTo>
                    <a:pt x="54940" y="0"/>
                  </a:lnTo>
                  <a:lnTo>
                    <a:pt x="54216" y="723"/>
                  </a:lnTo>
                  <a:lnTo>
                    <a:pt x="53492" y="0"/>
                  </a:lnTo>
                  <a:lnTo>
                    <a:pt x="41452" y="0"/>
                  </a:lnTo>
                  <a:lnTo>
                    <a:pt x="36868" y="0"/>
                  </a:lnTo>
                  <a:lnTo>
                    <a:pt x="24815" y="0"/>
                  </a:lnTo>
                  <a:lnTo>
                    <a:pt x="24091" y="723"/>
                  </a:lnTo>
                  <a:lnTo>
                    <a:pt x="23380" y="0"/>
                  </a:lnTo>
                  <a:lnTo>
                    <a:pt x="6756" y="0"/>
                  </a:lnTo>
                  <a:lnTo>
                    <a:pt x="0" y="6743"/>
                  </a:lnTo>
                  <a:lnTo>
                    <a:pt x="0" y="23342"/>
                  </a:lnTo>
                  <a:lnTo>
                    <a:pt x="6756" y="30187"/>
                  </a:lnTo>
                  <a:lnTo>
                    <a:pt x="23380" y="30187"/>
                  </a:lnTo>
                  <a:lnTo>
                    <a:pt x="24091" y="29464"/>
                  </a:lnTo>
                  <a:lnTo>
                    <a:pt x="24815" y="30187"/>
                  </a:lnTo>
                  <a:lnTo>
                    <a:pt x="36868" y="30187"/>
                  </a:lnTo>
                  <a:lnTo>
                    <a:pt x="41452" y="30187"/>
                  </a:lnTo>
                  <a:lnTo>
                    <a:pt x="53492" y="30187"/>
                  </a:lnTo>
                  <a:lnTo>
                    <a:pt x="54216" y="29464"/>
                  </a:lnTo>
                  <a:lnTo>
                    <a:pt x="54940" y="30187"/>
                  </a:lnTo>
                  <a:lnTo>
                    <a:pt x="66967" y="30187"/>
                  </a:lnTo>
                  <a:lnTo>
                    <a:pt x="71589" y="30187"/>
                  </a:lnTo>
                  <a:lnTo>
                    <a:pt x="83629" y="30187"/>
                  </a:lnTo>
                  <a:lnTo>
                    <a:pt x="84328" y="29476"/>
                  </a:lnTo>
                  <a:lnTo>
                    <a:pt x="85039" y="30187"/>
                  </a:lnTo>
                  <a:lnTo>
                    <a:pt x="97078" y="30187"/>
                  </a:lnTo>
                  <a:lnTo>
                    <a:pt x="101701" y="30187"/>
                  </a:lnTo>
                  <a:lnTo>
                    <a:pt x="113753" y="30187"/>
                  </a:lnTo>
                  <a:lnTo>
                    <a:pt x="114452" y="29476"/>
                  </a:lnTo>
                  <a:lnTo>
                    <a:pt x="115150" y="30187"/>
                  </a:lnTo>
                  <a:lnTo>
                    <a:pt x="127203" y="30187"/>
                  </a:lnTo>
                  <a:lnTo>
                    <a:pt x="131826" y="30187"/>
                  </a:lnTo>
                  <a:lnTo>
                    <a:pt x="139255" y="30187"/>
                  </a:lnTo>
                  <a:lnTo>
                    <a:pt x="143865" y="30187"/>
                  </a:lnTo>
                  <a:lnTo>
                    <a:pt x="155917" y="30187"/>
                  </a:lnTo>
                  <a:lnTo>
                    <a:pt x="156616" y="29476"/>
                  </a:lnTo>
                  <a:lnTo>
                    <a:pt x="157314" y="30187"/>
                  </a:lnTo>
                  <a:lnTo>
                    <a:pt x="169367" y="30187"/>
                  </a:lnTo>
                  <a:lnTo>
                    <a:pt x="173990" y="30187"/>
                  </a:lnTo>
                  <a:lnTo>
                    <a:pt x="186029" y="30187"/>
                  </a:lnTo>
                  <a:lnTo>
                    <a:pt x="186728" y="29476"/>
                  </a:lnTo>
                  <a:lnTo>
                    <a:pt x="187439" y="30187"/>
                  </a:lnTo>
                  <a:lnTo>
                    <a:pt x="199491" y="30187"/>
                  </a:lnTo>
                  <a:lnTo>
                    <a:pt x="204101" y="30187"/>
                  </a:lnTo>
                  <a:lnTo>
                    <a:pt x="216154" y="30187"/>
                  </a:lnTo>
                  <a:lnTo>
                    <a:pt x="216852" y="29476"/>
                  </a:lnTo>
                  <a:lnTo>
                    <a:pt x="217551" y="30187"/>
                  </a:lnTo>
                  <a:lnTo>
                    <a:pt x="229603" y="30187"/>
                  </a:lnTo>
                  <a:lnTo>
                    <a:pt x="234226" y="30187"/>
                  </a:lnTo>
                  <a:lnTo>
                    <a:pt x="246265" y="30187"/>
                  </a:lnTo>
                  <a:lnTo>
                    <a:pt x="246964" y="29476"/>
                  </a:lnTo>
                  <a:lnTo>
                    <a:pt x="247675" y="30187"/>
                  </a:lnTo>
                  <a:lnTo>
                    <a:pt x="259727" y="30187"/>
                  </a:lnTo>
                  <a:lnTo>
                    <a:pt x="264337" y="30187"/>
                  </a:lnTo>
                  <a:lnTo>
                    <a:pt x="276390" y="30187"/>
                  </a:lnTo>
                  <a:lnTo>
                    <a:pt x="277088" y="29476"/>
                  </a:lnTo>
                  <a:lnTo>
                    <a:pt x="277787" y="30187"/>
                  </a:lnTo>
                  <a:lnTo>
                    <a:pt x="289839" y="30187"/>
                  </a:lnTo>
                  <a:lnTo>
                    <a:pt x="294462" y="30187"/>
                  </a:lnTo>
                  <a:lnTo>
                    <a:pt x="301891" y="30187"/>
                  </a:lnTo>
                  <a:lnTo>
                    <a:pt x="306501" y="30187"/>
                  </a:lnTo>
                  <a:lnTo>
                    <a:pt x="318554" y="30187"/>
                  </a:lnTo>
                  <a:lnTo>
                    <a:pt x="319252" y="29476"/>
                  </a:lnTo>
                  <a:lnTo>
                    <a:pt x="319963" y="30187"/>
                  </a:lnTo>
                  <a:lnTo>
                    <a:pt x="332003" y="30187"/>
                  </a:lnTo>
                  <a:lnTo>
                    <a:pt x="336626" y="30187"/>
                  </a:lnTo>
                  <a:lnTo>
                    <a:pt x="348665" y="30187"/>
                  </a:lnTo>
                  <a:lnTo>
                    <a:pt x="349364" y="29476"/>
                  </a:lnTo>
                  <a:lnTo>
                    <a:pt x="350075" y="30187"/>
                  </a:lnTo>
                  <a:lnTo>
                    <a:pt x="362127" y="30187"/>
                  </a:lnTo>
                  <a:lnTo>
                    <a:pt x="366737" y="30187"/>
                  </a:lnTo>
                  <a:lnTo>
                    <a:pt x="378790" y="30187"/>
                  </a:lnTo>
                  <a:lnTo>
                    <a:pt x="379488" y="29476"/>
                  </a:lnTo>
                  <a:lnTo>
                    <a:pt x="380199" y="30187"/>
                  </a:lnTo>
                  <a:lnTo>
                    <a:pt x="392239" y="30187"/>
                  </a:lnTo>
                  <a:lnTo>
                    <a:pt x="396862" y="30187"/>
                  </a:lnTo>
                  <a:lnTo>
                    <a:pt x="408901" y="30187"/>
                  </a:lnTo>
                  <a:lnTo>
                    <a:pt x="409600" y="29476"/>
                  </a:lnTo>
                  <a:lnTo>
                    <a:pt x="410311" y="30187"/>
                  </a:lnTo>
                  <a:lnTo>
                    <a:pt x="422363" y="30187"/>
                  </a:lnTo>
                  <a:lnTo>
                    <a:pt x="426974" y="30187"/>
                  </a:lnTo>
                  <a:lnTo>
                    <a:pt x="439026" y="30187"/>
                  </a:lnTo>
                  <a:lnTo>
                    <a:pt x="445757" y="23342"/>
                  </a:lnTo>
                  <a:lnTo>
                    <a:pt x="445757" y="15087"/>
                  </a:lnTo>
                  <a:lnTo>
                    <a:pt x="445757" y="6743"/>
                  </a:lnTo>
                  <a:close/>
                </a:path>
                <a:path w="1144905" h="30479">
                  <a:moveTo>
                    <a:pt x="1144485" y="6743"/>
                  </a:moveTo>
                  <a:lnTo>
                    <a:pt x="1137767" y="0"/>
                  </a:lnTo>
                  <a:lnTo>
                    <a:pt x="1121092" y="0"/>
                  </a:lnTo>
                  <a:lnTo>
                    <a:pt x="1120394" y="711"/>
                  </a:lnTo>
                  <a:lnTo>
                    <a:pt x="1119695" y="0"/>
                  </a:lnTo>
                  <a:lnTo>
                    <a:pt x="1107643" y="0"/>
                  </a:lnTo>
                  <a:lnTo>
                    <a:pt x="1103033" y="0"/>
                  </a:lnTo>
                  <a:lnTo>
                    <a:pt x="1090980" y="0"/>
                  </a:lnTo>
                  <a:lnTo>
                    <a:pt x="1090269" y="711"/>
                  </a:lnTo>
                  <a:lnTo>
                    <a:pt x="1089571" y="0"/>
                  </a:lnTo>
                  <a:lnTo>
                    <a:pt x="1077531" y="0"/>
                  </a:lnTo>
                  <a:lnTo>
                    <a:pt x="1072908" y="0"/>
                  </a:lnTo>
                  <a:lnTo>
                    <a:pt x="1060856" y="0"/>
                  </a:lnTo>
                  <a:lnTo>
                    <a:pt x="1060157" y="711"/>
                  </a:lnTo>
                  <a:lnTo>
                    <a:pt x="1059459" y="0"/>
                  </a:lnTo>
                  <a:lnTo>
                    <a:pt x="1047407" y="0"/>
                  </a:lnTo>
                  <a:lnTo>
                    <a:pt x="1042797" y="0"/>
                  </a:lnTo>
                  <a:lnTo>
                    <a:pt x="1030744" y="0"/>
                  </a:lnTo>
                  <a:lnTo>
                    <a:pt x="1030033" y="711"/>
                  </a:lnTo>
                  <a:lnTo>
                    <a:pt x="1029335" y="0"/>
                  </a:lnTo>
                  <a:lnTo>
                    <a:pt x="1017295" y="0"/>
                  </a:lnTo>
                  <a:lnTo>
                    <a:pt x="1012672" y="0"/>
                  </a:lnTo>
                  <a:lnTo>
                    <a:pt x="1005243" y="0"/>
                  </a:lnTo>
                  <a:lnTo>
                    <a:pt x="1000620" y="0"/>
                  </a:lnTo>
                  <a:lnTo>
                    <a:pt x="988580" y="0"/>
                  </a:lnTo>
                  <a:lnTo>
                    <a:pt x="987869" y="711"/>
                  </a:lnTo>
                  <a:lnTo>
                    <a:pt x="987171" y="0"/>
                  </a:lnTo>
                  <a:lnTo>
                    <a:pt x="975131" y="0"/>
                  </a:lnTo>
                  <a:lnTo>
                    <a:pt x="970508" y="0"/>
                  </a:lnTo>
                  <a:lnTo>
                    <a:pt x="958456" y="0"/>
                  </a:lnTo>
                  <a:lnTo>
                    <a:pt x="957757" y="711"/>
                  </a:lnTo>
                  <a:lnTo>
                    <a:pt x="957059" y="0"/>
                  </a:lnTo>
                  <a:lnTo>
                    <a:pt x="945007" y="0"/>
                  </a:lnTo>
                  <a:lnTo>
                    <a:pt x="940384" y="0"/>
                  </a:lnTo>
                  <a:lnTo>
                    <a:pt x="928344" y="0"/>
                  </a:lnTo>
                  <a:lnTo>
                    <a:pt x="927633" y="711"/>
                  </a:lnTo>
                  <a:lnTo>
                    <a:pt x="926934" y="0"/>
                  </a:lnTo>
                  <a:lnTo>
                    <a:pt x="914895" y="0"/>
                  </a:lnTo>
                  <a:lnTo>
                    <a:pt x="910272" y="0"/>
                  </a:lnTo>
                  <a:lnTo>
                    <a:pt x="898220" y="0"/>
                  </a:lnTo>
                  <a:lnTo>
                    <a:pt x="897521" y="711"/>
                  </a:lnTo>
                  <a:lnTo>
                    <a:pt x="896823" y="0"/>
                  </a:lnTo>
                  <a:lnTo>
                    <a:pt x="884770" y="0"/>
                  </a:lnTo>
                  <a:lnTo>
                    <a:pt x="880148" y="0"/>
                  </a:lnTo>
                  <a:lnTo>
                    <a:pt x="868108" y="0"/>
                  </a:lnTo>
                  <a:lnTo>
                    <a:pt x="867397" y="711"/>
                  </a:lnTo>
                  <a:lnTo>
                    <a:pt x="866698" y="0"/>
                  </a:lnTo>
                  <a:lnTo>
                    <a:pt x="854659" y="0"/>
                  </a:lnTo>
                  <a:lnTo>
                    <a:pt x="850036" y="0"/>
                  </a:lnTo>
                  <a:lnTo>
                    <a:pt x="842606" y="0"/>
                  </a:lnTo>
                  <a:lnTo>
                    <a:pt x="837984" y="0"/>
                  </a:lnTo>
                  <a:lnTo>
                    <a:pt x="825944" y="0"/>
                  </a:lnTo>
                  <a:lnTo>
                    <a:pt x="825233" y="711"/>
                  </a:lnTo>
                  <a:lnTo>
                    <a:pt x="824534" y="0"/>
                  </a:lnTo>
                  <a:lnTo>
                    <a:pt x="812495" y="0"/>
                  </a:lnTo>
                  <a:lnTo>
                    <a:pt x="807872" y="0"/>
                  </a:lnTo>
                  <a:lnTo>
                    <a:pt x="795820" y="0"/>
                  </a:lnTo>
                  <a:lnTo>
                    <a:pt x="795121" y="711"/>
                  </a:lnTo>
                  <a:lnTo>
                    <a:pt x="794423" y="0"/>
                  </a:lnTo>
                  <a:lnTo>
                    <a:pt x="782370" y="0"/>
                  </a:lnTo>
                  <a:lnTo>
                    <a:pt x="777748" y="0"/>
                  </a:lnTo>
                  <a:lnTo>
                    <a:pt x="765708" y="0"/>
                  </a:lnTo>
                  <a:lnTo>
                    <a:pt x="764997" y="711"/>
                  </a:lnTo>
                  <a:lnTo>
                    <a:pt x="764298" y="0"/>
                  </a:lnTo>
                  <a:lnTo>
                    <a:pt x="752259" y="0"/>
                  </a:lnTo>
                  <a:lnTo>
                    <a:pt x="747636" y="0"/>
                  </a:lnTo>
                  <a:lnTo>
                    <a:pt x="735584" y="0"/>
                  </a:lnTo>
                  <a:lnTo>
                    <a:pt x="734885" y="711"/>
                  </a:lnTo>
                  <a:lnTo>
                    <a:pt x="734187" y="0"/>
                  </a:lnTo>
                  <a:lnTo>
                    <a:pt x="722134" y="0"/>
                  </a:lnTo>
                  <a:lnTo>
                    <a:pt x="717511" y="0"/>
                  </a:lnTo>
                  <a:lnTo>
                    <a:pt x="705472" y="0"/>
                  </a:lnTo>
                  <a:lnTo>
                    <a:pt x="704761" y="711"/>
                  </a:lnTo>
                  <a:lnTo>
                    <a:pt x="704062" y="0"/>
                  </a:lnTo>
                  <a:lnTo>
                    <a:pt x="692023" y="0"/>
                  </a:lnTo>
                  <a:lnTo>
                    <a:pt x="687400" y="0"/>
                  </a:lnTo>
                  <a:lnTo>
                    <a:pt x="675347" y="0"/>
                  </a:lnTo>
                  <a:lnTo>
                    <a:pt x="674649" y="711"/>
                  </a:lnTo>
                  <a:lnTo>
                    <a:pt x="673950" y="0"/>
                  </a:lnTo>
                  <a:lnTo>
                    <a:pt x="633183" y="0"/>
                  </a:lnTo>
                  <a:lnTo>
                    <a:pt x="632485" y="711"/>
                  </a:lnTo>
                  <a:lnTo>
                    <a:pt x="631786" y="0"/>
                  </a:lnTo>
                  <a:lnTo>
                    <a:pt x="619734" y="0"/>
                  </a:lnTo>
                  <a:lnTo>
                    <a:pt x="615111" y="0"/>
                  </a:lnTo>
                  <a:lnTo>
                    <a:pt x="603072" y="0"/>
                  </a:lnTo>
                  <a:lnTo>
                    <a:pt x="602361" y="711"/>
                  </a:lnTo>
                  <a:lnTo>
                    <a:pt x="601662" y="0"/>
                  </a:lnTo>
                  <a:lnTo>
                    <a:pt x="589610" y="0"/>
                  </a:lnTo>
                  <a:lnTo>
                    <a:pt x="585000" y="0"/>
                  </a:lnTo>
                  <a:lnTo>
                    <a:pt x="572947" y="0"/>
                  </a:lnTo>
                  <a:lnTo>
                    <a:pt x="572249" y="711"/>
                  </a:lnTo>
                  <a:lnTo>
                    <a:pt x="571550" y="0"/>
                  </a:lnTo>
                  <a:lnTo>
                    <a:pt x="559498" y="0"/>
                  </a:lnTo>
                  <a:lnTo>
                    <a:pt x="554875" y="0"/>
                  </a:lnTo>
                  <a:lnTo>
                    <a:pt x="542836" y="0"/>
                  </a:lnTo>
                  <a:lnTo>
                    <a:pt x="542124" y="711"/>
                  </a:lnTo>
                  <a:lnTo>
                    <a:pt x="541426" y="0"/>
                  </a:lnTo>
                  <a:lnTo>
                    <a:pt x="529374" y="0"/>
                  </a:lnTo>
                  <a:lnTo>
                    <a:pt x="524764" y="0"/>
                  </a:lnTo>
                  <a:lnTo>
                    <a:pt x="512711" y="0"/>
                  </a:lnTo>
                  <a:lnTo>
                    <a:pt x="505993" y="6743"/>
                  </a:lnTo>
                  <a:lnTo>
                    <a:pt x="505993" y="23342"/>
                  </a:lnTo>
                  <a:lnTo>
                    <a:pt x="512711" y="30187"/>
                  </a:lnTo>
                  <a:lnTo>
                    <a:pt x="524764" y="30187"/>
                  </a:lnTo>
                  <a:lnTo>
                    <a:pt x="529374" y="30187"/>
                  </a:lnTo>
                  <a:lnTo>
                    <a:pt x="541426" y="30187"/>
                  </a:lnTo>
                  <a:lnTo>
                    <a:pt x="542124" y="29476"/>
                  </a:lnTo>
                  <a:lnTo>
                    <a:pt x="542836" y="30187"/>
                  </a:lnTo>
                  <a:lnTo>
                    <a:pt x="554875" y="30187"/>
                  </a:lnTo>
                  <a:lnTo>
                    <a:pt x="559498" y="30187"/>
                  </a:lnTo>
                  <a:lnTo>
                    <a:pt x="571550" y="30187"/>
                  </a:lnTo>
                  <a:lnTo>
                    <a:pt x="572249" y="29476"/>
                  </a:lnTo>
                  <a:lnTo>
                    <a:pt x="572947" y="30187"/>
                  </a:lnTo>
                  <a:lnTo>
                    <a:pt x="585000" y="30187"/>
                  </a:lnTo>
                  <a:lnTo>
                    <a:pt x="589610" y="30187"/>
                  </a:lnTo>
                  <a:lnTo>
                    <a:pt x="601662" y="30187"/>
                  </a:lnTo>
                  <a:lnTo>
                    <a:pt x="602361" y="29476"/>
                  </a:lnTo>
                  <a:lnTo>
                    <a:pt x="603072" y="30187"/>
                  </a:lnTo>
                  <a:lnTo>
                    <a:pt x="615111" y="30187"/>
                  </a:lnTo>
                  <a:lnTo>
                    <a:pt x="619734" y="30187"/>
                  </a:lnTo>
                  <a:lnTo>
                    <a:pt x="631786" y="30187"/>
                  </a:lnTo>
                  <a:lnTo>
                    <a:pt x="632485" y="29476"/>
                  </a:lnTo>
                  <a:lnTo>
                    <a:pt x="633183" y="30187"/>
                  </a:lnTo>
                  <a:lnTo>
                    <a:pt x="645236" y="30187"/>
                  </a:lnTo>
                  <a:lnTo>
                    <a:pt x="649846" y="30187"/>
                  </a:lnTo>
                  <a:lnTo>
                    <a:pt x="657275" y="30187"/>
                  </a:lnTo>
                  <a:lnTo>
                    <a:pt x="661898" y="30187"/>
                  </a:lnTo>
                  <a:lnTo>
                    <a:pt x="673950" y="30187"/>
                  </a:lnTo>
                  <a:lnTo>
                    <a:pt x="674649" y="29476"/>
                  </a:lnTo>
                  <a:lnTo>
                    <a:pt x="675347" y="30187"/>
                  </a:lnTo>
                  <a:lnTo>
                    <a:pt x="687400" y="30187"/>
                  </a:lnTo>
                  <a:lnTo>
                    <a:pt x="692023" y="30187"/>
                  </a:lnTo>
                  <a:lnTo>
                    <a:pt x="704062" y="30187"/>
                  </a:lnTo>
                  <a:lnTo>
                    <a:pt x="704761" y="29476"/>
                  </a:lnTo>
                  <a:lnTo>
                    <a:pt x="705472" y="30187"/>
                  </a:lnTo>
                  <a:lnTo>
                    <a:pt x="717511" y="30187"/>
                  </a:lnTo>
                  <a:lnTo>
                    <a:pt x="722134" y="30187"/>
                  </a:lnTo>
                  <a:lnTo>
                    <a:pt x="734187" y="30187"/>
                  </a:lnTo>
                  <a:lnTo>
                    <a:pt x="734885" y="29476"/>
                  </a:lnTo>
                  <a:lnTo>
                    <a:pt x="735584" y="30187"/>
                  </a:lnTo>
                  <a:lnTo>
                    <a:pt x="747636" y="30187"/>
                  </a:lnTo>
                  <a:lnTo>
                    <a:pt x="752259" y="30187"/>
                  </a:lnTo>
                  <a:lnTo>
                    <a:pt x="764298" y="30187"/>
                  </a:lnTo>
                  <a:lnTo>
                    <a:pt x="764997" y="29476"/>
                  </a:lnTo>
                  <a:lnTo>
                    <a:pt x="765708" y="30187"/>
                  </a:lnTo>
                  <a:lnTo>
                    <a:pt x="777748" y="30187"/>
                  </a:lnTo>
                  <a:lnTo>
                    <a:pt x="782370" y="30187"/>
                  </a:lnTo>
                  <a:lnTo>
                    <a:pt x="794423" y="30187"/>
                  </a:lnTo>
                  <a:lnTo>
                    <a:pt x="795121" y="29476"/>
                  </a:lnTo>
                  <a:lnTo>
                    <a:pt x="795820" y="30187"/>
                  </a:lnTo>
                  <a:lnTo>
                    <a:pt x="807872" y="30187"/>
                  </a:lnTo>
                  <a:lnTo>
                    <a:pt x="812495" y="30187"/>
                  </a:lnTo>
                  <a:lnTo>
                    <a:pt x="824534" y="30187"/>
                  </a:lnTo>
                  <a:lnTo>
                    <a:pt x="825233" y="29476"/>
                  </a:lnTo>
                  <a:lnTo>
                    <a:pt x="825944" y="30187"/>
                  </a:lnTo>
                  <a:lnTo>
                    <a:pt x="866698" y="30187"/>
                  </a:lnTo>
                  <a:lnTo>
                    <a:pt x="867397" y="29476"/>
                  </a:lnTo>
                  <a:lnTo>
                    <a:pt x="868108" y="30187"/>
                  </a:lnTo>
                  <a:lnTo>
                    <a:pt x="880148" y="30187"/>
                  </a:lnTo>
                  <a:lnTo>
                    <a:pt x="884770" y="30187"/>
                  </a:lnTo>
                  <a:lnTo>
                    <a:pt x="896823" y="30187"/>
                  </a:lnTo>
                  <a:lnTo>
                    <a:pt x="897521" y="29476"/>
                  </a:lnTo>
                  <a:lnTo>
                    <a:pt x="898220" y="30187"/>
                  </a:lnTo>
                  <a:lnTo>
                    <a:pt x="910272" y="30187"/>
                  </a:lnTo>
                  <a:lnTo>
                    <a:pt x="914895" y="30187"/>
                  </a:lnTo>
                  <a:lnTo>
                    <a:pt x="926934" y="30187"/>
                  </a:lnTo>
                  <a:lnTo>
                    <a:pt x="927633" y="29476"/>
                  </a:lnTo>
                  <a:lnTo>
                    <a:pt x="928344" y="30187"/>
                  </a:lnTo>
                  <a:lnTo>
                    <a:pt x="940384" y="30187"/>
                  </a:lnTo>
                  <a:lnTo>
                    <a:pt x="945007" y="30187"/>
                  </a:lnTo>
                  <a:lnTo>
                    <a:pt x="957059" y="30187"/>
                  </a:lnTo>
                  <a:lnTo>
                    <a:pt x="957757" y="29476"/>
                  </a:lnTo>
                  <a:lnTo>
                    <a:pt x="958456" y="30187"/>
                  </a:lnTo>
                  <a:lnTo>
                    <a:pt x="970508" y="30187"/>
                  </a:lnTo>
                  <a:lnTo>
                    <a:pt x="975131" y="30187"/>
                  </a:lnTo>
                  <a:lnTo>
                    <a:pt x="987171" y="30187"/>
                  </a:lnTo>
                  <a:lnTo>
                    <a:pt x="987869" y="29476"/>
                  </a:lnTo>
                  <a:lnTo>
                    <a:pt x="988580" y="30187"/>
                  </a:lnTo>
                  <a:lnTo>
                    <a:pt x="1000620" y="30187"/>
                  </a:lnTo>
                  <a:lnTo>
                    <a:pt x="1005243" y="30187"/>
                  </a:lnTo>
                  <a:lnTo>
                    <a:pt x="1012672" y="30187"/>
                  </a:lnTo>
                  <a:lnTo>
                    <a:pt x="1017295" y="30187"/>
                  </a:lnTo>
                  <a:lnTo>
                    <a:pt x="1029335" y="30187"/>
                  </a:lnTo>
                  <a:lnTo>
                    <a:pt x="1030033" y="29476"/>
                  </a:lnTo>
                  <a:lnTo>
                    <a:pt x="1030744" y="30187"/>
                  </a:lnTo>
                  <a:lnTo>
                    <a:pt x="1042797" y="30187"/>
                  </a:lnTo>
                  <a:lnTo>
                    <a:pt x="1047407" y="30187"/>
                  </a:lnTo>
                  <a:lnTo>
                    <a:pt x="1059459" y="30187"/>
                  </a:lnTo>
                  <a:lnTo>
                    <a:pt x="1060157" y="29476"/>
                  </a:lnTo>
                  <a:lnTo>
                    <a:pt x="1060856" y="30187"/>
                  </a:lnTo>
                  <a:lnTo>
                    <a:pt x="1072908" y="30187"/>
                  </a:lnTo>
                  <a:lnTo>
                    <a:pt x="1077531" y="30187"/>
                  </a:lnTo>
                  <a:lnTo>
                    <a:pt x="1089571" y="30187"/>
                  </a:lnTo>
                  <a:lnTo>
                    <a:pt x="1090269" y="29476"/>
                  </a:lnTo>
                  <a:lnTo>
                    <a:pt x="1090980" y="30187"/>
                  </a:lnTo>
                  <a:lnTo>
                    <a:pt x="1103033" y="30187"/>
                  </a:lnTo>
                  <a:lnTo>
                    <a:pt x="1107643" y="30187"/>
                  </a:lnTo>
                  <a:lnTo>
                    <a:pt x="1119695" y="30187"/>
                  </a:lnTo>
                  <a:lnTo>
                    <a:pt x="1120394" y="29476"/>
                  </a:lnTo>
                  <a:lnTo>
                    <a:pt x="1121092" y="30187"/>
                  </a:lnTo>
                  <a:lnTo>
                    <a:pt x="1137767" y="30187"/>
                  </a:lnTo>
                  <a:lnTo>
                    <a:pt x="1144485" y="23342"/>
                  </a:lnTo>
                  <a:lnTo>
                    <a:pt x="1144485" y="15087"/>
                  </a:lnTo>
                  <a:lnTo>
                    <a:pt x="1144485" y="6743"/>
                  </a:lnTo>
                  <a:close/>
                </a:path>
              </a:pathLst>
            </a:custGeom>
            <a:solidFill>
              <a:srgbClr val="94373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8" name="object 18"/>
            <p:cNvSpPr/>
            <p:nvPr/>
          </p:nvSpPr>
          <p:spPr>
            <a:xfrm>
              <a:off x="2054047" y="3676535"/>
              <a:ext cx="386080" cy="30480"/>
            </a:xfrm>
            <a:custGeom>
              <a:avLst/>
              <a:gdLst/>
              <a:ahLst/>
              <a:cxnLst/>
              <a:rect l="l" t="t" r="r" b="b"/>
              <a:pathLst>
                <a:path w="386080" h="30479">
                  <a:moveTo>
                    <a:pt x="385508" y="6743"/>
                  </a:moveTo>
                  <a:lnTo>
                    <a:pt x="378777" y="0"/>
                  </a:lnTo>
                  <a:lnTo>
                    <a:pt x="362115" y="0"/>
                  </a:lnTo>
                  <a:lnTo>
                    <a:pt x="361416" y="711"/>
                  </a:lnTo>
                  <a:lnTo>
                    <a:pt x="360718" y="0"/>
                  </a:lnTo>
                  <a:lnTo>
                    <a:pt x="348665" y="0"/>
                  </a:lnTo>
                  <a:lnTo>
                    <a:pt x="344043" y="0"/>
                  </a:lnTo>
                  <a:lnTo>
                    <a:pt x="332003" y="0"/>
                  </a:lnTo>
                  <a:lnTo>
                    <a:pt x="331292" y="711"/>
                  </a:lnTo>
                  <a:lnTo>
                    <a:pt x="330593" y="0"/>
                  </a:lnTo>
                  <a:lnTo>
                    <a:pt x="318541" y="0"/>
                  </a:lnTo>
                  <a:lnTo>
                    <a:pt x="313931" y="0"/>
                  </a:lnTo>
                  <a:lnTo>
                    <a:pt x="301879" y="0"/>
                  </a:lnTo>
                  <a:lnTo>
                    <a:pt x="301180" y="711"/>
                  </a:lnTo>
                  <a:lnTo>
                    <a:pt x="300482" y="0"/>
                  </a:lnTo>
                  <a:lnTo>
                    <a:pt x="288429" y="0"/>
                  </a:lnTo>
                  <a:lnTo>
                    <a:pt x="283806" y="0"/>
                  </a:lnTo>
                  <a:lnTo>
                    <a:pt x="271767" y="0"/>
                  </a:lnTo>
                  <a:lnTo>
                    <a:pt x="271056" y="711"/>
                  </a:lnTo>
                  <a:lnTo>
                    <a:pt x="270357" y="0"/>
                  </a:lnTo>
                  <a:lnTo>
                    <a:pt x="258305" y="0"/>
                  </a:lnTo>
                  <a:lnTo>
                    <a:pt x="253695" y="0"/>
                  </a:lnTo>
                  <a:lnTo>
                    <a:pt x="246265" y="0"/>
                  </a:lnTo>
                  <a:lnTo>
                    <a:pt x="241642" y="0"/>
                  </a:lnTo>
                  <a:lnTo>
                    <a:pt x="229603" y="0"/>
                  </a:lnTo>
                  <a:lnTo>
                    <a:pt x="228892" y="711"/>
                  </a:lnTo>
                  <a:lnTo>
                    <a:pt x="228193" y="0"/>
                  </a:lnTo>
                  <a:lnTo>
                    <a:pt x="216141" y="0"/>
                  </a:lnTo>
                  <a:lnTo>
                    <a:pt x="211531" y="0"/>
                  </a:lnTo>
                  <a:lnTo>
                    <a:pt x="199478" y="0"/>
                  </a:lnTo>
                  <a:lnTo>
                    <a:pt x="198767" y="711"/>
                  </a:lnTo>
                  <a:lnTo>
                    <a:pt x="198069" y="0"/>
                  </a:lnTo>
                  <a:lnTo>
                    <a:pt x="186029" y="0"/>
                  </a:lnTo>
                  <a:lnTo>
                    <a:pt x="181406" y="0"/>
                  </a:lnTo>
                  <a:lnTo>
                    <a:pt x="169367" y="0"/>
                  </a:lnTo>
                  <a:lnTo>
                    <a:pt x="168656" y="711"/>
                  </a:lnTo>
                  <a:lnTo>
                    <a:pt x="167957" y="0"/>
                  </a:lnTo>
                  <a:lnTo>
                    <a:pt x="155905" y="0"/>
                  </a:lnTo>
                  <a:lnTo>
                    <a:pt x="151295" y="0"/>
                  </a:lnTo>
                  <a:lnTo>
                    <a:pt x="139242" y="0"/>
                  </a:lnTo>
                  <a:lnTo>
                    <a:pt x="138531" y="711"/>
                  </a:lnTo>
                  <a:lnTo>
                    <a:pt x="137833" y="0"/>
                  </a:lnTo>
                  <a:lnTo>
                    <a:pt x="125793" y="0"/>
                  </a:lnTo>
                  <a:lnTo>
                    <a:pt x="121170" y="0"/>
                  </a:lnTo>
                  <a:lnTo>
                    <a:pt x="109131" y="0"/>
                  </a:lnTo>
                  <a:lnTo>
                    <a:pt x="108419" y="711"/>
                  </a:lnTo>
                  <a:lnTo>
                    <a:pt x="107721" y="0"/>
                  </a:lnTo>
                  <a:lnTo>
                    <a:pt x="95669" y="0"/>
                  </a:lnTo>
                  <a:lnTo>
                    <a:pt x="91059" y="0"/>
                  </a:lnTo>
                  <a:lnTo>
                    <a:pt x="83629" y="0"/>
                  </a:lnTo>
                  <a:lnTo>
                    <a:pt x="79006" y="0"/>
                  </a:lnTo>
                  <a:lnTo>
                    <a:pt x="66954" y="0"/>
                  </a:lnTo>
                  <a:lnTo>
                    <a:pt x="66255" y="711"/>
                  </a:lnTo>
                  <a:lnTo>
                    <a:pt x="65557" y="0"/>
                  </a:lnTo>
                  <a:lnTo>
                    <a:pt x="53505" y="0"/>
                  </a:lnTo>
                  <a:lnTo>
                    <a:pt x="48895" y="0"/>
                  </a:lnTo>
                  <a:lnTo>
                    <a:pt x="36842" y="0"/>
                  </a:lnTo>
                  <a:lnTo>
                    <a:pt x="36131" y="711"/>
                  </a:lnTo>
                  <a:lnTo>
                    <a:pt x="35433" y="0"/>
                  </a:lnTo>
                  <a:lnTo>
                    <a:pt x="23393" y="0"/>
                  </a:lnTo>
                  <a:lnTo>
                    <a:pt x="18770" y="0"/>
                  </a:lnTo>
                  <a:lnTo>
                    <a:pt x="6718" y="0"/>
                  </a:lnTo>
                  <a:lnTo>
                    <a:pt x="0" y="6743"/>
                  </a:lnTo>
                  <a:lnTo>
                    <a:pt x="0" y="23342"/>
                  </a:lnTo>
                  <a:lnTo>
                    <a:pt x="6718" y="30187"/>
                  </a:lnTo>
                  <a:lnTo>
                    <a:pt x="18770" y="30187"/>
                  </a:lnTo>
                  <a:lnTo>
                    <a:pt x="23393" y="30187"/>
                  </a:lnTo>
                  <a:lnTo>
                    <a:pt x="35433" y="30187"/>
                  </a:lnTo>
                  <a:lnTo>
                    <a:pt x="36131" y="29476"/>
                  </a:lnTo>
                  <a:lnTo>
                    <a:pt x="36842" y="30187"/>
                  </a:lnTo>
                  <a:lnTo>
                    <a:pt x="48895" y="30187"/>
                  </a:lnTo>
                  <a:lnTo>
                    <a:pt x="53505" y="30187"/>
                  </a:lnTo>
                  <a:lnTo>
                    <a:pt x="65557" y="30187"/>
                  </a:lnTo>
                  <a:lnTo>
                    <a:pt x="66255" y="29476"/>
                  </a:lnTo>
                  <a:lnTo>
                    <a:pt x="66954" y="30187"/>
                  </a:lnTo>
                  <a:lnTo>
                    <a:pt x="79006" y="30187"/>
                  </a:lnTo>
                  <a:lnTo>
                    <a:pt x="83629" y="30187"/>
                  </a:lnTo>
                  <a:lnTo>
                    <a:pt x="91059" y="30187"/>
                  </a:lnTo>
                  <a:lnTo>
                    <a:pt x="95669" y="30187"/>
                  </a:lnTo>
                  <a:lnTo>
                    <a:pt x="107721" y="30187"/>
                  </a:lnTo>
                  <a:lnTo>
                    <a:pt x="108419" y="29476"/>
                  </a:lnTo>
                  <a:lnTo>
                    <a:pt x="109131" y="30187"/>
                  </a:lnTo>
                  <a:lnTo>
                    <a:pt x="121170" y="30187"/>
                  </a:lnTo>
                  <a:lnTo>
                    <a:pt x="125793" y="30187"/>
                  </a:lnTo>
                  <a:lnTo>
                    <a:pt x="137833" y="30187"/>
                  </a:lnTo>
                  <a:lnTo>
                    <a:pt x="138531" y="29476"/>
                  </a:lnTo>
                  <a:lnTo>
                    <a:pt x="139242" y="30187"/>
                  </a:lnTo>
                  <a:lnTo>
                    <a:pt x="151295" y="30187"/>
                  </a:lnTo>
                  <a:lnTo>
                    <a:pt x="155905" y="30187"/>
                  </a:lnTo>
                  <a:lnTo>
                    <a:pt x="167957" y="30187"/>
                  </a:lnTo>
                  <a:lnTo>
                    <a:pt x="168656" y="29476"/>
                  </a:lnTo>
                  <a:lnTo>
                    <a:pt x="169367" y="30187"/>
                  </a:lnTo>
                  <a:lnTo>
                    <a:pt x="181406" y="30187"/>
                  </a:lnTo>
                  <a:lnTo>
                    <a:pt x="186029" y="30187"/>
                  </a:lnTo>
                  <a:lnTo>
                    <a:pt x="198069" y="30187"/>
                  </a:lnTo>
                  <a:lnTo>
                    <a:pt x="198767" y="29476"/>
                  </a:lnTo>
                  <a:lnTo>
                    <a:pt x="199478" y="30187"/>
                  </a:lnTo>
                  <a:lnTo>
                    <a:pt x="211531" y="30187"/>
                  </a:lnTo>
                  <a:lnTo>
                    <a:pt x="216141" y="30187"/>
                  </a:lnTo>
                  <a:lnTo>
                    <a:pt x="228193" y="30187"/>
                  </a:lnTo>
                  <a:lnTo>
                    <a:pt x="228892" y="29476"/>
                  </a:lnTo>
                  <a:lnTo>
                    <a:pt x="229603" y="30187"/>
                  </a:lnTo>
                  <a:lnTo>
                    <a:pt x="241642" y="30187"/>
                  </a:lnTo>
                  <a:lnTo>
                    <a:pt x="246265" y="30187"/>
                  </a:lnTo>
                  <a:lnTo>
                    <a:pt x="253695" y="30187"/>
                  </a:lnTo>
                  <a:lnTo>
                    <a:pt x="258305" y="30187"/>
                  </a:lnTo>
                  <a:lnTo>
                    <a:pt x="270357" y="30187"/>
                  </a:lnTo>
                  <a:lnTo>
                    <a:pt x="271056" y="29476"/>
                  </a:lnTo>
                  <a:lnTo>
                    <a:pt x="271767" y="30187"/>
                  </a:lnTo>
                  <a:lnTo>
                    <a:pt x="283806" y="30187"/>
                  </a:lnTo>
                  <a:lnTo>
                    <a:pt x="288429" y="30187"/>
                  </a:lnTo>
                  <a:lnTo>
                    <a:pt x="300482" y="30187"/>
                  </a:lnTo>
                  <a:lnTo>
                    <a:pt x="301180" y="29476"/>
                  </a:lnTo>
                  <a:lnTo>
                    <a:pt x="301879" y="30187"/>
                  </a:lnTo>
                  <a:lnTo>
                    <a:pt x="313931" y="30187"/>
                  </a:lnTo>
                  <a:lnTo>
                    <a:pt x="318541" y="30187"/>
                  </a:lnTo>
                  <a:lnTo>
                    <a:pt x="330593" y="30187"/>
                  </a:lnTo>
                  <a:lnTo>
                    <a:pt x="331292" y="29476"/>
                  </a:lnTo>
                  <a:lnTo>
                    <a:pt x="332003" y="30187"/>
                  </a:lnTo>
                  <a:lnTo>
                    <a:pt x="344043" y="30187"/>
                  </a:lnTo>
                  <a:lnTo>
                    <a:pt x="348665" y="30187"/>
                  </a:lnTo>
                  <a:lnTo>
                    <a:pt x="360718" y="30187"/>
                  </a:lnTo>
                  <a:lnTo>
                    <a:pt x="361416" y="29476"/>
                  </a:lnTo>
                  <a:lnTo>
                    <a:pt x="362115" y="30187"/>
                  </a:lnTo>
                  <a:lnTo>
                    <a:pt x="378777" y="30187"/>
                  </a:lnTo>
                  <a:lnTo>
                    <a:pt x="385508" y="23342"/>
                  </a:lnTo>
                  <a:lnTo>
                    <a:pt x="385508" y="15087"/>
                  </a:lnTo>
                  <a:lnTo>
                    <a:pt x="385508" y="6743"/>
                  </a:lnTo>
                  <a:close/>
                </a:path>
              </a:pathLst>
            </a:custGeom>
            <a:solidFill>
              <a:srgbClr val="94373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9" name="object 19"/>
            <p:cNvSpPr/>
            <p:nvPr/>
          </p:nvSpPr>
          <p:spPr>
            <a:xfrm>
              <a:off x="704762" y="4159529"/>
              <a:ext cx="1831339" cy="882015"/>
            </a:xfrm>
            <a:custGeom>
              <a:avLst/>
              <a:gdLst/>
              <a:ahLst/>
              <a:cxnLst/>
              <a:rect l="l" t="t" r="r" b="b"/>
              <a:pathLst>
                <a:path w="1831339" h="882014">
                  <a:moveTo>
                    <a:pt x="1831177" y="0"/>
                  </a:moveTo>
                  <a:lnTo>
                    <a:pt x="0" y="0"/>
                  </a:lnTo>
                  <a:lnTo>
                    <a:pt x="0" y="881573"/>
                  </a:lnTo>
                  <a:lnTo>
                    <a:pt x="1831177" y="881573"/>
                  </a:lnTo>
                  <a:lnTo>
                    <a:pt x="1831177"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0" name="object 20"/>
            <p:cNvSpPr/>
            <p:nvPr/>
          </p:nvSpPr>
          <p:spPr>
            <a:xfrm>
              <a:off x="912577" y="4271286"/>
              <a:ext cx="1511935" cy="658495"/>
            </a:xfrm>
            <a:custGeom>
              <a:avLst/>
              <a:gdLst/>
              <a:ahLst/>
              <a:cxnLst/>
              <a:rect l="l" t="t" r="r" b="b"/>
              <a:pathLst>
                <a:path w="1511935" h="658495">
                  <a:moveTo>
                    <a:pt x="30118" y="658160"/>
                  </a:moveTo>
                  <a:lnTo>
                    <a:pt x="1511926" y="658160"/>
                  </a:lnTo>
                </a:path>
                <a:path w="1511935" h="658495">
                  <a:moveTo>
                    <a:pt x="30118" y="495130"/>
                  </a:moveTo>
                  <a:lnTo>
                    <a:pt x="1511926" y="495130"/>
                  </a:lnTo>
                </a:path>
                <a:path w="1511935" h="658495">
                  <a:moveTo>
                    <a:pt x="30118" y="163030"/>
                  </a:moveTo>
                  <a:lnTo>
                    <a:pt x="1511926" y="163030"/>
                  </a:lnTo>
                </a:path>
                <a:path w="1511935" h="658495">
                  <a:moveTo>
                    <a:pt x="30118" y="0"/>
                  </a:moveTo>
                  <a:lnTo>
                    <a:pt x="1511926" y="0"/>
                  </a:lnTo>
                </a:path>
                <a:path w="1511935" h="658495">
                  <a:moveTo>
                    <a:pt x="30118" y="658160"/>
                  </a:moveTo>
                  <a:lnTo>
                    <a:pt x="30118" y="0"/>
                  </a:lnTo>
                </a:path>
                <a:path w="1511935" h="658495">
                  <a:moveTo>
                    <a:pt x="0" y="658160"/>
                  </a:moveTo>
                  <a:lnTo>
                    <a:pt x="30118" y="658160"/>
                  </a:lnTo>
                </a:path>
                <a:path w="1511935" h="658495">
                  <a:moveTo>
                    <a:pt x="0" y="495130"/>
                  </a:moveTo>
                  <a:lnTo>
                    <a:pt x="30118" y="495130"/>
                  </a:lnTo>
                </a:path>
                <a:path w="1511935" h="658495">
                  <a:moveTo>
                    <a:pt x="0" y="332099"/>
                  </a:moveTo>
                  <a:lnTo>
                    <a:pt x="30118" y="332099"/>
                  </a:lnTo>
                </a:path>
                <a:path w="1511935" h="658495">
                  <a:moveTo>
                    <a:pt x="0" y="163030"/>
                  </a:moveTo>
                  <a:lnTo>
                    <a:pt x="30118" y="163030"/>
                  </a:lnTo>
                </a:path>
                <a:path w="1511935" h="658495">
                  <a:moveTo>
                    <a:pt x="0" y="0"/>
                  </a:moveTo>
                  <a:lnTo>
                    <a:pt x="30118" y="0"/>
                  </a:lnTo>
                </a:path>
                <a:path w="1511935" h="658495">
                  <a:moveTo>
                    <a:pt x="30118" y="332099"/>
                  </a:moveTo>
                  <a:lnTo>
                    <a:pt x="1511926" y="332099"/>
                  </a:lnTo>
                </a:path>
              </a:pathLst>
            </a:custGeom>
            <a:ln w="6036">
              <a:solidFill>
                <a:srgbClr val="85858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1" name="object 21"/>
            <p:cNvSpPr/>
            <p:nvPr/>
          </p:nvSpPr>
          <p:spPr>
            <a:xfrm>
              <a:off x="939683" y="4760378"/>
              <a:ext cx="433705" cy="0"/>
            </a:xfrm>
            <a:custGeom>
              <a:avLst/>
              <a:gdLst/>
              <a:ahLst/>
              <a:cxnLst/>
              <a:rect l="l" t="t" r="r" b="b"/>
              <a:pathLst>
                <a:path w="433705">
                  <a:moveTo>
                    <a:pt x="0" y="0"/>
                  </a:moveTo>
                  <a:lnTo>
                    <a:pt x="433700" y="0"/>
                  </a:lnTo>
                </a:path>
              </a:pathLst>
            </a:custGeom>
            <a:ln w="30190">
              <a:solidFill>
                <a:srgbClr val="1F487C"/>
              </a:solidFill>
              <a:prstDash val="sys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2" name="object 22"/>
            <p:cNvSpPr/>
            <p:nvPr/>
          </p:nvSpPr>
          <p:spPr>
            <a:xfrm>
              <a:off x="957754" y="4597347"/>
              <a:ext cx="427990" cy="0"/>
            </a:xfrm>
            <a:custGeom>
              <a:avLst/>
              <a:gdLst/>
              <a:ahLst/>
              <a:cxnLst/>
              <a:rect l="l" t="t" r="r" b="b"/>
              <a:pathLst>
                <a:path w="427990">
                  <a:moveTo>
                    <a:pt x="0" y="0"/>
                  </a:moveTo>
                  <a:lnTo>
                    <a:pt x="427676" y="0"/>
                  </a:lnTo>
                </a:path>
              </a:pathLst>
            </a:custGeom>
            <a:ln w="30190">
              <a:solidFill>
                <a:srgbClr val="1F487C"/>
              </a:solidFill>
              <a:prstDash val="sys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3" name="object 23"/>
            <p:cNvSpPr/>
            <p:nvPr/>
          </p:nvSpPr>
          <p:spPr>
            <a:xfrm>
              <a:off x="969797" y="4419231"/>
              <a:ext cx="386080" cy="30480"/>
            </a:xfrm>
            <a:custGeom>
              <a:avLst/>
              <a:gdLst/>
              <a:ahLst/>
              <a:cxnLst/>
              <a:rect l="l" t="t" r="r" b="b"/>
              <a:pathLst>
                <a:path w="386080" h="30479">
                  <a:moveTo>
                    <a:pt x="30111" y="6743"/>
                  </a:moveTo>
                  <a:lnTo>
                    <a:pt x="23368" y="0"/>
                  </a:lnTo>
                  <a:lnTo>
                    <a:pt x="6743" y="0"/>
                  </a:lnTo>
                  <a:lnTo>
                    <a:pt x="0" y="6743"/>
                  </a:lnTo>
                  <a:lnTo>
                    <a:pt x="0" y="23342"/>
                  </a:lnTo>
                  <a:lnTo>
                    <a:pt x="6743" y="30187"/>
                  </a:lnTo>
                  <a:lnTo>
                    <a:pt x="23368" y="30187"/>
                  </a:lnTo>
                  <a:lnTo>
                    <a:pt x="30111" y="23342"/>
                  </a:lnTo>
                  <a:lnTo>
                    <a:pt x="30111" y="15087"/>
                  </a:lnTo>
                  <a:lnTo>
                    <a:pt x="30111" y="6743"/>
                  </a:lnTo>
                  <a:close/>
                </a:path>
                <a:path w="386080" h="30479">
                  <a:moveTo>
                    <a:pt x="78308" y="6743"/>
                  </a:moveTo>
                  <a:lnTo>
                    <a:pt x="71577" y="0"/>
                  </a:lnTo>
                  <a:lnTo>
                    <a:pt x="54914" y="0"/>
                  </a:lnTo>
                  <a:lnTo>
                    <a:pt x="48183" y="6743"/>
                  </a:lnTo>
                  <a:lnTo>
                    <a:pt x="48183" y="23342"/>
                  </a:lnTo>
                  <a:lnTo>
                    <a:pt x="54914" y="30187"/>
                  </a:lnTo>
                  <a:lnTo>
                    <a:pt x="71577" y="30187"/>
                  </a:lnTo>
                  <a:lnTo>
                    <a:pt x="78308" y="23342"/>
                  </a:lnTo>
                  <a:lnTo>
                    <a:pt x="78308" y="15087"/>
                  </a:lnTo>
                  <a:lnTo>
                    <a:pt x="78308" y="6743"/>
                  </a:lnTo>
                  <a:close/>
                </a:path>
                <a:path w="386080" h="30479">
                  <a:moveTo>
                    <a:pt x="120472" y="6743"/>
                  </a:moveTo>
                  <a:lnTo>
                    <a:pt x="113741" y="0"/>
                  </a:lnTo>
                  <a:lnTo>
                    <a:pt x="97078" y="0"/>
                  </a:lnTo>
                  <a:lnTo>
                    <a:pt x="90347" y="6743"/>
                  </a:lnTo>
                  <a:lnTo>
                    <a:pt x="90347" y="23342"/>
                  </a:lnTo>
                  <a:lnTo>
                    <a:pt x="97078" y="30187"/>
                  </a:lnTo>
                  <a:lnTo>
                    <a:pt x="113741" y="30187"/>
                  </a:lnTo>
                  <a:lnTo>
                    <a:pt x="120472" y="23342"/>
                  </a:lnTo>
                  <a:lnTo>
                    <a:pt x="120472" y="15087"/>
                  </a:lnTo>
                  <a:lnTo>
                    <a:pt x="120472" y="6743"/>
                  </a:lnTo>
                  <a:close/>
                </a:path>
                <a:path w="386080" h="30479">
                  <a:moveTo>
                    <a:pt x="162636" y="6743"/>
                  </a:moveTo>
                  <a:lnTo>
                    <a:pt x="155905" y="0"/>
                  </a:lnTo>
                  <a:lnTo>
                    <a:pt x="139242" y="0"/>
                  </a:lnTo>
                  <a:lnTo>
                    <a:pt x="132511" y="6743"/>
                  </a:lnTo>
                  <a:lnTo>
                    <a:pt x="132511" y="23342"/>
                  </a:lnTo>
                  <a:lnTo>
                    <a:pt x="139242" y="30187"/>
                  </a:lnTo>
                  <a:lnTo>
                    <a:pt x="155905" y="30187"/>
                  </a:lnTo>
                  <a:lnTo>
                    <a:pt x="162636" y="23342"/>
                  </a:lnTo>
                  <a:lnTo>
                    <a:pt x="162636" y="15087"/>
                  </a:lnTo>
                  <a:lnTo>
                    <a:pt x="162636" y="6743"/>
                  </a:lnTo>
                  <a:close/>
                </a:path>
                <a:path w="386080" h="30479">
                  <a:moveTo>
                    <a:pt x="210820" y="6743"/>
                  </a:moveTo>
                  <a:lnTo>
                    <a:pt x="204101" y="0"/>
                  </a:lnTo>
                  <a:lnTo>
                    <a:pt x="187426" y="0"/>
                  </a:lnTo>
                  <a:lnTo>
                    <a:pt x="180708" y="6743"/>
                  </a:lnTo>
                  <a:lnTo>
                    <a:pt x="180708" y="23342"/>
                  </a:lnTo>
                  <a:lnTo>
                    <a:pt x="187426" y="30187"/>
                  </a:lnTo>
                  <a:lnTo>
                    <a:pt x="204101" y="30187"/>
                  </a:lnTo>
                  <a:lnTo>
                    <a:pt x="210820" y="23342"/>
                  </a:lnTo>
                  <a:lnTo>
                    <a:pt x="210820" y="15087"/>
                  </a:lnTo>
                  <a:lnTo>
                    <a:pt x="210820" y="6743"/>
                  </a:lnTo>
                  <a:close/>
                </a:path>
                <a:path w="386080" h="30479">
                  <a:moveTo>
                    <a:pt x="252984" y="6743"/>
                  </a:moveTo>
                  <a:lnTo>
                    <a:pt x="246265" y="0"/>
                  </a:lnTo>
                  <a:lnTo>
                    <a:pt x="229603" y="0"/>
                  </a:lnTo>
                  <a:lnTo>
                    <a:pt x="222872" y="6743"/>
                  </a:lnTo>
                  <a:lnTo>
                    <a:pt x="222872" y="23342"/>
                  </a:lnTo>
                  <a:lnTo>
                    <a:pt x="229603" y="30187"/>
                  </a:lnTo>
                  <a:lnTo>
                    <a:pt x="246265" y="30187"/>
                  </a:lnTo>
                  <a:lnTo>
                    <a:pt x="252984" y="23342"/>
                  </a:lnTo>
                  <a:lnTo>
                    <a:pt x="252984" y="15087"/>
                  </a:lnTo>
                  <a:lnTo>
                    <a:pt x="252984" y="6743"/>
                  </a:lnTo>
                  <a:close/>
                </a:path>
                <a:path w="386080" h="30479">
                  <a:moveTo>
                    <a:pt x="295160" y="6743"/>
                  </a:moveTo>
                  <a:lnTo>
                    <a:pt x="288429" y="0"/>
                  </a:lnTo>
                  <a:lnTo>
                    <a:pt x="271767" y="0"/>
                  </a:lnTo>
                  <a:lnTo>
                    <a:pt x="265036" y="6743"/>
                  </a:lnTo>
                  <a:lnTo>
                    <a:pt x="265036" y="23342"/>
                  </a:lnTo>
                  <a:lnTo>
                    <a:pt x="271767" y="30187"/>
                  </a:lnTo>
                  <a:lnTo>
                    <a:pt x="288429" y="30187"/>
                  </a:lnTo>
                  <a:lnTo>
                    <a:pt x="295160" y="23342"/>
                  </a:lnTo>
                  <a:lnTo>
                    <a:pt x="295160" y="15087"/>
                  </a:lnTo>
                  <a:lnTo>
                    <a:pt x="295160" y="6743"/>
                  </a:lnTo>
                  <a:close/>
                </a:path>
                <a:path w="386080" h="30479">
                  <a:moveTo>
                    <a:pt x="343344" y="6743"/>
                  </a:moveTo>
                  <a:lnTo>
                    <a:pt x="336613" y="0"/>
                  </a:lnTo>
                  <a:lnTo>
                    <a:pt x="319951" y="0"/>
                  </a:lnTo>
                  <a:lnTo>
                    <a:pt x="313220" y="6743"/>
                  </a:lnTo>
                  <a:lnTo>
                    <a:pt x="313220" y="23342"/>
                  </a:lnTo>
                  <a:lnTo>
                    <a:pt x="319951" y="30187"/>
                  </a:lnTo>
                  <a:lnTo>
                    <a:pt x="336613" y="30187"/>
                  </a:lnTo>
                  <a:lnTo>
                    <a:pt x="343344" y="23342"/>
                  </a:lnTo>
                  <a:lnTo>
                    <a:pt x="343344" y="15087"/>
                  </a:lnTo>
                  <a:lnTo>
                    <a:pt x="343344" y="6743"/>
                  </a:lnTo>
                  <a:close/>
                </a:path>
                <a:path w="386080" h="30479">
                  <a:moveTo>
                    <a:pt x="385508" y="6743"/>
                  </a:moveTo>
                  <a:lnTo>
                    <a:pt x="378777" y="0"/>
                  </a:lnTo>
                  <a:lnTo>
                    <a:pt x="362115" y="0"/>
                  </a:lnTo>
                  <a:lnTo>
                    <a:pt x="355396" y="6743"/>
                  </a:lnTo>
                  <a:lnTo>
                    <a:pt x="355396" y="23342"/>
                  </a:lnTo>
                  <a:lnTo>
                    <a:pt x="362115" y="30187"/>
                  </a:lnTo>
                  <a:lnTo>
                    <a:pt x="378777" y="30187"/>
                  </a:lnTo>
                  <a:lnTo>
                    <a:pt x="385508" y="23342"/>
                  </a:lnTo>
                  <a:lnTo>
                    <a:pt x="385508" y="15087"/>
                  </a:lnTo>
                  <a:lnTo>
                    <a:pt x="385508" y="6743"/>
                  </a:lnTo>
                  <a:close/>
                </a:path>
              </a:pathLst>
            </a:custGeom>
            <a:solidFill>
              <a:srgbClr val="1F487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4" name="object 24"/>
            <p:cNvSpPr/>
            <p:nvPr/>
          </p:nvSpPr>
          <p:spPr>
            <a:xfrm>
              <a:off x="1445666" y="4760378"/>
              <a:ext cx="963930" cy="0"/>
            </a:xfrm>
            <a:custGeom>
              <a:avLst/>
              <a:gdLst/>
              <a:ahLst/>
              <a:cxnLst/>
              <a:rect l="l" t="t" r="r" b="b"/>
              <a:pathLst>
                <a:path w="963930">
                  <a:moveTo>
                    <a:pt x="0" y="0"/>
                  </a:moveTo>
                  <a:lnTo>
                    <a:pt x="963777" y="0"/>
                  </a:lnTo>
                </a:path>
              </a:pathLst>
            </a:custGeom>
            <a:ln w="30190">
              <a:solidFill>
                <a:srgbClr val="1F487C"/>
              </a:solidFill>
              <a:prstDash val="sys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5" name="object 25"/>
            <p:cNvSpPr/>
            <p:nvPr/>
          </p:nvSpPr>
          <p:spPr>
            <a:xfrm>
              <a:off x="1457714" y="4597347"/>
              <a:ext cx="963930" cy="0"/>
            </a:xfrm>
            <a:custGeom>
              <a:avLst/>
              <a:gdLst/>
              <a:ahLst/>
              <a:cxnLst/>
              <a:rect l="l" t="t" r="r" b="b"/>
              <a:pathLst>
                <a:path w="963930">
                  <a:moveTo>
                    <a:pt x="0" y="0"/>
                  </a:moveTo>
                  <a:lnTo>
                    <a:pt x="963777" y="0"/>
                  </a:lnTo>
                </a:path>
              </a:pathLst>
            </a:custGeom>
            <a:ln w="30190">
              <a:solidFill>
                <a:srgbClr val="1F487C"/>
              </a:solidFill>
              <a:prstDash val="sys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6" name="object 26"/>
            <p:cNvSpPr/>
            <p:nvPr/>
          </p:nvSpPr>
          <p:spPr>
            <a:xfrm>
              <a:off x="1475784" y="4434316"/>
              <a:ext cx="963930" cy="0"/>
            </a:xfrm>
            <a:custGeom>
              <a:avLst/>
              <a:gdLst/>
              <a:ahLst/>
              <a:cxnLst/>
              <a:rect l="l" t="t" r="r" b="b"/>
              <a:pathLst>
                <a:path w="963930">
                  <a:moveTo>
                    <a:pt x="0" y="0"/>
                  </a:moveTo>
                  <a:lnTo>
                    <a:pt x="963777" y="0"/>
                  </a:lnTo>
                </a:path>
              </a:pathLst>
            </a:custGeom>
            <a:ln w="30190">
              <a:solidFill>
                <a:srgbClr val="1F487C"/>
              </a:solidFill>
              <a:prstDash val="sys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7" name="object 27"/>
            <p:cNvSpPr/>
            <p:nvPr/>
          </p:nvSpPr>
          <p:spPr>
            <a:xfrm>
              <a:off x="3066018" y="3253854"/>
              <a:ext cx="1831339" cy="882015"/>
            </a:xfrm>
            <a:custGeom>
              <a:avLst/>
              <a:gdLst/>
              <a:ahLst/>
              <a:cxnLst/>
              <a:rect l="l" t="t" r="r" b="b"/>
              <a:pathLst>
                <a:path w="1831339" h="882014">
                  <a:moveTo>
                    <a:pt x="1831177" y="0"/>
                  </a:moveTo>
                  <a:lnTo>
                    <a:pt x="0" y="0"/>
                  </a:lnTo>
                  <a:lnTo>
                    <a:pt x="0" y="881573"/>
                  </a:lnTo>
                  <a:lnTo>
                    <a:pt x="1831177" y="881573"/>
                  </a:lnTo>
                  <a:lnTo>
                    <a:pt x="1831177"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8" name="object 28"/>
            <p:cNvSpPr/>
            <p:nvPr/>
          </p:nvSpPr>
          <p:spPr>
            <a:xfrm>
              <a:off x="3273832" y="3365560"/>
              <a:ext cx="1511935" cy="658495"/>
            </a:xfrm>
            <a:custGeom>
              <a:avLst/>
              <a:gdLst/>
              <a:ahLst/>
              <a:cxnLst/>
              <a:rect l="l" t="t" r="r" b="b"/>
              <a:pathLst>
                <a:path w="1511935" h="658495">
                  <a:moveTo>
                    <a:pt x="30118" y="658160"/>
                  </a:moveTo>
                  <a:lnTo>
                    <a:pt x="1511926" y="658160"/>
                  </a:lnTo>
                </a:path>
                <a:path w="1511935" h="658495">
                  <a:moveTo>
                    <a:pt x="30118" y="495130"/>
                  </a:moveTo>
                  <a:lnTo>
                    <a:pt x="1511926" y="495130"/>
                  </a:lnTo>
                </a:path>
                <a:path w="1511935" h="658495">
                  <a:moveTo>
                    <a:pt x="30118" y="163030"/>
                  </a:moveTo>
                  <a:lnTo>
                    <a:pt x="1511926" y="163030"/>
                  </a:lnTo>
                </a:path>
                <a:path w="1511935" h="658495">
                  <a:moveTo>
                    <a:pt x="30118" y="0"/>
                  </a:moveTo>
                  <a:lnTo>
                    <a:pt x="1511926" y="0"/>
                  </a:lnTo>
                </a:path>
                <a:path w="1511935" h="658495">
                  <a:moveTo>
                    <a:pt x="30118" y="658160"/>
                  </a:moveTo>
                  <a:lnTo>
                    <a:pt x="30118" y="0"/>
                  </a:lnTo>
                </a:path>
                <a:path w="1511935" h="658495">
                  <a:moveTo>
                    <a:pt x="0" y="658160"/>
                  </a:moveTo>
                  <a:lnTo>
                    <a:pt x="30118" y="658160"/>
                  </a:lnTo>
                </a:path>
                <a:path w="1511935" h="658495">
                  <a:moveTo>
                    <a:pt x="0" y="495130"/>
                  </a:moveTo>
                  <a:lnTo>
                    <a:pt x="30118" y="495130"/>
                  </a:lnTo>
                </a:path>
                <a:path w="1511935" h="658495">
                  <a:moveTo>
                    <a:pt x="0" y="332099"/>
                  </a:moveTo>
                  <a:lnTo>
                    <a:pt x="30118" y="332099"/>
                  </a:lnTo>
                </a:path>
                <a:path w="1511935" h="658495">
                  <a:moveTo>
                    <a:pt x="0" y="163030"/>
                  </a:moveTo>
                  <a:lnTo>
                    <a:pt x="30118" y="163030"/>
                  </a:lnTo>
                </a:path>
                <a:path w="1511935" h="658495">
                  <a:moveTo>
                    <a:pt x="0" y="0"/>
                  </a:moveTo>
                  <a:lnTo>
                    <a:pt x="30118" y="0"/>
                  </a:lnTo>
                </a:path>
                <a:path w="1511935" h="658495">
                  <a:moveTo>
                    <a:pt x="30118" y="332099"/>
                  </a:moveTo>
                  <a:lnTo>
                    <a:pt x="1511926" y="332099"/>
                  </a:lnTo>
                </a:path>
              </a:pathLst>
            </a:custGeom>
            <a:ln w="6036">
              <a:solidFill>
                <a:srgbClr val="85858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9" name="object 29"/>
            <p:cNvSpPr/>
            <p:nvPr/>
          </p:nvSpPr>
          <p:spPr>
            <a:xfrm>
              <a:off x="3300933" y="3513505"/>
              <a:ext cx="1144905" cy="193675"/>
            </a:xfrm>
            <a:custGeom>
              <a:avLst/>
              <a:gdLst/>
              <a:ahLst/>
              <a:cxnLst/>
              <a:rect l="l" t="t" r="r" b="b"/>
              <a:pathLst>
                <a:path w="1144904" h="193675">
                  <a:moveTo>
                    <a:pt x="445744" y="169773"/>
                  </a:moveTo>
                  <a:lnTo>
                    <a:pt x="439026" y="163029"/>
                  </a:lnTo>
                  <a:lnTo>
                    <a:pt x="426974" y="163029"/>
                  </a:lnTo>
                  <a:lnTo>
                    <a:pt x="422351" y="163029"/>
                  </a:lnTo>
                  <a:lnTo>
                    <a:pt x="410311" y="163029"/>
                  </a:lnTo>
                  <a:lnTo>
                    <a:pt x="409600" y="163741"/>
                  </a:lnTo>
                  <a:lnTo>
                    <a:pt x="408901" y="163029"/>
                  </a:lnTo>
                  <a:lnTo>
                    <a:pt x="396849" y="163029"/>
                  </a:lnTo>
                  <a:lnTo>
                    <a:pt x="392239" y="163029"/>
                  </a:lnTo>
                  <a:lnTo>
                    <a:pt x="380187" y="163029"/>
                  </a:lnTo>
                  <a:lnTo>
                    <a:pt x="379488" y="163741"/>
                  </a:lnTo>
                  <a:lnTo>
                    <a:pt x="378790" y="163029"/>
                  </a:lnTo>
                  <a:lnTo>
                    <a:pt x="366737" y="163029"/>
                  </a:lnTo>
                  <a:lnTo>
                    <a:pt x="362115" y="163029"/>
                  </a:lnTo>
                  <a:lnTo>
                    <a:pt x="350075" y="163029"/>
                  </a:lnTo>
                  <a:lnTo>
                    <a:pt x="349364" y="163741"/>
                  </a:lnTo>
                  <a:lnTo>
                    <a:pt x="348665" y="163029"/>
                  </a:lnTo>
                  <a:lnTo>
                    <a:pt x="336613" y="163029"/>
                  </a:lnTo>
                  <a:lnTo>
                    <a:pt x="332003" y="163029"/>
                  </a:lnTo>
                  <a:lnTo>
                    <a:pt x="319951" y="163029"/>
                  </a:lnTo>
                  <a:lnTo>
                    <a:pt x="319252" y="163741"/>
                  </a:lnTo>
                  <a:lnTo>
                    <a:pt x="318554" y="163029"/>
                  </a:lnTo>
                  <a:lnTo>
                    <a:pt x="306501" y="163029"/>
                  </a:lnTo>
                  <a:lnTo>
                    <a:pt x="301879" y="163029"/>
                  </a:lnTo>
                  <a:lnTo>
                    <a:pt x="294449" y="163029"/>
                  </a:lnTo>
                  <a:lnTo>
                    <a:pt x="289839" y="163029"/>
                  </a:lnTo>
                  <a:lnTo>
                    <a:pt x="277787" y="163029"/>
                  </a:lnTo>
                  <a:lnTo>
                    <a:pt x="277075" y="163741"/>
                  </a:lnTo>
                  <a:lnTo>
                    <a:pt x="276377" y="163029"/>
                  </a:lnTo>
                  <a:lnTo>
                    <a:pt x="264337" y="163029"/>
                  </a:lnTo>
                  <a:lnTo>
                    <a:pt x="259715" y="163029"/>
                  </a:lnTo>
                  <a:lnTo>
                    <a:pt x="247675" y="163029"/>
                  </a:lnTo>
                  <a:lnTo>
                    <a:pt x="246964" y="163741"/>
                  </a:lnTo>
                  <a:lnTo>
                    <a:pt x="246265" y="163029"/>
                  </a:lnTo>
                  <a:lnTo>
                    <a:pt x="234213" y="163029"/>
                  </a:lnTo>
                  <a:lnTo>
                    <a:pt x="229603" y="163029"/>
                  </a:lnTo>
                  <a:lnTo>
                    <a:pt x="217551" y="163029"/>
                  </a:lnTo>
                  <a:lnTo>
                    <a:pt x="216839" y="163741"/>
                  </a:lnTo>
                  <a:lnTo>
                    <a:pt x="216141" y="163029"/>
                  </a:lnTo>
                  <a:lnTo>
                    <a:pt x="204101" y="163029"/>
                  </a:lnTo>
                  <a:lnTo>
                    <a:pt x="199478" y="163029"/>
                  </a:lnTo>
                  <a:lnTo>
                    <a:pt x="187439" y="163029"/>
                  </a:lnTo>
                  <a:lnTo>
                    <a:pt x="186728" y="163741"/>
                  </a:lnTo>
                  <a:lnTo>
                    <a:pt x="186029" y="163029"/>
                  </a:lnTo>
                  <a:lnTo>
                    <a:pt x="173977" y="163029"/>
                  </a:lnTo>
                  <a:lnTo>
                    <a:pt x="169367" y="163029"/>
                  </a:lnTo>
                  <a:lnTo>
                    <a:pt x="157314" y="163029"/>
                  </a:lnTo>
                  <a:lnTo>
                    <a:pt x="156603" y="163741"/>
                  </a:lnTo>
                  <a:lnTo>
                    <a:pt x="155905" y="163029"/>
                  </a:lnTo>
                  <a:lnTo>
                    <a:pt x="143865" y="163029"/>
                  </a:lnTo>
                  <a:lnTo>
                    <a:pt x="139242" y="163029"/>
                  </a:lnTo>
                  <a:lnTo>
                    <a:pt x="131813" y="163029"/>
                  </a:lnTo>
                  <a:lnTo>
                    <a:pt x="127203" y="163029"/>
                  </a:lnTo>
                  <a:lnTo>
                    <a:pt x="115150" y="163029"/>
                  </a:lnTo>
                  <a:lnTo>
                    <a:pt x="114439" y="163741"/>
                  </a:lnTo>
                  <a:lnTo>
                    <a:pt x="113741" y="163029"/>
                  </a:lnTo>
                  <a:lnTo>
                    <a:pt x="101701" y="163029"/>
                  </a:lnTo>
                  <a:lnTo>
                    <a:pt x="97078" y="163029"/>
                  </a:lnTo>
                  <a:lnTo>
                    <a:pt x="85039" y="163029"/>
                  </a:lnTo>
                  <a:lnTo>
                    <a:pt x="84328" y="163741"/>
                  </a:lnTo>
                  <a:lnTo>
                    <a:pt x="83629" y="163029"/>
                  </a:lnTo>
                  <a:lnTo>
                    <a:pt x="71577" y="163029"/>
                  </a:lnTo>
                  <a:lnTo>
                    <a:pt x="66967" y="163029"/>
                  </a:lnTo>
                  <a:lnTo>
                    <a:pt x="54914" y="163029"/>
                  </a:lnTo>
                  <a:lnTo>
                    <a:pt x="54203" y="163741"/>
                  </a:lnTo>
                  <a:lnTo>
                    <a:pt x="53505" y="163029"/>
                  </a:lnTo>
                  <a:lnTo>
                    <a:pt x="41465" y="163029"/>
                  </a:lnTo>
                  <a:lnTo>
                    <a:pt x="36842" y="163029"/>
                  </a:lnTo>
                  <a:lnTo>
                    <a:pt x="24803" y="163029"/>
                  </a:lnTo>
                  <a:lnTo>
                    <a:pt x="24091" y="163741"/>
                  </a:lnTo>
                  <a:lnTo>
                    <a:pt x="23393" y="163029"/>
                  </a:lnTo>
                  <a:lnTo>
                    <a:pt x="6731" y="163029"/>
                  </a:lnTo>
                  <a:lnTo>
                    <a:pt x="0" y="169773"/>
                  </a:lnTo>
                  <a:lnTo>
                    <a:pt x="0" y="186372"/>
                  </a:lnTo>
                  <a:lnTo>
                    <a:pt x="6731" y="193217"/>
                  </a:lnTo>
                  <a:lnTo>
                    <a:pt x="23393" y="193217"/>
                  </a:lnTo>
                  <a:lnTo>
                    <a:pt x="24091" y="192506"/>
                  </a:lnTo>
                  <a:lnTo>
                    <a:pt x="24803" y="193217"/>
                  </a:lnTo>
                  <a:lnTo>
                    <a:pt x="36842" y="193217"/>
                  </a:lnTo>
                  <a:lnTo>
                    <a:pt x="41465" y="193217"/>
                  </a:lnTo>
                  <a:lnTo>
                    <a:pt x="53505" y="193217"/>
                  </a:lnTo>
                  <a:lnTo>
                    <a:pt x="54203" y="192506"/>
                  </a:lnTo>
                  <a:lnTo>
                    <a:pt x="54914" y="193217"/>
                  </a:lnTo>
                  <a:lnTo>
                    <a:pt x="66967" y="193217"/>
                  </a:lnTo>
                  <a:lnTo>
                    <a:pt x="71577" y="193217"/>
                  </a:lnTo>
                  <a:lnTo>
                    <a:pt x="83629" y="193217"/>
                  </a:lnTo>
                  <a:lnTo>
                    <a:pt x="84328" y="192506"/>
                  </a:lnTo>
                  <a:lnTo>
                    <a:pt x="85039" y="193217"/>
                  </a:lnTo>
                  <a:lnTo>
                    <a:pt x="97078" y="193217"/>
                  </a:lnTo>
                  <a:lnTo>
                    <a:pt x="101701" y="193217"/>
                  </a:lnTo>
                  <a:lnTo>
                    <a:pt x="113741" y="193217"/>
                  </a:lnTo>
                  <a:lnTo>
                    <a:pt x="114439" y="192506"/>
                  </a:lnTo>
                  <a:lnTo>
                    <a:pt x="115150" y="193217"/>
                  </a:lnTo>
                  <a:lnTo>
                    <a:pt x="127203" y="193217"/>
                  </a:lnTo>
                  <a:lnTo>
                    <a:pt x="131813" y="193217"/>
                  </a:lnTo>
                  <a:lnTo>
                    <a:pt x="139242" y="193217"/>
                  </a:lnTo>
                  <a:lnTo>
                    <a:pt x="143865" y="193217"/>
                  </a:lnTo>
                  <a:lnTo>
                    <a:pt x="155905" y="193217"/>
                  </a:lnTo>
                  <a:lnTo>
                    <a:pt x="156603" y="192506"/>
                  </a:lnTo>
                  <a:lnTo>
                    <a:pt x="157314" y="193217"/>
                  </a:lnTo>
                  <a:lnTo>
                    <a:pt x="169367" y="193217"/>
                  </a:lnTo>
                  <a:lnTo>
                    <a:pt x="173977" y="193217"/>
                  </a:lnTo>
                  <a:lnTo>
                    <a:pt x="186029" y="193217"/>
                  </a:lnTo>
                  <a:lnTo>
                    <a:pt x="186728" y="192506"/>
                  </a:lnTo>
                  <a:lnTo>
                    <a:pt x="187439" y="193217"/>
                  </a:lnTo>
                  <a:lnTo>
                    <a:pt x="199478" y="193217"/>
                  </a:lnTo>
                  <a:lnTo>
                    <a:pt x="204101" y="193217"/>
                  </a:lnTo>
                  <a:lnTo>
                    <a:pt x="216141" y="193217"/>
                  </a:lnTo>
                  <a:lnTo>
                    <a:pt x="216839" y="192506"/>
                  </a:lnTo>
                  <a:lnTo>
                    <a:pt x="217551" y="193217"/>
                  </a:lnTo>
                  <a:lnTo>
                    <a:pt x="229603" y="193217"/>
                  </a:lnTo>
                  <a:lnTo>
                    <a:pt x="234213" y="193217"/>
                  </a:lnTo>
                  <a:lnTo>
                    <a:pt x="246265" y="193217"/>
                  </a:lnTo>
                  <a:lnTo>
                    <a:pt x="246964" y="192506"/>
                  </a:lnTo>
                  <a:lnTo>
                    <a:pt x="247675" y="193217"/>
                  </a:lnTo>
                  <a:lnTo>
                    <a:pt x="259715" y="193217"/>
                  </a:lnTo>
                  <a:lnTo>
                    <a:pt x="264337" y="193217"/>
                  </a:lnTo>
                  <a:lnTo>
                    <a:pt x="276377" y="193217"/>
                  </a:lnTo>
                  <a:lnTo>
                    <a:pt x="277075" y="192506"/>
                  </a:lnTo>
                  <a:lnTo>
                    <a:pt x="277787" y="193217"/>
                  </a:lnTo>
                  <a:lnTo>
                    <a:pt x="289839" y="193217"/>
                  </a:lnTo>
                  <a:lnTo>
                    <a:pt x="294449" y="193217"/>
                  </a:lnTo>
                  <a:lnTo>
                    <a:pt x="301879" y="193217"/>
                  </a:lnTo>
                  <a:lnTo>
                    <a:pt x="306501" y="193217"/>
                  </a:lnTo>
                  <a:lnTo>
                    <a:pt x="318554" y="193217"/>
                  </a:lnTo>
                  <a:lnTo>
                    <a:pt x="319252" y="192506"/>
                  </a:lnTo>
                  <a:lnTo>
                    <a:pt x="319951" y="193217"/>
                  </a:lnTo>
                  <a:lnTo>
                    <a:pt x="332003" y="193217"/>
                  </a:lnTo>
                  <a:lnTo>
                    <a:pt x="336613" y="193217"/>
                  </a:lnTo>
                  <a:lnTo>
                    <a:pt x="348665" y="193217"/>
                  </a:lnTo>
                  <a:lnTo>
                    <a:pt x="349364" y="192506"/>
                  </a:lnTo>
                  <a:lnTo>
                    <a:pt x="350075" y="193217"/>
                  </a:lnTo>
                  <a:lnTo>
                    <a:pt x="362115" y="193217"/>
                  </a:lnTo>
                  <a:lnTo>
                    <a:pt x="366737" y="193217"/>
                  </a:lnTo>
                  <a:lnTo>
                    <a:pt x="378790" y="193217"/>
                  </a:lnTo>
                  <a:lnTo>
                    <a:pt x="379488" y="192506"/>
                  </a:lnTo>
                  <a:lnTo>
                    <a:pt x="380187" y="193217"/>
                  </a:lnTo>
                  <a:lnTo>
                    <a:pt x="392239" y="193217"/>
                  </a:lnTo>
                  <a:lnTo>
                    <a:pt x="396849" y="193217"/>
                  </a:lnTo>
                  <a:lnTo>
                    <a:pt x="408901" y="193217"/>
                  </a:lnTo>
                  <a:lnTo>
                    <a:pt x="409600" y="192506"/>
                  </a:lnTo>
                  <a:lnTo>
                    <a:pt x="410311" y="193217"/>
                  </a:lnTo>
                  <a:lnTo>
                    <a:pt x="422351" y="193217"/>
                  </a:lnTo>
                  <a:lnTo>
                    <a:pt x="426974" y="193217"/>
                  </a:lnTo>
                  <a:lnTo>
                    <a:pt x="439026" y="193217"/>
                  </a:lnTo>
                  <a:lnTo>
                    <a:pt x="445744" y="186372"/>
                  </a:lnTo>
                  <a:lnTo>
                    <a:pt x="445744" y="178117"/>
                  </a:lnTo>
                  <a:lnTo>
                    <a:pt x="445744" y="169773"/>
                  </a:lnTo>
                  <a:close/>
                </a:path>
                <a:path w="1144904" h="193675">
                  <a:moveTo>
                    <a:pt x="1054138" y="169773"/>
                  </a:moveTo>
                  <a:lnTo>
                    <a:pt x="1047407" y="163029"/>
                  </a:lnTo>
                  <a:lnTo>
                    <a:pt x="1030744" y="163029"/>
                  </a:lnTo>
                  <a:lnTo>
                    <a:pt x="1030033" y="163741"/>
                  </a:lnTo>
                  <a:lnTo>
                    <a:pt x="1029335" y="163029"/>
                  </a:lnTo>
                  <a:lnTo>
                    <a:pt x="988580" y="163029"/>
                  </a:lnTo>
                  <a:lnTo>
                    <a:pt x="987869" y="163741"/>
                  </a:lnTo>
                  <a:lnTo>
                    <a:pt x="987171" y="163029"/>
                  </a:lnTo>
                  <a:lnTo>
                    <a:pt x="975118" y="163029"/>
                  </a:lnTo>
                  <a:lnTo>
                    <a:pt x="970508" y="163029"/>
                  </a:lnTo>
                  <a:lnTo>
                    <a:pt x="958456" y="163029"/>
                  </a:lnTo>
                  <a:lnTo>
                    <a:pt x="957745" y="163741"/>
                  </a:lnTo>
                  <a:lnTo>
                    <a:pt x="957046" y="163029"/>
                  </a:lnTo>
                  <a:lnTo>
                    <a:pt x="945007" y="163029"/>
                  </a:lnTo>
                  <a:lnTo>
                    <a:pt x="940384" y="163029"/>
                  </a:lnTo>
                  <a:lnTo>
                    <a:pt x="928344" y="163029"/>
                  </a:lnTo>
                  <a:lnTo>
                    <a:pt x="927633" y="163741"/>
                  </a:lnTo>
                  <a:lnTo>
                    <a:pt x="926934" y="163029"/>
                  </a:lnTo>
                  <a:lnTo>
                    <a:pt x="914882" y="163029"/>
                  </a:lnTo>
                  <a:lnTo>
                    <a:pt x="910272" y="163029"/>
                  </a:lnTo>
                  <a:lnTo>
                    <a:pt x="898220" y="163029"/>
                  </a:lnTo>
                  <a:lnTo>
                    <a:pt x="897509" y="163741"/>
                  </a:lnTo>
                  <a:lnTo>
                    <a:pt x="896810" y="163029"/>
                  </a:lnTo>
                  <a:lnTo>
                    <a:pt x="884770" y="163029"/>
                  </a:lnTo>
                  <a:lnTo>
                    <a:pt x="880148" y="163029"/>
                  </a:lnTo>
                  <a:lnTo>
                    <a:pt x="868108" y="163029"/>
                  </a:lnTo>
                  <a:lnTo>
                    <a:pt x="867397" y="163741"/>
                  </a:lnTo>
                  <a:lnTo>
                    <a:pt x="866698" y="163029"/>
                  </a:lnTo>
                  <a:lnTo>
                    <a:pt x="854646" y="163029"/>
                  </a:lnTo>
                  <a:lnTo>
                    <a:pt x="850036" y="163029"/>
                  </a:lnTo>
                  <a:lnTo>
                    <a:pt x="842606" y="163029"/>
                  </a:lnTo>
                  <a:lnTo>
                    <a:pt x="837984" y="163029"/>
                  </a:lnTo>
                  <a:lnTo>
                    <a:pt x="825931" y="163029"/>
                  </a:lnTo>
                  <a:lnTo>
                    <a:pt x="825233" y="163741"/>
                  </a:lnTo>
                  <a:lnTo>
                    <a:pt x="824534" y="163029"/>
                  </a:lnTo>
                  <a:lnTo>
                    <a:pt x="812482" y="163029"/>
                  </a:lnTo>
                  <a:lnTo>
                    <a:pt x="807872" y="163029"/>
                  </a:lnTo>
                  <a:lnTo>
                    <a:pt x="795820" y="163029"/>
                  </a:lnTo>
                  <a:lnTo>
                    <a:pt x="795108" y="163741"/>
                  </a:lnTo>
                  <a:lnTo>
                    <a:pt x="794410" y="163029"/>
                  </a:lnTo>
                  <a:lnTo>
                    <a:pt x="782370" y="163029"/>
                  </a:lnTo>
                  <a:lnTo>
                    <a:pt x="777748" y="163029"/>
                  </a:lnTo>
                  <a:lnTo>
                    <a:pt x="765695" y="163029"/>
                  </a:lnTo>
                  <a:lnTo>
                    <a:pt x="764997" y="163741"/>
                  </a:lnTo>
                  <a:lnTo>
                    <a:pt x="764298" y="163029"/>
                  </a:lnTo>
                  <a:lnTo>
                    <a:pt x="752246" y="163029"/>
                  </a:lnTo>
                  <a:lnTo>
                    <a:pt x="747636" y="163029"/>
                  </a:lnTo>
                  <a:lnTo>
                    <a:pt x="735584" y="163029"/>
                  </a:lnTo>
                  <a:lnTo>
                    <a:pt x="734872" y="163741"/>
                  </a:lnTo>
                  <a:lnTo>
                    <a:pt x="734174" y="163029"/>
                  </a:lnTo>
                  <a:lnTo>
                    <a:pt x="722134" y="163029"/>
                  </a:lnTo>
                  <a:lnTo>
                    <a:pt x="717511" y="163029"/>
                  </a:lnTo>
                  <a:lnTo>
                    <a:pt x="705459" y="163029"/>
                  </a:lnTo>
                  <a:lnTo>
                    <a:pt x="704761" y="163741"/>
                  </a:lnTo>
                  <a:lnTo>
                    <a:pt x="704062" y="163029"/>
                  </a:lnTo>
                  <a:lnTo>
                    <a:pt x="692010" y="163029"/>
                  </a:lnTo>
                  <a:lnTo>
                    <a:pt x="687400" y="163029"/>
                  </a:lnTo>
                  <a:lnTo>
                    <a:pt x="675347" y="163029"/>
                  </a:lnTo>
                  <a:lnTo>
                    <a:pt x="674636" y="163741"/>
                  </a:lnTo>
                  <a:lnTo>
                    <a:pt x="673938" y="163029"/>
                  </a:lnTo>
                  <a:lnTo>
                    <a:pt x="633183" y="163029"/>
                  </a:lnTo>
                  <a:lnTo>
                    <a:pt x="632472" y="163741"/>
                  </a:lnTo>
                  <a:lnTo>
                    <a:pt x="631774" y="163029"/>
                  </a:lnTo>
                  <a:lnTo>
                    <a:pt x="619734" y="163029"/>
                  </a:lnTo>
                  <a:lnTo>
                    <a:pt x="615111" y="163029"/>
                  </a:lnTo>
                  <a:lnTo>
                    <a:pt x="603059" y="163029"/>
                  </a:lnTo>
                  <a:lnTo>
                    <a:pt x="602361" y="163741"/>
                  </a:lnTo>
                  <a:lnTo>
                    <a:pt x="601662" y="163029"/>
                  </a:lnTo>
                  <a:lnTo>
                    <a:pt x="589610" y="163029"/>
                  </a:lnTo>
                  <a:lnTo>
                    <a:pt x="584987" y="163029"/>
                  </a:lnTo>
                  <a:lnTo>
                    <a:pt x="572947" y="163029"/>
                  </a:lnTo>
                  <a:lnTo>
                    <a:pt x="572236" y="163741"/>
                  </a:lnTo>
                  <a:lnTo>
                    <a:pt x="571538" y="163029"/>
                  </a:lnTo>
                  <a:lnTo>
                    <a:pt x="559498" y="163029"/>
                  </a:lnTo>
                  <a:lnTo>
                    <a:pt x="554875" y="163029"/>
                  </a:lnTo>
                  <a:lnTo>
                    <a:pt x="542823" y="163029"/>
                  </a:lnTo>
                  <a:lnTo>
                    <a:pt x="542124" y="163741"/>
                  </a:lnTo>
                  <a:lnTo>
                    <a:pt x="541426" y="163029"/>
                  </a:lnTo>
                  <a:lnTo>
                    <a:pt x="529374" y="163029"/>
                  </a:lnTo>
                  <a:lnTo>
                    <a:pt x="524751" y="163029"/>
                  </a:lnTo>
                  <a:lnTo>
                    <a:pt x="512711" y="163029"/>
                  </a:lnTo>
                  <a:lnTo>
                    <a:pt x="505980" y="169773"/>
                  </a:lnTo>
                  <a:lnTo>
                    <a:pt x="505980" y="186372"/>
                  </a:lnTo>
                  <a:lnTo>
                    <a:pt x="512711" y="193217"/>
                  </a:lnTo>
                  <a:lnTo>
                    <a:pt x="524751" y="193217"/>
                  </a:lnTo>
                  <a:lnTo>
                    <a:pt x="529374" y="193217"/>
                  </a:lnTo>
                  <a:lnTo>
                    <a:pt x="541426" y="193217"/>
                  </a:lnTo>
                  <a:lnTo>
                    <a:pt x="542124" y="192506"/>
                  </a:lnTo>
                  <a:lnTo>
                    <a:pt x="542823" y="193217"/>
                  </a:lnTo>
                  <a:lnTo>
                    <a:pt x="554875" y="193217"/>
                  </a:lnTo>
                  <a:lnTo>
                    <a:pt x="559498" y="193217"/>
                  </a:lnTo>
                  <a:lnTo>
                    <a:pt x="571538" y="193217"/>
                  </a:lnTo>
                  <a:lnTo>
                    <a:pt x="572236" y="192506"/>
                  </a:lnTo>
                  <a:lnTo>
                    <a:pt x="572947" y="193217"/>
                  </a:lnTo>
                  <a:lnTo>
                    <a:pt x="584987" y="193217"/>
                  </a:lnTo>
                  <a:lnTo>
                    <a:pt x="589610" y="193217"/>
                  </a:lnTo>
                  <a:lnTo>
                    <a:pt x="601662" y="193217"/>
                  </a:lnTo>
                  <a:lnTo>
                    <a:pt x="602361" y="192506"/>
                  </a:lnTo>
                  <a:lnTo>
                    <a:pt x="603059" y="193217"/>
                  </a:lnTo>
                  <a:lnTo>
                    <a:pt x="615111" y="193217"/>
                  </a:lnTo>
                  <a:lnTo>
                    <a:pt x="619734" y="193217"/>
                  </a:lnTo>
                  <a:lnTo>
                    <a:pt x="631774" y="193217"/>
                  </a:lnTo>
                  <a:lnTo>
                    <a:pt x="632472" y="192506"/>
                  </a:lnTo>
                  <a:lnTo>
                    <a:pt x="633183" y="193217"/>
                  </a:lnTo>
                  <a:lnTo>
                    <a:pt x="645223" y="193217"/>
                  </a:lnTo>
                  <a:lnTo>
                    <a:pt x="649846" y="193217"/>
                  </a:lnTo>
                  <a:lnTo>
                    <a:pt x="657275" y="193217"/>
                  </a:lnTo>
                  <a:lnTo>
                    <a:pt x="661898" y="193217"/>
                  </a:lnTo>
                  <a:lnTo>
                    <a:pt x="673938" y="193217"/>
                  </a:lnTo>
                  <a:lnTo>
                    <a:pt x="674636" y="192506"/>
                  </a:lnTo>
                  <a:lnTo>
                    <a:pt x="675347" y="193217"/>
                  </a:lnTo>
                  <a:lnTo>
                    <a:pt x="687400" y="193217"/>
                  </a:lnTo>
                  <a:lnTo>
                    <a:pt x="692010" y="193217"/>
                  </a:lnTo>
                  <a:lnTo>
                    <a:pt x="704062" y="193217"/>
                  </a:lnTo>
                  <a:lnTo>
                    <a:pt x="704761" y="192506"/>
                  </a:lnTo>
                  <a:lnTo>
                    <a:pt x="705459" y="193217"/>
                  </a:lnTo>
                  <a:lnTo>
                    <a:pt x="717511" y="193217"/>
                  </a:lnTo>
                  <a:lnTo>
                    <a:pt x="722134" y="193217"/>
                  </a:lnTo>
                  <a:lnTo>
                    <a:pt x="734174" y="193217"/>
                  </a:lnTo>
                  <a:lnTo>
                    <a:pt x="734872" y="192506"/>
                  </a:lnTo>
                  <a:lnTo>
                    <a:pt x="735584" y="193217"/>
                  </a:lnTo>
                  <a:lnTo>
                    <a:pt x="747636" y="193217"/>
                  </a:lnTo>
                  <a:lnTo>
                    <a:pt x="752246" y="193217"/>
                  </a:lnTo>
                  <a:lnTo>
                    <a:pt x="764298" y="193217"/>
                  </a:lnTo>
                  <a:lnTo>
                    <a:pt x="764997" y="192506"/>
                  </a:lnTo>
                  <a:lnTo>
                    <a:pt x="765695" y="193217"/>
                  </a:lnTo>
                  <a:lnTo>
                    <a:pt x="777748" y="193217"/>
                  </a:lnTo>
                  <a:lnTo>
                    <a:pt x="782370" y="193217"/>
                  </a:lnTo>
                  <a:lnTo>
                    <a:pt x="794410" y="193217"/>
                  </a:lnTo>
                  <a:lnTo>
                    <a:pt x="795108" y="192506"/>
                  </a:lnTo>
                  <a:lnTo>
                    <a:pt x="795820" y="193217"/>
                  </a:lnTo>
                  <a:lnTo>
                    <a:pt x="807872" y="193217"/>
                  </a:lnTo>
                  <a:lnTo>
                    <a:pt x="812482" y="193217"/>
                  </a:lnTo>
                  <a:lnTo>
                    <a:pt x="824534" y="193217"/>
                  </a:lnTo>
                  <a:lnTo>
                    <a:pt x="825233" y="192506"/>
                  </a:lnTo>
                  <a:lnTo>
                    <a:pt x="825931" y="193217"/>
                  </a:lnTo>
                  <a:lnTo>
                    <a:pt x="866698" y="193217"/>
                  </a:lnTo>
                  <a:lnTo>
                    <a:pt x="867397" y="192506"/>
                  </a:lnTo>
                  <a:lnTo>
                    <a:pt x="868108" y="193217"/>
                  </a:lnTo>
                  <a:lnTo>
                    <a:pt x="880148" y="193217"/>
                  </a:lnTo>
                  <a:lnTo>
                    <a:pt x="884770" y="193217"/>
                  </a:lnTo>
                  <a:lnTo>
                    <a:pt x="896810" y="193217"/>
                  </a:lnTo>
                  <a:lnTo>
                    <a:pt x="897509" y="192506"/>
                  </a:lnTo>
                  <a:lnTo>
                    <a:pt x="898220" y="193217"/>
                  </a:lnTo>
                  <a:lnTo>
                    <a:pt x="910272" y="193217"/>
                  </a:lnTo>
                  <a:lnTo>
                    <a:pt x="914882" y="193217"/>
                  </a:lnTo>
                  <a:lnTo>
                    <a:pt x="926934" y="193217"/>
                  </a:lnTo>
                  <a:lnTo>
                    <a:pt x="927633" y="192506"/>
                  </a:lnTo>
                  <a:lnTo>
                    <a:pt x="928344" y="193217"/>
                  </a:lnTo>
                  <a:lnTo>
                    <a:pt x="940384" y="193217"/>
                  </a:lnTo>
                  <a:lnTo>
                    <a:pt x="945007" y="193217"/>
                  </a:lnTo>
                  <a:lnTo>
                    <a:pt x="957046" y="193217"/>
                  </a:lnTo>
                  <a:lnTo>
                    <a:pt x="957745" y="192506"/>
                  </a:lnTo>
                  <a:lnTo>
                    <a:pt x="958456" y="193217"/>
                  </a:lnTo>
                  <a:lnTo>
                    <a:pt x="970508" y="193217"/>
                  </a:lnTo>
                  <a:lnTo>
                    <a:pt x="975118" y="193217"/>
                  </a:lnTo>
                  <a:lnTo>
                    <a:pt x="987171" y="193217"/>
                  </a:lnTo>
                  <a:lnTo>
                    <a:pt x="987869" y="192506"/>
                  </a:lnTo>
                  <a:lnTo>
                    <a:pt x="988580" y="193217"/>
                  </a:lnTo>
                  <a:lnTo>
                    <a:pt x="1000620" y="193217"/>
                  </a:lnTo>
                  <a:lnTo>
                    <a:pt x="1005243" y="193217"/>
                  </a:lnTo>
                  <a:lnTo>
                    <a:pt x="1012672" y="193217"/>
                  </a:lnTo>
                  <a:lnTo>
                    <a:pt x="1017282" y="193217"/>
                  </a:lnTo>
                  <a:lnTo>
                    <a:pt x="1029335" y="193217"/>
                  </a:lnTo>
                  <a:lnTo>
                    <a:pt x="1030033" y="192506"/>
                  </a:lnTo>
                  <a:lnTo>
                    <a:pt x="1030744" y="193217"/>
                  </a:lnTo>
                  <a:lnTo>
                    <a:pt x="1047407" y="193217"/>
                  </a:lnTo>
                  <a:lnTo>
                    <a:pt x="1054138" y="186372"/>
                  </a:lnTo>
                  <a:lnTo>
                    <a:pt x="1054138" y="178117"/>
                  </a:lnTo>
                  <a:lnTo>
                    <a:pt x="1054138" y="169773"/>
                  </a:lnTo>
                  <a:close/>
                </a:path>
                <a:path w="1144904" h="193675">
                  <a:moveTo>
                    <a:pt x="1144485" y="6743"/>
                  </a:moveTo>
                  <a:lnTo>
                    <a:pt x="1137754" y="0"/>
                  </a:lnTo>
                  <a:lnTo>
                    <a:pt x="1121092" y="0"/>
                  </a:lnTo>
                  <a:lnTo>
                    <a:pt x="1120381" y="711"/>
                  </a:lnTo>
                  <a:lnTo>
                    <a:pt x="1119682" y="0"/>
                  </a:lnTo>
                  <a:lnTo>
                    <a:pt x="1107643" y="0"/>
                  </a:lnTo>
                  <a:lnTo>
                    <a:pt x="1103020" y="0"/>
                  </a:lnTo>
                  <a:lnTo>
                    <a:pt x="1090980" y="0"/>
                  </a:lnTo>
                  <a:lnTo>
                    <a:pt x="1090269" y="711"/>
                  </a:lnTo>
                  <a:lnTo>
                    <a:pt x="1089571" y="0"/>
                  </a:lnTo>
                  <a:lnTo>
                    <a:pt x="1077518" y="0"/>
                  </a:lnTo>
                  <a:lnTo>
                    <a:pt x="1072908" y="0"/>
                  </a:lnTo>
                  <a:lnTo>
                    <a:pt x="1060856" y="0"/>
                  </a:lnTo>
                  <a:lnTo>
                    <a:pt x="1060145" y="711"/>
                  </a:lnTo>
                  <a:lnTo>
                    <a:pt x="1059446" y="0"/>
                  </a:lnTo>
                  <a:lnTo>
                    <a:pt x="1042784" y="0"/>
                  </a:lnTo>
                  <a:lnTo>
                    <a:pt x="1036066" y="6743"/>
                  </a:lnTo>
                  <a:lnTo>
                    <a:pt x="1036066" y="23342"/>
                  </a:lnTo>
                  <a:lnTo>
                    <a:pt x="1042784" y="30187"/>
                  </a:lnTo>
                  <a:lnTo>
                    <a:pt x="1059446" y="30187"/>
                  </a:lnTo>
                  <a:lnTo>
                    <a:pt x="1060145" y="29476"/>
                  </a:lnTo>
                  <a:lnTo>
                    <a:pt x="1060856" y="30187"/>
                  </a:lnTo>
                  <a:lnTo>
                    <a:pt x="1072908" y="30187"/>
                  </a:lnTo>
                  <a:lnTo>
                    <a:pt x="1077518" y="30187"/>
                  </a:lnTo>
                  <a:lnTo>
                    <a:pt x="1089571" y="30187"/>
                  </a:lnTo>
                  <a:lnTo>
                    <a:pt x="1090269" y="29476"/>
                  </a:lnTo>
                  <a:lnTo>
                    <a:pt x="1090980" y="30187"/>
                  </a:lnTo>
                  <a:lnTo>
                    <a:pt x="1103020" y="30187"/>
                  </a:lnTo>
                  <a:lnTo>
                    <a:pt x="1107643" y="30187"/>
                  </a:lnTo>
                  <a:lnTo>
                    <a:pt x="1119682" y="30187"/>
                  </a:lnTo>
                  <a:lnTo>
                    <a:pt x="1120381" y="29476"/>
                  </a:lnTo>
                  <a:lnTo>
                    <a:pt x="1121092" y="30187"/>
                  </a:lnTo>
                  <a:lnTo>
                    <a:pt x="1137754" y="30187"/>
                  </a:lnTo>
                  <a:lnTo>
                    <a:pt x="1144485" y="23342"/>
                  </a:lnTo>
                  <a:lnTo>
                    <a:pt x="1144485" y="15087"/>
                  </a:lnTo>
                  <a:lnTo>
                    <a:pt x="1144485" y="6743"/>
                  </a:lnTo>
                  <a:close/>
                </a:path>
              </a:pathLst>
            </a:custGeom>
            <a:solidFill>
              <a:srgbClr val="94373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0" name="object 30"/>
            <p:cNvSpPr/>
            <p:nvPr/>
          </p:nvSpPr>
          <p:spPr>
            <a:xfrm>
              <a:off x="4415307" y="3513505"/>
              <a:ext cx="386080" cy="193675"/>
            </a:xfrm>
            <a:custGeom>
              <a:avLst/>
              <a:gdLst/>
              <a:ahLst/>
              <a:cxnLst/>
              <a:rect l="l" t="t" r="r" b="b"/>
              <a:pathLst>
                <a:path w="386079" h="193675">
                  <a:moveTo>
                    <a:pt x="234911" y="6743"/>
                  </a:moveTo>
                  <a:lnTo>
                    <a:pt x="228193" y="0"/>
                  </a:lnTo>
                  <a:lnTo>
                    <a:pt x="216141" y="0"/>
                  </a:lnTo>
                  <a:lnTo>
                    <a:pt x="211518" y="0"/>
                  </a:lnTo>
                  <a:lnTo>
                    <a:pt x="199478" y="0"/>
                  </a:lnTo>
                  <a:lnTo>
                    <a:pt x="198767" y="711"/>
                  </a:lnTo>
                  <a:lnTo>
                    <a:pt x="198069" y="0"/>
                  </a:lnTo>
                  <a:lnTo>
                    <a:pt x="186016" y="0"/>
                  </a:lnTo>
                  <a:lnTo>
                    <a:pt x="181406" y="0"/>
                  </a:lnTo>
                  <a:lnTo>
                    <a:pt x="169354" y="0"/>
                  </a:lnTo>
                  <a:lnTo>
                    <a:pt x="168656" y="711"/>
                  </a:lnTo>
                  <a:lnTo>
                    <a:pt x="167957" y="0"/>
                  </a:lnTo>
                  <a:lnTo>
                    <a:pt x="155905" y="0"/>
                  </a:lnTo>
                  <a:lnTo>
                    <a:pt x="151282" y="0"/>
                  </a:lnTo>
                  <a:lnTo>
                    <a:pt x="139242" y="0"/>
                  </a:lnTo>
                  <a:lnTo>
                    <a:pt x="138531" y="711"/>
                  </a:lnTo>
                  <a:lnTo>
                    <a:pt x="137833" y="0"/>
                  </a:lnTo>
                  <a:lnTo>
                    <a:pt x="125780" y="0"/>
                  </a:lnTo>
                  <a:lnTo>
                    <a:pt x="121170" y="0"/>
                  </a:lnTo>
                  <a:lnTo>
                    <a:pt x="109118" y="0"/>
                  </a:lnTo>
                  <a:lnTo>
                    <a:pt x="108419" y="711"/>
                  </a:lnTo>
                  <a:lnTo>
                    <a:pt x="107721" y="0"/>
                  </a:lnTo>
                  <a:lnTo>
                    <a:pt x="95669" y="0"/>
                  </a:lnTo>
                  <a:lnTo>
                    <a:pt x="91046" y="0"/>
                  </a:lnTo>
                  <a:lnTo>
                    <a:pt x="83616" y="0"/>
                  </a:lnTo>
                  <a:lnTo>
                    <a:pt x="79006" y="0"/>
                  </a:lnTo>
                  <a:lnTo>
                    <a:pt x="66954" y="0"/>
                  </a:lnTo>
                  <a:lnTo>
                    <a:pt x="66243" y="711"/>
                  </a:lnTo>
                  <a:lnTo>
                    <a:pt x="65544" y="0"/>
                  </a:lnTo>
                  <a:lnTo>
                    <a:pt x="53505" y="0"/>
                  </a:lnTo>
                  <a:lnTo>
                    <a:pt x="48882" y="0"/>
                  </a:lnTo>
                  <a:lnTo>
                    <a:pt x="36842" y="0"/>
                  </a:lnTo>
                  <a:lnTo>
                    <a:pt x="36131" y="711"/>
                  </a:lnTo>
                  <a:lnTo>
                    <a:pt x="35433" y="0"/>
                  </a:lnTo>
                  <a:lnTo>
                    <a:pt x="23380" y="0"/>
                  </a:lnTo>
                  <a:lnTo>
                    <a:pt x="18770" y="0"/>
                  </a:lnTo>
                  <a:lnTo>
                    <a:pt x="6718" y="0"/>
                  </a:lnTo>
                  <a:lnTo>
                    <a:pt x="0" y="6743"/>
                  </a:lnTo>
                  <a:lnTo>
                    <a:pt x="0" y="23342"/>
                  </a:lnTo>
                  <a:lnTo>
                    <a:pt x="6718" y="30187"/>
                  </a:lnTo>
                  <a:lnTo>
                    <a:pt x="18770" y="30187"/>
                  </a:lnTo>
                  <a:lnTo>
                    <a:pt x="23380" y="30187"/>
                  </a:lnTo>
                  <a:lnTo>
                    <a:pt x="35433" y="30187"/>
                  </a:lnTo>
                  <a:lnTo>
                    <a:pt x="36131" y="29476"/>
                  </a:lnTo>
                  <a:lnTo>
                    <a:pt x="36842" y="30187"/>
                  </a:lnTo>
                  <a:lnTo>
                    <a:pt x="48882" y="30187"/>
                  </a:lnTo>
                  <a:lnTo>
                    <a:pt x="53505" y="30187"/>
                  </a:lnTo>
                  <a:lnTo>
                    <a:pt x="65544" y="30187"/>
                  </a:lnTo>
                  <a:lnTo>
                    <a:pt x="66243" y="29476"/>
                  </a:lnTo>
                  <a:lnTo>
                    <a:pt x="66954" y="30187"/>
                  </a:lnTo>
                  <a:lnTo>
                    <a:pt x="79006" y="30187"/>
                  </a:lnTo>
                  <a:lnTo>
                    <a:pt x="83616" y="30187"/>
                  </a:lnTo>
                  <a:lnTo>
                    <a:pt x="91046" y="30187"/>
                  </a:lnTo>
                  <a:lnTo>
                    <a:pt x="95669" y="30187"/>
                  </a:lnTo>
                  <a:lnTo>
                    <a:pt x="107721" y="30187"/>
                  </a:lnTo>
                  <a:lnTo>
                    <a:pt x="108419" y="29476"/>
                  </a:lnTo>
                  <a:lnTo>
                    <a:pt x="109118" y="30187"/>
                  </a:lnTo>
                  <a:lnTo>
                    <a:pt x="121170" y="30187"/>
                  </a:lnTo>
                  <a:lnTo>
                    <a:pt x="125780" y="30187"/>
                  </a:lnTo>
                  <a:lnTo>
                    <a:pt x="137833" y="30187"/>
                  </a:lnTo>
                  <a:lnTo>
                    <a:pt x="138531" y="29476"/>
                  </a:lnTo>
                  <a:lnTo>
                    <a:pt x="139242" y="30187"/>
                  </a:lnTo>
                  <a:lnTo>
                    <a:pt x="151282" y="30187"/>
                  </a:lnTo>
                  <a:lnTo>
                    <a:pt x="155905" y="30187"/>
                  </a:lnTo>
                  <a:lnTo>
                    <a:pt x="167957" y="30187"/>
                  </a:lnTo>
                  <a:lnTo>
                    <a:pt x="168656" y="29476"/>
                  </a:lnTo>
                  <a:lnTo>
                    <a:pt x="169354" y="30187"/>
                  </a:lnTo>
                  <a:lnTo>
                    <a:pt x="181406" y="30187"/>
                  </a:lnTo>
                  <a:lnTo>
                    <a:pt x="186016" y="30187"/>
                  </a:lnTo>
                  <a:lnTo>
                    <a:pt x="198069" y="30187"/>
                  </a:lnTo>
                  <a:lnTo>
                    <a:pt x="198767" y="29476"/>
                  </a:lnTo>
                  <a:lnTo>
                    <a:pt x="199478" y="30187"/>
                  </a:lnTo>
                  <a:lnTo>
                    <a:pt x="211518" y="30187"/>
                  </a:lnTo>
                  <a:lnTo>
                    <a:pt x="216141" y="30187"/>
                  </a:lnTo>
                  <a:lnTo>
                    <a:pt x="228193" y="30187"/>
                  </a:lnTo>
                  <a:lnTo>
                    <a:pt x="234911" y="23342"/>
                  </a:lnTo>
                  <a:lnTo>
                    <a:pt x="234911" y="15087"/>
                  </a:lnTo>
                  <a:lnTo>
                    <a:pt x="234911" y="6743"/>
                  </a:lnTo>
                  <a:close/>
                </a:path>
                <a:path w="386079" h="193675">
                  <a:moveTo>
                    <a:pt x="385508" y="169773"/>
                  </a:moveTo>
                  <a:lnTo>
                    <a:pt x="378777" y="163029"/>
                  </a:lnTo>
                  <a:lnTo>
                    <a:pt x="362115" y="163029"/>
                  </a:lnTo>
                  <a:lnTo>
                    <a:pt x="361403" y="163741"/>
                  </a:lnTo>
                  <a:lnTo>
                    <a:pt x="360705" y="163029"/>
                  </a:lnTo>
                  <a:lnTo>
                    <a:pt x="348665" y="163029"/>
                  </a:lnTo>
                  <a:lnTo>
                    <a:pt x="344043" y="163029"/>
                  </a:lnTo>
                  <a:lnTo>
                    <a:pt x="331990" y="163029"/>
                  </a:lnTo>
                  <a:lnTo>
                    <a:pt x="331292" y="163741"/>
                  </a:lnTo>
                  <a:lnTo>
                    <a:pt x="330593" y="163029"/>
                  </a:lnTo>
                  <a:lnTo>
                    <a:pt x="318541" y="163029"/>
                  </a:lnTo>
                  <a:lnTo>
                    <a:pt x="313918" y="163029"/>
                  </a:lnTo>
                  <a:lnTo>
                    <a:pt x="301879" y="163029"/>
                  </a:lnTo>
                  <a:lnTo>
                    <a:pt x="301167" y="163741"/>
                  </a:lnTo>
                  <a:lnTo>
                    <a:pt x="300469" y="163029"/>
                  </a:lnTo>
                  <a:lnTo>
                    <a:pt x="288429" y="163029"/>
                  </a:lnTo>
                  <a:lnTo>
                    <a:pt x="283806" y="163029"/>
                  </a:lnTo>
                  <a:lnTo>
                    <a:pt x="271754" y="163029"/>
                  </a:lnTo>
                  <a:lnTo>
                    <a:pt x="271056" y="163741"/>
                  </a:lnTo>
                  <a:lnTo>
                    <a:pt x="270357" y="163029"/>
                  </a:lnTo>
                  <a:lnTo>
                    <a:pt x="258305" y="163029"/>
                  </a:lnTo>
                  <a:lnTo>
                    <a:pt x="253682" y="163029"/>
                  </a:lnTo>
                  <a:lnTo>
                    <a:pt x="246253" y="163029"/>
                  </a:lnTo>
                  <a:lnTo>
                    <a:pt x="241642" y="163029"/>
                  </a:lnTo>
                  <a:lnTo>
                    <a:pt x="229590" y="163029"/>
                  </a:lnTo>
                  <a:lnTo>
                    <a:pt x="222872" y="169773"/>
                  </a:lnTo>
                  <a:lnTo>
                    <a:pt x="222872" y="186372"/>
                  </a:lnTo>
                  <a:lnTo>
                    <a:pt x="229590" y="193217"/>
                  </a:lnTo>
                  <a:lnTo>
                    <a:pt x="241642" y="193217"/>
                  </a:lnTo>
                  <a:lnTo>
                    <a:pt x="246253" y="193217"/>
                  </a:lnTo>
                  <a:lnTo>
                    <a:pt x="253682" y="193217"/>
                  </a:lnTo>
                  <a:lnTo>
                    <a:pt x="258305" y="193217"/>
                  </a:lnTo>
                  <a:lnTo>
                    <a:pt x="270357" y="193217"/>
                  </a:lnTo>
                  <a:lnTo>
                    <a:pt x="271056" y="192506"/>
                  </a:lnTo>
                  <a:lnTo>
                    <a:pt x="271754" y="193217"/>
                  </a:lnTo>
                  <a:lnTo>
                    <a:pt x="283806" y="193217"/>
                  </a:lnTo>
                  <a:lnTo>
                    <a:pt x="288429" y="193217"/>
                  </a:lnTo>
                  <a:lnTo>
                    <a:pt x="300469" y="193217"/>
                  </a:lnTo>
                  <a:lnTo>
                    <a:pt x="301167" y="192506"/>
                  </a:lnTo>
                  <a:lnTo>
                    <a:pt x="301879" y="193217"/>
                  </a:lnTo>
                  <a:lnTo>
                    <a:pt x="313918" y="193217"/>
                  </a:lnTo>
                  <a:lnTo>
                    <a:pt x="318541" y="193217"/>
                  </a:lnTo>
                  <a:lnTo>
                    <a:pt x="330593" y="193217"/>
                  </a:lnTo>
                  <a:lnTo>
                    <a:pt x="331292" y="192506"/>
                  </a:lnTo>
                  <a:lnTo>
                    <a:pt x="331990" y="193217"/>
                  </a:lnTo>
                  <a:lnTo>
                    <a:pt x="344043" y="193217"/>
                  </a:lnTo>
                  <a:lnTo>
                    <a:pt x="348665" y="193217"/>
                  </a:lnTo>
                  <a:lnTo>
                    <a:pt x="360705" y="193217"/>
                  </a:lnTo>
                  <a:lnTo>
                    <a:pt x="361403" y="192506"/>
                  </a:lnTo>
                  <a:lnTo>
                    <a:pt x="362115" y="193217"/>
                  </a:lnTo>
                  <a:lnTo>
                    <a:pt x="378777" y="193217"/>
                  </a:lnTo>
                  <a:lnTo>
                    <a:pt x="385508" y="186372"/>
                  </a:lnTo>
                  <a:lnTo>
                    <a:pt x="385508" y="178117"/>
                  </a:lnTo>
                  <a:lnTo>
                    <a:pt x="385508" y="169773"/>
                  </a:lnTo>
                  <a:close/>
                </a:path>
              </a:pathLst>
            </a:custGeom>
            <a:solidFill>
              <a:srgbClr val="94373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1" name="object 31"/>
            <p:cNvSpPr/>
            <p:nvPr/>
          </p:nvSpPr>
          <p:spPr>
            <a:xfrm>
              <a:off x="3066018" y="4159529"/>
              <a:ext cx="1831339" cy="882015"/>
            </a:xfrm>
            <a:custGeom>
              <a:avLst/>
              <a:gdLst/>
              <a:ahLst/>
              <a:cxnLst/>
              <a:rect l="l" t="t" r="r" b="b"/>
              <a:pathLst>
                <a:path w="1831339" h="882014">
                  <a:moveTo>
                    <a:pt x="1831177" y="0"/>
                  </a:moveTo>
                  <a:lnTo>
                    <a:pt x="0" y="0"/>
                  </a:lnTo>
                  <a:lnTo>
                    <a:pt x="0" y="881573"/>
                  </a:lnTo>
                  <a:lnTo>
                    <a:pt x="1831177" y="881573"/>
                  </a:lnTo>
                  <a:lnTo>
                    <a:pt x="1831177"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2" name="object 32"/>
            <p:cNvSpPr/>
            <p:nvPr/>
          </p:nvSpPr>
          <p:spPr>
            <a:xfrm>
              <a:off x="3273832" y="4271286"/>
              <a:ext cx="1511935" cy="658495"/>
            </a:xfrm>
            <a:custGeom>
              <a:avLst/>
              <a:gdLst/>
              <a:ahLst/>
              <a:cxnLst/>
              <a:rect l="l" t="t" r="r" b="b"/>
              <a:pathLst>
                <a:path w="1511935" h="658495">
                  <a:moveTo>
                    <a:pt x="30118" y="658160"/>
                  </a:moveTo>
                  <a:lnTo>
                    <a:pt x="1511926" y="658160"/>
                  </a:lnTo>
                </a:path>
                <a:path w="1511935" h="658495">
                  <a:moveTo>
                    <a:pt x="30118" y="495130"/>
                  </a:moveTo>
                  <a:lnTo>
                    <a:pt x="1511926" y="495130"/>
                  </a:lnTo>
                </a:path>
                <a:path w="1511935" h="658495">
                  <a:moveTo>
                    <a:pt x="30118" y="163030"/>
                  </a:moveTo>
                  <a:lnTo>
                    <a:pt x="1511926" y="163030"/>
                  </a:lnTo>
                </a:path>
                <a:path w="1511935" h="658495">
                  <a:moveTo>
                    <a:pt x="30118" y="0"/>
                  </a:moveTo>
                  <a:lnTo>
                    <a:pt x="1511926" y="0"/>
                  </a:lnTo>
                </a:path>
                <a:path w="1511935" h="658495">
                  <a:moveTo>
                    <a:pt x="30118" y="658160"/>
                  </a:moveTo>
                  <a:lnTo>
                    <a:pt x="30118" y="0"/>
                  </a:lnTo>
                </a:path>
                <a:path w="1511935" h="658495">
                  <a:moveTo>
                    <a:pt x="0" y="658160"/>
                  </a:moveTo>
                  <a:lnTo>
                    <a:pt x="30118" y="658160"/>
                  </a:lnTo>
                </a:path>
                <a:path w="1511935" h="658495">
                  <a:moveTo>
                    <a:pt x="0" y="495130"/>
                  </a:moveTo>
                  <a:lnTo>
                    <a:pt x="30118" y="495130"/>
                  </a:lnTo>
                </a:path>
                <a:path w="1511935" h="658495">
                  <a:moveTo>
                    <a:pt x="0" y="332099"/>
                  </a:moveTo>
                  <a:lnTo>
                    <a:pt x="30118" y="332099"/>
                  </a:lnTo>
                </a:path>
                <a:path w="1511935" h="658495">
                  <a:moveTo>
                    <a:pt x="0" y="163030"/>
                  </a:moveTo>
                  <a:lnTo>
                    <a:pt x="30118" y="163030"/>
                  </a:lnTo>
                </a:path>
                <a:path w="1511935" h="658495">
                  <a:moveTo>
                    <a:pt x="0" y="0"/>
                  </a:moveTo>
                  <a:lnTo>
                    <a:pt x="30118" y="0"/>
                  </a:lnTo>
                </a:path>
                <a:path w="1511935" h="658495">
                  <a:moveTo>
                    <a:pt x="30118" y="332099"/>
                  </a:moveTo>
                  <a:lnTo>
                    <a:pt x="1511926" y="332099"/>
                  </a:lnTo>
                </a:path>
              </a:pathLst>
            </a:custGeom>
            <a:ln w="6036">
              <a:solidFill>
                <a:srgbClr val="85858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3" name="object 33"/>
            <p:cNvSpPr/>
            <p:nvPr/>
          </p:nvSpPr>
          <p:spPr>
            <a:xfrm>
              <a:off x="3300939" y="4760378"/>
              <a:ext cx="433705" cy="0"/>
            </a:xfrm>
            <a:custGeom>
              <a:avLst/>
              <a:gdLst/>
              <a:ahLst/>
              <a:cxnLst/>
              <a:rect l="l" t="t" r="r" b="b"/>
              <a:pathLst>
                <a:path w="433704">
                  <a:moveTo>
                    <a:pt x="0" y="0"/>
                  </a:moveTo>
                  <a:lnTo>
                    <a:pt x="433700" y="0"/>
                  </a:lnTo>
                </a:path>
              </a:pathLst>
            </a:custGeom>
            <a:ln w="30190">
              <a:solidFill>
                <a:srgbClr val="1F487C"/>
              </a:solidFill>
              <a:prstDash val="sys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4" name="object 34"/>
            <p:cNvSpPr/>
            <p:nvPr/>
          </p:nvSpPr>
          <p:spPr>
            <a:xfrm>
              <a:off x="3319009" y="4597347"/>
              <a:ext cx="427990" cy="0"/>
            </a:xfrm>
            <a:custGeom>
              <a:avLst/>
              <a:gdLst/>
              <a:ahLst/>
              <a:cxnLst/>
              <a:rect l="l" t="t" r="r" b="b"/>
              <a:pathLst>
                <a:path w="427989">
                  <a:moveTo>
                    <a:pt x="0" y="0"/>
                  </a:moveTo>
                  <a:lnTo>
                    <a:pt x="427676" y="0"/>
                  </a:lnTo>
                </a:path>
              </a:pathLst>
            </a:custGeom>
            <a:ln w="30190">
              <a:solidFill>
                <a:srgbClr val="1F487C"/>
              </a:solidFill>
              <a:prstDash val="sys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5" name="object 35"/>
            <p:cNvSpPr/>
            <p:nvPr/>
          </p:nvSpPr>
          <p:spPr>
            <a:xfrm>
              <a:off x="3331045" y="4419231"/>
              <a:ext cx="386080" cy="30480"/>
            </a:xfrm>
            <a:custGeom>
              <a:avLst/>
              <a:gdLst/>
              <a:ahLst/>
              <a:cxnLst/>
              <a:rect l="l" t="t" r="r" b="b"/>
              <a:pathLst>
                <a:path w="386079" h="30479">
                  <a:moveTo>
                    <a:pt x="30124" y="6743"/>
                  </a:moveTo>
                  <a:lnTo>
                    <a:pt x="23393" y="0"/>
                  </a:lnTo>
                  <a:lnTo>
                    <a:pt x="6731" y="0"/>
                  </a:lnTo>
                  <a:lnTo>
                    <a:pt x="0" y="6743"/>
                  </a:lnTo>
                  <a:lnTo>
                    <a:pt x="0" y="23342"/>
                  </a:lnTo>
                  <a:lnTo>
                    <a:pt x="6731" y="30187"/>
                  </a:lnTo>
                  <a:lnTo>
                    <a:pt x="23393" y="30187"/>
                  </a:lnTo>
                  <a:lnTo>
                    <a:pt x="30124" y="23342"/>
                  </a:lnTo>
                  <a:lnTo>
                    <a:pt x="30124" y="15087"/>
                  </a:lnTo>
                  <a:lnTo>
                    <a:pt x="30124" y="6743"/>
                  </a:lnTo>
                  <a:close/>
                </a:path>
                <a:path w="386079" h="30479">
                  <a:moveTo>
                    <a:pt x="78308" y="6743"/>
                  </a:moveTo>
                  <a:lnTo>
                    <a:pt x="71589" y="0"/>
                  </a:lnTo>
                  <a:lnTo>
                    <a:pt x="54927" y="0"/>
                  </a:lnTo>
                  <a:lnTo>
                    <a:pt x="48196" y="6743"/>
                  </a:lnTo>
                  <a:lnTo>
                    <a:pt x="48196" y="23342"/>
                  </a:lnTo>
                  <a:lnTo>
                    <a:pt x="54927" y="30187"/>
                  </a:lnTo>
                  <a:lnTo>
                    <a:pt x="71589" y="30187"/>
                  </a:lnTo>
                  <a:lnTo>
                    <a:pt x="78308" y="23342"/>
                  </a:lnTo>
                  <a:lnTo>
                    <a:pt x="78308" y="15087"/>
                  </a:lnTo>
                  <a:lnTo>
                    <a:pt x="78308" y="6743"/>
                  </a:lnTo>
                  <a:close/>
                </a:path>
                <a:path w="386079" h="30479">
                  <a:moveTo>
                    <a:pt x="120472" y="6743"/>
                  </a:moveTo>
                  <a:lnTo>
                    <a:pt x="113753" y="0"/>
                  </a:lnTo>
                  <a:lnTo>
                    <a:pt x="97091" y="0"/>
                  </a:lnTo>
                  <a:lnTo>
                    <a:pt x="90360" y="6743"/>
                  </a:lnTo>
                  <a:lnTo>
                    <a:pt x="90360" y="23342"/>
                  </a:lnTo>
                  <a:lnTo>
                    <a:pt x="97091" y="30187"/>
                  </a:lnTo>
                  <a:lnTo>
                    <a:pt x="113753" y="30187"/>
                  </a:lnTo>
                  <a:lnTo>
                    <a:pt x="120472" y="23342"/>
                  </a:lnTo>
                  <a:lnTo>
                    <a:pt x="120472" y="15087"/>
                  </a:lnTo>
                  <a:lnTo>
                    <a:pt x="120472" y="6743"/>
                  </a:lnTo>
                  <a:close/>
                </a:path>
                <a:path w="386079" h="30479">
                  <a:moveTo>
                    <a:pt x="162648" y="6743"/>
                  </a:moveTo>
                  <a:lnTo>
                    <a:pt x="155917" y="0"/>
                  </a:lnTo>
                  <a:lnTo>
                    <a:pt x="139255" y="0"/>
                  </a:lnTo>
                  <a:lnTo>
                    <a:pt x="132524" y="6743"/>
                  </a:lnTo>
                  <a:lnTo>
                    <a:pt x="132524" y="23342"/>
                  </a:lnTo>
                  <a:lnTo>
                    <a:pt x="139255" y="30187"/>
                  </a:lnTo>
                  <a:lnTo>
                    <a:pt x="155917" y="30187"/>
                  </a:lnTo>
                  <a:lnTo>
                    <a:pt x="162648" y="23342"/>
                  </a:lnTo>
                  <a:lnTo>
                    <a:pt x="162648" y="15087"/>
                  </a:lnTo>
                  <a:lnTo>
                    <a:pt x="162648" y="6743"/>
                  </a:lnTo>
                  <a:close/>
                </a:path>
                <a:path w="386079" h="30479">
                  <a:moveTo>
                    <a:pt x="210832" y="6743"/>
                  </a:moveTo>
                  <a:lnTo>
                    <a:pt x="204101" y="0"/>
                  </a:lnTo>
                  <a:lnTo>
                    <a:pt x="187439" y="0"/>
                  </a:lnTo>
                  <a:lnTo>
                    <a:pt x="180708" y="6743"/>
                  </a:lnTo>
                  <a:lnTo>
                    <a:pt x="180708" y="23342"/>
                  </a:lnTo>
                  <a:lnTo>
                    <a:pt x="187439" y="30187"/>
                  </a:lnTo>
                  <a:lnTo>
                    <a:pt x="204101" y="30187"/>
                  </a:lnTo>
                  <a:lnTo>
                    <a:pt x="210832" y="23342"/>
                  </a:lnTo>
                  <a:lnTo>
                    <a:pt x="210832" y="15087"/>
                  </a:lnTo>
                  <a:lnTo>
                    <a:pt x="210832" y="6743"/>
                  </a:lnTo>
                  <a:close/>
                </a:path>
                <a:path w="386079" h="30479">
                  <a:moveTo>
                    <a:pt x="252996" y="6743"/>
                  </a:moveTo>
                  <a:lnTo>
                    <a:pt x="246265" y="0"/>
                  </a:lnTo>
                  <a:lnTo>
                    <a:pt x="229603" y="0"/>
                  </a:lnTo>
                  <a:lnTo>
                    <a:pt x="222885" y="6743"/>
                  </a:lnTo>
                  <a:lnTo>
                    <a:pt x="222885" y="23342"/>
                  </a:lnTo>
                  <a:lnTo>
                    <a:pt x="229603" y="30187"/>
                  </a:lnTo>
                  <a:lnTo>
                    <a:pt x="246265" y="30187"/>
                  </a:lnTo>
                  <a:lnTo>
                    <a:pt x="252996" y="23342"/>
                  </a:lnTo>
                  <a:lnTo>
                    <a:pt x="252996" y="15087"/>
                  </a:lnTo>
                  <a:lnTo>
                    <a:pt x="252996" y="6743"/>
                  </a:lnTo>
                  <a:close/>
                </a:path>
                <a:path w="386079" h="30479">
                  <a:moveTo>
                    <a:pt x="295160" y="6743"/>
                  </a:moveTo>
                  <a:lnTo>
                    <a:pt x="288442" y="0"/>
                  </a:lnTo>
                  <a:lnTo>
                    <a:pt x="271767" y="0"/>
                  </a:lnTo>
                  <a:lnTo>
                    <a:pt x="265049" y="6743"/>
                  </a:lnTo>
                  <a:lnTo>
                    <a:pt x="265049" y="23342"/>
                  </a:lnTo>
                  <a:lnTo>
                    <a:pt x="271767" y="30187"/>
                  </a:lnTo>
                  <a:lnTo>
                    <a:pt x="288442" y="30187"/>
                  </a:lnTo>
                  <a:lnTo>
                    <a:pt x="295160" y="23342"/>
                  </a:lnTo>
                  <a:lnTo>
                    <a:pt x="295160" y="15087"/>
                  </a:lnTo>
                  <a:lnTo>
                    <a:pt x="295160" y="6743"/>
                  </a:lnTo>
                  <a:close/>
                </a:path>
                <a:path w="386079" h="30479">
                  <a:moveTo>
                    <a:pt x="343357" y="6743"/>
                  </a:moveTo>
                  <a:lnTo>
                    <a:pt x="336626" y="0"/>
                  </a:lnTo>
                  <a:lnTo>
                    <a:pt x="319963" y="0"/>
                  </a:lnTo>
                  <a:lnTo>
                    <a:pt x="313232" y="6743"/>
                  </a:lnTo>
                  <a:lnTo>
                    <a:pt x="313232" y="23342"/>
                  </a:lnTo>
                  <a:lnTo>
                    <a:pt x="319963" y="30187"/>
                  </a:lnTo>
                  <a:lnTo>
                    <a:pt x="336626" y="30187"/>
                  </a:lnTo>
                  <a:lnTo>
                    <a:pt x="343357" y="23342"/>
                  </a:lnTo>
                  <a:lnTo>
                    <a:pt x="343357" y="15087"/>
                  </a:lnTo>
                  <a:lnTo>
                    <a:pt x="343357" y="6743"/>
                  </a:lnTo>
                  <a:close/>
                </a:path>
                <a:path w="386079" h="30479">
                  <a:moveTo>
                    <a:pt x="385521" y="6743"/>
                  </a:moveTo>
                  <a:lnTo>
                    <a:pt x="378790" y="0"/>
                  </a:lnTo>
                  <a:lnTo>
                    <a:pt x="362127" y="0"/>
                  </a:lnTo>
                  <a:lnTo>
                    <a:pt x="355396" y="6743"/>
                  </a:lnTo>
                  <a:lnTo>
                    <a:pt x="355396" y="23342"/>
                  </a:lnTo>
                  <a:lnTo>
                    <a:pt x="362127" y="30187"/>
                  </a:lnTo>
                  <a:lnTo>
                    <a:pt x="378790" y="30187"/>
                  </a:lnTo>
                  <a:lnTo>
                    <a:pt x="385521" y="23342"/>
                  </a:lnTo>
                  <a:lnTo>
                    <a:pt x="385521" y="15087"/>
                  </a:lnTo>
                  <a:lnTo>
                    <a:pt x="385521" y="6743"/>
                  </a:lnTo>
                  <a:close/>
                </a:path>
              </a:pathLst>
            </a:custGeom>
            <a:solidFill>
              <a:srgbClr val="1F487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6" name="object 36"/>
            <p:cNvSpPr/>
            <p:nvPr/>
          </p:nvSpPr>
          <p:spPr>
            <a:xfrm>
              <a:off x="3806922" y="4760378"/>
              <a:ext cx="518159" cy="0"/>
            </a:xfrm>
            <a:custGeom>
              <a:avLst/>
              <a:gdLst/>
              <a:ahLst/>
              <a:cxnLst/>
              <a:rect l="l" t="t" r="r" b="b"/>
              <a:pathLst>
                <a:path w="518160">
                  <a:moveTo>
                    <a:pt x="0" y="0"/>
                  </a:moveTo>
                  <a:lnTo>
                    <a:pt x="518030" y="0"/>
                  </a:lnTo>
                </a:path>
              </a:pathLst>
            </a:custGeom>
            <a:ln w="30190">
              <a:solidFill>
                <a:srgbClr val="1F487C"/>
              </a:solidFill>
              <a:prstDash val="sys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7" name="object 37"/>
            <p:cNvSpPr/>
            <p:nvPr/>
          </p:nvSpPr>
          <p:spPr>
            <a:xfrm>
              <a:off x="3818969" y="4434316"/>
              <a:ext cx="536575" cy="163195"/>
            </a:xfrm>
            <a:custGeom>
              <a:avLst/>
              <a:gdLst/>
              <a:ahLst/>
              <a:cxnLst/>
              <a:rect l="l" t="t" r="r" b="b"/>
              <a:pathLst>
                <a:path w="536575" h="163195">
                  <a:moveTo>
                    <a:pt x="0" y="163030"/>
                  </a:moveTo>
                  <a:lnTo>
                    <a:pt x="518030" y="163030"/>
                  </a:lnTo>
                </a:path>
                <a:path w="536575" h="163195">
                  <a:moveTo>
                    <a:pt x="18070" y="0"/>
                  </a:moveTo>
                  <a:lnTo>
                    <a:pt x="536101" y="0"/>
                  </a:lnTo>
                </a:path>
              </a:pathLst>
            </a:custGeom>
            <a:ln w="30190">
              <a:solidFill>
                <a:srgbClr val="1F487C"/>
              </a:solidFill>
              <a:prstDash val="sys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8" name="object 38"/>
            <p:cNvSpPr/>
            <p:nvPr/>
          </p:nvSpPr>
          <p:spPr>
            <a:xfrm>
              <a:off x="4336999" y="4334687"/>
              <a:ext cx="464184" cy="525780"/>
            </a:xfrm>
            <a:custGeom>
              <a:avLst/>
              <a:gdLst/>
              <a:ahLst/>
              <a:cxnLst/>
              <a:rect l="l" t="t" r="r" b="b"/>
              <a:pathLst>
                <a:path w="464185" h="525779">
                  <a:moveTo>
                    <a:pt x="30111" y="501878"/>
                  </a:moveTo>
                  <a:lnTo>
                    <a:pt x="23380" y="495134"/>
                  </a:lnTo>
                  <a:lnTo>
                    <a:pt x="6718" y="495134"/>
                  </a:lnTo>
                  <a:lnTo>
                    <a:pt x="0" y="501878"/>
                  </a:lnTo>
                  <a:lnTo>
                    <a:pt x="0" y="518477"/>
                  </a:lnTo>
                  <a:lnTo>
                    <a:pt x="6718" y="525322"/>
                  </a:lnTo>
                  <a:lnTo>
                    <a:pt x="23380" y="525322"/>
                  </a:lnTo>
                  <a:lnTo>
                    <a:pt x="30111" y="518477"/>
                  </a:lnTo>
                  <a:lnTo>
                    <a:pt x="30111" y="510235"/>
                  </a:lnTo>
                  <a:lnTo>
                    <a:pt x="30111" y="501878"/>
                  </a:lnTo>
                  <a:close/>
                </a:path>
                <a:path w="464185" h="525779">
                  <a:moveTo>
                    <a:pt x="48183" y="169773"/>
                  </a:moveTo>
                  <a:lnTo>
                    <a:pt x="41452" y="163042"/>
                  </a:lnTo>
                  <a:lnTo>
                    <a:pt x="24790" y="163042"/>
                  </a:lnTo>
                  <a:lnTo>
                    <a:pt x="18072" y="169773"/>
                  </a:lnTo>
                  <a:lnTo>
                    <a:pt x="18072" y="186385"/>
                  </a:lnTo>
                  <a:lnTo>
                    <a:pt x="24790" y="193230"/>
                  </a:lnTo>
                  <a:lnTo>
                    <a:pt x="41452" y="193230"/>
                  </a:lnTo>
                  <a:lnTo>
                    <a:pt x="48183" y="186385"/>
                  </a:lnTo>
                  <a:lnTo>
                    <a:pt x="48183" y="178130"/>
                  </a:lnTo>
                  <a:lnTo>
                    <a:pt x="48183" y="169773"/>
                  </a:lnTo>
                  <a:close/>
                </a:path>
                <a:path w="464185" h="525779">
                  <a:moveTo>
                    <a:pt x="60236" y="6743"/>
                  </a:moveTo>
                  <a:lnTo>
                    <a:pt x="53505" y="0"/>
                  </a:lnTo>
                  <a:lnTo>
                    <a:pt x="36842" y="0"/>
                  </a:lnTo>
                  <a:lnTo>
                    <a:pt x="30111" y="6743"/>
                  </a:lnTo>
                  <a:lnTo>
                    <a:pt x="30111" y="23355"/>
                  </a:lnTo>
                  <a:lnTo>
                    <a:pt x="36842" y="30200"/>
                  </a:lnTo>
                  <a:lnTo>
                    <a:pt x="53505" y="30200"/>
                  </a:lnTo>
                  <a:lnTo>
                    <a:pt x="60236" y="23355"/>
                  </a:lnTo>
                  <a:lnTo>
                    <a:pt x="60236" y="15100"/>
                  </a:lnTo>
                  <a:lnTo>
                    <a:pt x="60236" y="6743"/>
                  </a:lnTo>
                  <a:close/>
                </a:path>
                <a:path w="464185" h="525779">
                  <a:moveTo>
                    <a:pt x="78308" y="501878"/>
                  </a:moveTo>
                  <a:lnTo>
                    <a:pt x="71577" y="495134"/>
                  </a:lnTo>
                  <a:lnTo>
                    <a:pt x="54914" y="495134"/>
                  </a:lnTo>
                  <a:lnTo>
                    <a:pt x="48183" y="501878"/>
                  </a:lnTo>
                  <a:lnTo>
                    <a:pt x="48183" y="518477"/>
                  </a:lnTo>
                  <a:lnTo>
                    <a:pt x="54914" y="525322"/>
                  </a:lnTo>
                  <a:lnTo>
                    <a:pt x="71577" y="525322"/>
                  </a:lnTo>
                  <a:lnTo>
                    <a:pt x="78308" y="518477"/>
                  </a:lnTo>
                  <a:lnTo>
                    <a:pt x="78308" y="510235"/>
                  </a:lnTo>
                  <a:lnTo>
                    <a:pt x="78308" y="501878"/>
                  </a:lnTo>
                  <a:close/>
                </a:path>
                <a:path w="464185" h="525779">
                  <a:moveTo>
                    <a:pt x="90347" y="169773"/>
                  </a:moveTo>
                  <a:lnTo>
                    <a:pt x="83616" y="163042"/>
                  </a:lnTo>
                  <a:lnTo>
                    <a:pt x="66954" y="163042"/>
                  </a:lnTo>
                  <a:lnTo>
                    <a:pt x="60236" y="169773"/>
                  </a:lnTo>
                  <a:lnTo>
                    <a:pt x="60236" y="186385"/>
                  </a:lnTo>
                  <a:lnTo>
                    <a:pt x="66954" y="193230"/>
                  </a:lnTo>
                  <a:lnTo>
                    <a:pt x="83616" y="193230"/>
                  </a:lnTo>
                  <a:lnTo>
                    <a:pt x="90347" y="186385"/>
                  </a:lnTo>
                  <a:lnTo>
                    <a:pt x="90347" y="178130"/>
                  </a:lnTo>
                  <a:lnTo>
                    <a:pt x="90347" y="169773"/>
                  </a:lnTo>
                  <a:close/>
                </a:path>
                <a:path w="464185" h="525779">
                  <a:moveTo>
                    <a:pt x="108419" y="6743"/>
                  </a:moveTo>
                  <a:lnTo>
                    <a:pt x="101688" y="0"/>
                  </a:lnTo>
                  <a:lnTo>
                    <a:pt x="85026" y="0"/>
                  </a:lnTo>
                  <a:lnTo>
                    <a:pt x="78308" y="6743"/>
                  </a:lnTo>
                  <a:lnTo>
                    <a:pt x="78308" y="23355"/>
                  </a:lnTo>
                  <a:lnTo>
                    <a:pt x="85026" y="30200"/>
                  </a:lnTo>
                  <a:lnTo>
                    <a:pt x="101688" y="30200"/>
                  </a:lnTo>
                  <a:lnTo>
                    <a:pt x="108419" y="23355"/>
                  </a:lnTo>
                  <a:lnTo>
                    <a:pt x="108419" y="15100"/>
                  </a:lnTo>
                  <a:lnTo>
                    <a:pt x="108419" y="6743"/>
                  </a:lnTo>
                  <a:close/>
                </a:path>
                <a:path w="464185" h="525779">
                  <a:moveTo>
                    <a:pt x="120472" y="501878"/>
                  </a:moveTo>
                  <a:lnTo>
                    <a:pt x="113741" y="495134"/>
                  </a:lnTo>
                  <a:lnTo>
                    <a:pt x="97078" y="495134"/>
                  </a:lnTo>
                  <a:lnTo>
                    <a:pt x="90347" y="501878"/>
                  </a:lnTo>
                  <a:lnTo>
                    <a:pt x="90347" y="518477"/>
                  </a:lnTo>
                  <a:lnTo>
                    <a:pt x="97078" y="525322"/>
                  </a:lnTo>
                  <a:lnTo>
                    <a:pt x="113741" y="525322"/>
                  </a:lnTo>
                  <a:lnTo>
                    <a:pt x="120472" y="518477"/>
                  </a:lnTo>
                  <a:lnTo>
                    <a:pt x="120472" y="510235"/>
                  </a:lnTo>
                  <a:lnTo>
                    <a:pt x="120472" y="501878"/>
                  </a:lnTo>
                  <a:close/>
                </a:path>
                <a:path w="464185" h="525779">
                  <a:moveTo>
                    <a:pt x="138544" y="338848"/>
                  </a:moveTo>
                  <a:lnTo>
                    <a:pt x="131813" y="332105"/>
                  </a:lnTo>
                  <a:lnTo>
                    <a:pt x="115150" y="332105"/>
                  </a:lnTo>
                  <a:lnTo>
                    <a:pt x="108419" y="338848"/>
                  </a:lnTo>
                  <a:lnTo>
                    <a:pt x="108419" y="355447"/>
                  </a:lnTo>
                  <a:lnTo>
                    <a:pt x="115150" y="362292"/>
                  </a:lnTo>
                  <a:lnTo>
                    <a:pt x="131813" y="362292"/>
                  </a:lnTo>
                  <a:lnTo>
                    <a:pt x="138544" y="355447"/>
                  </a:lnTo>
                  <a:lnTo>
                    <a:pt x="138544" y="347205"/>
                  </a:lnTo>
                  <a:lnTo>
                    <a:pt x="138544" y="338848"/>
                  </a:lnTo>
                  <a:close/>
                </a:path>
                <a:path w="464185" h="525779">
                  <a:moveTo>
                    <a:pt x="150583" y="6743"/>
                  </a:moveTo>
                  <a:lnTo>
                    <a:pt x="143852" y="0"/>
                  </a:lnTo>
                  <a:lnTo>
                    <a:pt x="127190" y="0"/>
                  </a:lnTo>
                  <a:lnTo>
                    <a:pt x="120472" y="6743"/>
                  </a:lnTo>
                  <a:lnTo>
                    <a:pt x="120472" y="23355"/>
                  </a:lnTo>
                  <a:lnTo>
                    <a:pt x="127190" y="30200"/>
                  </a:lnTo>
                  <a:lnTo>
                    <a:pt x="143852" y="30200"/>
                  </a:lnTo>
                  <a:lnTo>
                    <a:pt x="150583" y="23355"/>
                  </a:lnTo>
                  <a:lnTo>
                    <a:pt x="150583" y="15100"/>
                  </a:lnTo>
                  <a:lnTo>
                    <a:pt x="150583" y="6743"/>
                  </a:lnTo>
                  <a:close/>
                </a:path>
                <a:path w="464185" h="525779">
                  <a:moveTo>
                    <a:pt x="168656" y="501878"/>
                  </a:moveTo>
                  <a:lnTo>
                    <a:pt x="161925" y="495134"/>
                  </a:lnTo>
                  <a:lnTo>
                    <a:pt x="145262" y="495134"/>
                  </a:lnTo>
                  <a:lnTo>
                    <a:pt x="138544" y="501878"/>
                  </a:lnTo>
                  <a:lnTo>
                    <a:pt x="138544" y="518477"/>
                  </a:lnTo>
                  <a:lnTo>
                    <a:pt x="145262" y="525322"/>
                  </a:lnTo>
                  <a:lnTo>
                    <a:pt x="161925" y="525322"/>
                  </a:lnTo>
                  <a:lnTo>
                    <a:pt x="168656" y="518477"/>
                  </a:lnTo>
                  <a:lnTo>
                    <a:pt x="168656" y="510235"/>
                  </a:lnTo>
                  <a:lnTo>
                    <a:pt x="168656" y="501878"/>
                  </a:lnTo>
                  <a:close/>
                </a:path>
                <a:path w="464185" h="525779">
                  <a:moveTo>
                    <a:pt x="180708" y="169773"/>
                  </a:moveTo>
                  <a:lnTo>
                    <a:pt x="173977" y="163042"/>
                  </a:lnTo>
                  <a:lnTo>
                    <a:pt x="157314" y="163042"/>
                  </a:lnTo>
                  <a:lnTo>
                    <a:pt x="150583" y="169773"/>
                  </a:lnTo>
                  <a:lnTo>
                    <a:pt x="150583" y="186385"/>
                  </a:lnTo>
                  <a:lnTo>
                    <a:pt x="157314" y="193230"/>
                  </a:lnTo>
                  <a:lnTo>
                    <a:pt x="173977" y="193230"/>
                  </a:lnTo>
                  <a:lnTo>
                    <a:pt x="180708" y="186385"/>
                  </a:lnTo>
                  <a:lnTo>
                    <a:pt x="180708" y="178130"/>
                  </a:lnTo>
                  <a:lnTo>
                    <a:pt x="180708" y="169773"/>
                  </a:lnTo>
                  <a:close/>
                </a:path>
                <a:path w="464185" h="525779">
                  <a:moveTo>
                    <a:pt x="192747" y="6743"/>
                  </a:moveTo>
                  <a:lnTo>
                    <a:pt x="186029" y="0"/>
                  </a:lnTo>
                  <a:lnTo>
                    <a:pt x="169354" y="0"/>
                  </a:lnTo>
                  <a:lnTo>
                    <a:pt x="162636" y="6743"/>
                  </a:lnTo>
                  <a:lnTo>
                    <a:pt x="162636" y="23355"/>
                  </a:lnTo>
                  <a:lnTo>
                    <a:pt x="169354" y="30200"/>
                  </a:lnTo>
                  <a:lnTo>
                    <a:pt x="186029" y="30200"/>
                  </a:lnTo>
                  <a:lnTo>
                    <a:pt x="192747" y="23355"/>
                  </a:lnTo>
                  <a:lnTo>
                    <a:pt x="192747" y="15100"/>
                  </a:lnTo>
                  <a:lnTo>
                    <a:pt x="192747" y="6743"/>
                  </a:lnTo>
                  <a:close/>
                </a:path>
                <a:path w="464185" h="525779">
                  <a:moveTo>
                    <a:pt x="210820" y="501878"/>
                  </a:moveTo>
                  <a:lnTo>
                    <a:pt x="204089" y="495134"/>
                  </a:lnTo>
                  <a:lnTo>
                    <a:pt x="187426" y="495134"/>
                  </a:lnTo>
                  <a:lnTo>
                    <a:pt x="180708" y="501878"/>
                  </a:lnTo>
                  <a:lnTo>
                    <a:pt x="180708" y="518477"/>
                  </a:lnTo>
                  <a:lnTo>
                    <a:pt x="187426" y="525322"/>
                  </a:lnTo>
                  <a:lnTo>
                    <a:pt x="204089" y="525322"/>
                  </a:lnTo>
                  <a:lnTo>
                    <a:pt x="210820" y="518477"/>
                  </a:lnTo>
                  <a:lnTo>
                    <a:pt x="210820" y="510235"/>
                  </a:lnTo>
                  <a:lnTo>
                    <a:pt x="210820" y="501878"/>
                  </a:lnTo>
                  <a:close/>
                </a:path>
                <a:path w="464185" h="525779">
                  <a:moveTo>
                    <a:pt x="222872" y="338848"/>
                  </a:moveTo>
                  <a:lnTo>
                    <a:pt x="216141" y="332105"/>
                  </a:lnTo>
                  <a:lnTo>
                    <a:pt x="199478" y="332105"/>
                  </a:lnTo>
                  <a:lnTo>
                    <a:pt x="192747" y="338848"/>
                  </a:lnTo>
                  <a:lnTo>
                    <a:pt x="192747" y="355447"/>
                  </a:lnTo>
                  <a:lnTo>
                    <a:pt x="199478" y="362292"/>
                  </a:lnTo>
                  <a:lnTo>
                    <a:pt x="216141" y="362292"/>
                  </a:lnTo>
                  <a:lnTo>
                    <a:pt x="222872" y="355447"/>
                  </a:lnTo>
                  <a:lnTo>
                    <a:pt x="222872" y="347205"/>
                  </a:lnTo>
                  <a:lnTo>
                    <a:pt x="222872" y="338848"/>
                  </a:lnTo>
                  <a:close/>
                </a:path>
                <a:path w="464185" h="525779">
                  <a:moveTo>
                    <a:pt x="240944" y="6743"/>
                  </a:moveTo>
                  <a:lnTo>
                    <a:pt x="234213" y="0"/>
                  </a:lnTo>
                  <a:lnTo>
                    <a:pt x="217551" y="0"/>
                  </a:lnTo>
                  <a:lnTo>
                    <a:pt x="210820" y="6743"/>
                  </a:lnTo>
                  <a:lnTo>
                    <a:pt x="210820" y="23355"/>
                  </a:lnTo>
                  <a:lnTo>
                    <a:pt x="217551" y="30200"/>
                  </a:lnTo>
                  <a:lnTo>
                    <a:pt x="234213" y="30200"/>
                  </a:lnTo>
                  <a:lnTo>
                    <a:pt x="240944" y="23355"/>
                  </a:lnTo>
                  <a:lnTo>
                    <a:pt x="240944" y="15100"/>
                  </a:lnTo>
                  <a:lnTo>
                    <a:pt x="240944" y="6743"/>
                  </a:lnTo>
                  <a:close/>
                </a:path>
                <a:path w="464185" h="525779">
                  <a:moveTo>
                    <a:pt x="252984" y="501878"/>
                  </a:moveTo>
                  <a:lnTo>
                    <a:pt x="246265" y="495134"/>
                  </a:lnTo>
                  <a:lnTo>
                    <a:pt x="229590" y="495134"/>
                  </a:lnTo>
                  <a:lnTo>
                    <a:pt x="222872" y="501878"/>
                  </a:lnTo>
                  <a:lnTo>
                    <a:pt x="222872" y="518477"/>
                  </a:lnTo>
                  <a:lnTo>
                    <a:pt x="229590" y="525322"/>
                  </a:lnTo>
                  <a:lnTo>
                    <a:pt x="246265" y="525322"/>
                  </a:lnTo>
                  <a:lnTo>
                    <a:pt x="252984" y="518477"/>
                  </a:lnTo>
                  <a:lnTo>
                    <a:pt x="252984" y="510235"/>
                  </a:lnTo>
                  <a:lnTo>
                    <a:pt x="252984" y="501878"/>
                  </a:lnTo>
                  <a:close/>
                </a:path>
                <a:path w="464185" h="525779">
                  <a:moveTo>
                    <a:pt x="271056" y="338848"/>
                  </a:moveTo>
                  <a:lnTo>
                    <a:pt x="264325" y="332105"/>
                  </a:lnTo>
                  <a:lnTo>
                    <a:pt x="247662" y="332105"/>
                  </a:lnTo>
                  <a:lnTo>
                    <a:pt x="240944" y="338848"/>
                  </a:lnTo>
                  <a:lnTo>
                    <a:pt x="240944" y="355447"/>
                  </a:lnTo>
                  <a:lnTo>
                    <a:pt x="247662" y="362292"/>
                  </a:lnTo>
                  <a:lnTo>
                    <a:pt x="264325" y="362292"/>
                  </a:lnTo>
                  <a:lnTo>
                    <a:pt x="271056" y="355447"/>
                  </a:lnTo>
                  <a:lnTo>
                    <a:pt x="271056" y="347205"/>
                  </a:lnTo>
                  <a:lnTo>
                    <a:pt x="271056" y="338848"/>
                  </a:lnTo>
                  <a:close/>
                </a:path>
                <a:path w="464185" h="525779">
                  <a:moveTo>
                    <a:pt x="283108" y="6743"/>
                  </a:moveTo>
                  <a:lnTo>
                    <a:pt x="276377" y="0"/>
                  </a:lnTo>
                  <a:lnTo>
                    <a:pt x="259715" y="0"/>
                  </a:lnTo>
                  <a:lnTo>
                    <a:pt x="252984" y="6743"/>
                  </a:lnTo>
                  <a:lnTo>
                    <a:pt x="252984" y="23355"/>
                  </a:lnTo>
                  <a:lnTo>
                    <a:pt x="259715" y="30200"/>
                  </a:lnTo>
                  <a:lnTo>
                    <a:pt x="276377" y="30200"/>
                  </a:lnTo>
                  <a:lnTo>
                    <a:pt x="283108" y="23355"/>
                  </a:lnTo>
                  <a:lnTo>
                    <a:pt x="283108" y="15100"/>
                  </a:lnTo>
                  <a:lnTo>
                    <a:pt x="283108" y="6743"/>
                  </a:lnTo>
                  <a:close/>
                </a:path>
                <a:path w="464185" h="525779">
                  <a:moveTo>
                    <a:pt x="301180" y="501878"/>
                  </a:moveTo>
                  <a:lnTo>
                    <a:pt x="294449" y="495134"/>
                  </a:lnTo>
                  <a:lnTo>
                    <a:pt x="277787" y="495134"/>
                  </a:lnTo>
                  <a:lnTo>
                    <a:pt x="271056" y="501878"/>
                  </a:lnTo>
                  <a:lnTo>
                    <a:pt x="271056" y="518477"/>
                  </a:lnTo>
                  <a:lnTo>
                    <a:pt x="277787" y="525322"/>
                  </a:lnTo>
                  <a:lnTo>
                    <a:pt x="294449" y="525322"/>
                  </a:lnTo>
                  <a:lnTo>
                    <a:pt x="301180" y="518477"/>
                  </a:lnTo>
                  <a:lnTo>
                    <a:pt x="301180" y="510235"/>
                  </a:lnTo>
                  <a:lnTo>
                    <a:pt x="301180" y="501878"/>
                  </a:lnTo>
                  <a:close/>
                </a:path>
                <a:path w="464185" h="525779">
                  <a:moveTo>
                    <a:pt x="313220" y="169773"/>
                  </a:moveTo>
                  <a:lnTo>
                    <a:pt x="306501" y="163042"/>
                  </a:lnTo>
                  <a:lnTo>
                    <a:pt x="289826" y="163042"/>
                  </a:lnTo>
                  <a:lnTo>
                    <a:pt x="283108" y="169773"/>
                  </a:lnTo>
                  <a:lnTo>
                    <a:pt x="283108" y="186385"/>
                  </a:lnTo>
                  <a:lnTo>
                    <a:pt x="289826" y="193230"/>
                  </a:lnTo>
                  <a:lnTo>
                    <a:pt x="306501" y="193230"/>
                  </a:lnTo>
                  <a:lnTo>
                    <a:pt x="313220" y="186385"/>
                  </a:lnTo>
                  <a:lnTo>
                    <a:pt x="313220" y="178130"/>
                  </a:lnTo>
                  <a:lnTo>
                    <a:pt x="313220" y="169773"/>
                  </a:lnTo>
                  <a:close/>
                </a:path>
                <a:path w="464185" h="525779">
                  <a:moveTo>
                    <a:pt x="331292" y="91287"/>
                  </a:moveTo>
                  <a:lnTo>
                    <a:pt x="324561" y="84543"/>
                  </a:lnTo>
                  <a:lnTo>
                    <a:pt x="307898" y="84543"/>
                  </a:lnTo>
                  <a:lnTo>
                    <a:pt x="301180" y="91287"/>
                  </a:lnTo>
                  <a:lnTo>
                    <a:pt x="301180" y="107886"/>
                  </a:lnTo>
                  <a:lnTo>
                    <a:pt x="307898" y="114731"/>
                  </a:lnTo>
                  <a:lnTo>
                    <a:pt x="324561" y="114731"/>
                  </a:lnTo>
                  <a:lnTo>
                    <a:pt x="331292" y="107886"/>
                  </a:lnTo>
                  <a:lnTo>
                    <a:pt x="331292" y="99631"/>
                  </a:lnTo>
                  <a:lnTo>
                    <a:pt x="331292" y="91287"/>
                  </a:lnTo>
                  <a:close/>
                </a:path>
                <a:path w="464185" h="525779">
                  <a:moveTo>
                    <a:pt x="343344" y="417347"/>
                  </a:moveTo>
                  <a:lnTo>
                    <a:pt x="336613" y="410603"/>
                  </a:lnTo>
                  <a:lnTo>
                    <a:pt x="319951" y="410603"/>
                  </a:lnTo>
                  <a:lnTo>
                    <a:pt x="313220" y="417347"/>
                  </a:lnTo>
                  <a:lnTo>
                    <a:pt x="313220" y="433946"/>
                  </a:lnTo>
                  <a:lnTo>
                    <a:pt x="319951" y="440791"/>
                  </a:lnTo>
                  <a:lnTo>
                    <a:pt x="336613" y="440791"/>
                  </a:lnTo>
                  <a:lnTo>
                    <a:pt x="343344" y="433946"/>
                  </a:lnTo>
                  <a:lnTo>
                    <a:pt x="343344" y="425691"/>
                  </a:lnTo>
                  <a:lnTo>
                    <a:pt x="343344" y="417347"/>
                  </a:lnTo>
                  <a:close/>
                </a:path>
                <a:path w="464185" h="525779">
                  <a:moveTo>
                    <a:pt x="355384" y="254317"/>
                  </a:moveTo>
                  <a:lnTo>
                    <a:pt x="348665" y="247573"/>
                  </a:lnTo>
                  <a:lnTo>
                    <a:pt x="331990" y="247573"/>
                  </a:lnTo>
                  <a:lnTo>
                    <a:pt x="325272" y="254317"/>
                  </a:lnTo>
                  <a:lnTo>
                    <a:pt x="325272" y="270916"/>
                  </a:lnTo>
                  <a:lnTo>
                    <a:pt x="331990" y="277761"/>
                  </a:lnTo>
                  <a:lnTo>
                    <a:pt x="348665" y="277761"/>
                  </a:lnTo>
                  <a:lnTo>
                    <a:pt x="355384" y="270916"/>
                  </a:lnTo>
                  <a:lnTo>
                    <a:pt x="355384" y="262661"/>
                  </a:lnTo>
                  <a:lnTo>
                    <a:pt x="355384" y="254317"/>
                  </a:lnTo>
                  <a:close/>
                </a:path>
                <a:path w="464185" h="525779">
                  <a:moveTo>
                    <a:pt x="373456" y="91287"/>
                  </a:moveTo>
                  <a:lnTo>
                    <a:pt x="366737" y="84543"/>
                  </a:lnTo>
                  <a:lnTo>
                    <a:pt x="350062" y="84543"/>
                  </a:lnTo>
                  <a:lnTo>
                    <a:pt x="343344" y="91287"/>
                  </a:lnTo>
                  <a:lnTo>
                    <a:pt x="343344" y="107886"/>
                  </a:lnTo>
                  <a:lnTo>
                    <a:pt x="350062" y="114731"/>
                  </a:lnTo>
                  <a:lnTo>
                    <a:pt x="366737" y="114731"/>
                  </a:lnTo>
                  <a:lnTo>
                    <a:pt x="373456" y="107886"/>
                  </a:lnTo>
                  <a:lnTo>
                    <a:pt x="373456" y="99631"/>
                  </a:lnTo>
                  <a:lnTo>
                    <a:pt x="373456" y="91287"/>
                  </a:lnTo>
                  <a:close/>
                </a:path>
                <a:path w="464185" h="525779">
                  <a:moveTo>
                    <a:pt x="385508" y="417347"/>
                  </a:moveTo>
                  <a:lnTo>
                    <a:pt x="378777" y="410603"/>
                  </a:lnTo>
                  <a:lnTo>
                    <a:pt x="362115" y="410603"/>
                  </a:lnTo>
                  <a:lnTo>
                    <a:pt x="355384" y="417347"/>
                  </a:lnTo>
                  <a:lnTo>
                    <a:pt x="355384" y="433946"/>
                  </a:lnTo>
                  <a:lnTo>
                    <a:pt x="362115" y="440791"/>
                  </a:lnTo>
                  <a:lnTo>
                    <a:pt x="378777" y="440791"/>
                  </a:lnTo>
                  <a:lnTo>
                    <a:pt x="385508" y="433946"/>
                  </a:lnTo>
                  <a:lnTo>
                    <a:pt x="385508" y="425691"/>
                  </a:lnTo>
                  <a:lnTo>
                    <a:pt x="385508" y="417347"/>
                  </a:lnTo>
                  <a:close/>
                </a:path>
                <a:path w="464185" h="525779">
                  <a:moveTo>
                    <a:pt x="403580" y="254317"/>
                  </a:moveTo>
                  <a:lnTo>
                    <a:pt x="396849" y="247573"/>
                  </a:lnTo>
                  <a:lnTo>
                    <a:pt x="380187" y="247573"/>
                  </a:lnTo>
                  <a:lnTo>
                    <a:pt x="373456" y="254317"/>
                  </a:lnTo>
                  <a:lnTo>
                    <a:pt x="373456" y="270916"/>
                  </a:lnTo>
                  <a:lnTo>
                    <a:pt x="380187" y="277761"/>
                  </a:lnTo>
                  <a:lnTo>
                    <a:pt x="396849" y="277761"/>
                  </a:lnTo>
                  <a:lnTo>
                    <a:pt x="403580" y="270916"/>
                  </a:lnTo>
                  <a:lnTo>
                    <a:pt x="403580" y="262661"/>
                  </a:lnTo>
                  <a:lnTo>
                    <a:pt x="403580" y="254317"/>
                  </a:lnTo>
                  <a:close/>
                </a:path>
                <a:path w="464185" h="525779">
                  <a:moveTo>
                    <a:pt x="415620" y="91287"/>
                  </a:moveTo>
                  <a:lnTo>
                    <a:pt x="408901" y="84543"/>
                  </a:lnTo>
                  <a:lnTo>
                    <a:pt x="392226" y="84543"/>
                  </a:lnTo>
                  <a:lnTo>
                    <a:pt x="385508" y="91287"/>
                  </a:lnTo>
                  <a:lnTo>
                    <a:pt x="385508" y="107886"/>
                  </a:lnTo>
                  <a:lnTo>
                    <a:pt x="392226" y="114731"/>
                  </a:lnTo>
                  <a:lnTo>
                    <a:pt x="408901" y="114731"/>
                  </a:lnTo>
                  <a:lnTo>
                    <a:pt x="415620" y="107886"/>
                  </a:lnTo>
                  <a:lnTo>
                    <a:pt x="415620" y="99631"/>
                  </a:lnTo>
                  <a:lnTo>
                    <a:pt x="415620" y="91287"/>
                  </a:lnTo>
                  <a:close/>
                </a:path>
                <a:path w="464185" h="525779">
                  <a:moveTo>
                    <a:pt x="433692" y="417347"/>
                  </a:moveTo>
                  <a:lnTo>
                    <a:pt x="426974" y="410603"/>
                  </a:lnTo>
                  <a:lnTo>
                    <a:pt x="410298" y="410603"/>
                  </a:lnTo>
                  <a:lnTo>
                    <a:pt x="403580" y="417347"/>
                  </a:lnTo>
                  <a:lnTo>
                    <a:pt x="403580" y="433946"/>
                  </a:lnTo>
                  <a:lnTo>
                    <a:pt x="410298" y="440791"/>
                  </a:lnTo>
                  <a:lnTo>
                    <a:pt x="426974" y="440791"/>
                  </a:lnTo>
                  <a:lnTo>
                    <a:pt x="433692" y="433946"/>
                  </a:lnTo>
                  <a:lnTo>
                    <a:pt x="433692" y="425691"/>
                  </a:lnTo>
                  <a:lnTo>
                    <a:pt x="433692" y="417347"/>
                  </a:lnTo>
                  <a:close/>
                </a:path>
                <a:path w="464185" h="525779">
                  <a:moveTo>
                    <a:pt x="445744" y="254317"/>
                  </a:moveTo>
                  <a:lnTo>
                    <a:pt x="439013" y="247573"/>
                  </a:lnTo>
                  <a:lnTo>
                    <a:pt x="422351" y="247573"/>
                  </a:lnTo>
                  <a:lnTo>
                    <a:pt x="415620" y="254317"/>
                  </a:lnTo>
                  <a:lnTo>
                    <a:pt x="415620" y="270916"/>
                  </a:lnTo>
                  <a:lnTo>
                    <a:pt x="422351" y="277761"/>
                  </a:lnTo>
                  <a:lnTo>
                    <a:pt x="439013" y="277761"/>
                  </a:lnTo>
                  <a:lnTo>
                    <a:pt x="445744" y="270916"/>
                  </a:lnTo>
                  <a:lnTo>
                    <a:pt x="445744" y="262661"/>
                  </a:lnTo>
                  <a:lnTo>
                    <a:pt x="445744" y="254317"/>
                  </a:lnTo>
                  <a:close/>
                </a:path>
                <a:path w="464185" h="525779">
                  <a:moveTo>
                    <a:pt x="463816" y="91287"/>
                  </a:moveTo>
                  <a:lnTo>
                    <a:pt x="457085" y="84543"/>
                  </a:lnTo>
                  <a:lnTo>
                    <a:pt x="440423" y="84543"/>
                  </a:lnTo>
                  <a:lnTo>
                    <a:pt x="433692" y="91287"/>
                  </a:lnTo>
                  <a:lnTo>
                    <a:pt x="433692" y="107886"/>
                  </a:lnTo>
                  <a:lnTo>
                    <a:pt x="440423" y="114731"/>
                  </a:lnTo>
                  <a:lnTo>
                    <a:pt x="457085" y="114731"/>
                  </a:lnTo>
                  <a:lnTo>
                    <a:pt x="463816" y="107886"/>
                  </a:lnTo>
                  <a:lnTo>
                    <a:pt x="463816" y="99631"/>
                  </a:lnTo>
                  <a:lnTo>
                    <a:pt x="463816" y="91287"/>
                  </a:lnTo>
                  <a:close/>
                </a:path>
              </a:pathLst>
            </a:custGeom>
            <a:solidFill>
              <a:srgbClr val="1F487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9" name="object 39"/>
            <p:cNvSpPr/>
            <p:nvPr/>
          </p:nvSpPr>
          <p:spPr>
            <a:xfrm>
              <a:off x="3066018" y="2348128"/>
              <a:ext cx="1831339" cy="882015"/>
            </a:xfrm>
            <a:custGeom>
              <a:avLst/>
              <a:gdLst/>
              <a:ahLst/>
              <a:cxnLst/>
              <a:rect l="l" t="t" r="r" b="b"/>
              <a:pathLst>
                <a:path w="1831339" h="882014">
                  <a:moveTo>
                    <a:pt x="1831177" y="0"/>
                  </a:moveTo>
                  <a:lnTo>
                    <a:pt x="0" y="0"/>
                  </a:lnTo>
                  <a:lnTo>
                    <a:pt x="0" y="881573"/>
                  </a:lnTo>
                  <a:lnTo>
                    <a:pt x="1831177" y="881573"/>
                  </a:lnTo>
                  <a:lnTo>
                    <a:pt x="1831177"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0" name="object 40"/>
            <p:cNvSpPr/>
            <p:nvPr/>
          </p:nvSpPr>
          <p:spPr>
            <a:xfrm>
              <a:off x="3267809" y="2459834"/>
              <a:ext cx="30480" cy="658495"/>
            </a:xfrm>
            <a:custGeom>
              <a:avLst/>
              <a:gdLst/>
              <a:ahLst/>
              <a:cxnLst/>
              <a:rect l="l" t="t" r="r" b="b"/>
              <a:pathLst>
                <a:path w="30479" h="658494">
                  <a:moveTo>
                    <a:pt x="30118" y="658160"/>
                  </a:moveTo>
                  <a:lnTo>
                    <a:pt x="30118" y="0"/>
                  </a:lnTo>
                </a:path>
                <a:path w="30479" h="658494">
                  <a:moveTo>
                    <a:pt x="0" y="658160"/>
                  </a:moveTo>
                  <a:lnTo>
                    <a:pt x="30118" y="658160"/>
                  </a:lnTo>
                </a:path>
                <a:path w="30479" h="658494">
                  <a:moveTo>
                    <a:pt x="0" y="332099"/>
                  </a:moveTo>
                  <a:lnTo>
                    <a:pt x="30118" y="332099"/>
                  </a:lnTo>
                </a:path>
                <a:path w="30479" h="658494">
                  <a:moveTo>
                    <a:pt x="0" y="0"/>
                  </a:moveTo>
                  <a:lnTo>
                    <a:pt x="30118" y="0"/>
                  </a:lnTo>
                </a:path>
              </a:pathLst>
            </a:custGeom>
            <a:ln w="6036">
              <a:solidFill>
                <a:srgbClr val="85858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1" name="object 41"/>
            <p:cNvSpPr/>
            <p:nvPr/>
          </p:nvSpPr>
          <p:spPr>
            <a:xfrm>
              <a:off x="3297927" y="2791933"/>
              <a:ext cx="1488440" cy="0"/>
            </a:xfrm>
            <a:custGeom>
              <a:avLst/>
              <a:gdLst/>
              <a:ahLst/>
              <a:cxnLst/>
              <a:rect l="l" t="t" r="r" b="b"/>
              <a:pathLst>
                <a:path w="1488439">
                  <a:moveTo>
                    <a:pt x="0" y="0"/>
                  </a:moveTo>
                  <a:lnTo>
                    <a:pt x="1027025" y="0"/>
                  </a:lnTo>
                </a:path>
                <a:path w="1488439">
                  <a:moveTo>
                    <a:pt x="1370371" y="0"/>
                  </a:moveTo>
                  <a:lnTo>
                    <a:pt x="1487832" y="0"/>
                  </a:lnTo>
                </a:path>
              </a:pathLst>
            </a:custGeom>
            <a:ln w="6044">
              <a:solidFill>
                <a:srgbClr val="85858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2" name="object 42"/>
            <p:cNvSpPr/>
            <p:nvPr/>
          </p:nvSpPr>
          <p:spPr>
            <a:xfrm>
              <a:off x="4324947" y="2758731"/>
              <a:ext cx="343535" cy="60960"/>
            </a:xfrm>
            <a:custGeom>
              <a:avLst/>
              <a:gdLst/>
              <a:ahLst/>
              <a:cxnLst/>
              <a:rect l="l" t="t" r="r" b="b"/>
              <a:pathLst>
                <a:path w="343535" h="60960">
                  <a:moveTo>
                    <a:pt x="343344" y="0"/>
                  </a:moveTo>
                  <a:lnTo>
                    <a:pt x="343344" y="0"/>
                  </a:lnTo>
                  <a:lnTo>
                    <a:pt x="0" y="0"/>
                  </a:lnTo>
                  <a:lnTo>
                    <a:pt x="0" y="60375"/>
                  </a:lnTo>
                  <a:lnTo>
                    <a:pt x="343344" y="60375"/>
                  </a:lnTo>
                  <a:lnTo>
                    <a:pt x="343344" y="0"/>
                  </a:lnTo>
                  <a:close/>
                </a:path>
              </a:pathLst>
            </a:custGeom>
            <a:solidFill>
              <a:srgbClr val="2A01B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3" name="object 43"/>
            <p:cNvSpPr/>
            <p:nvPr/>
          </p:nvSpPr>
          <p:spPr>
            <a:xfrm>
              <a:off x="5421250" y="3253854"/>
              <a:ext cx="1831339" cy="882015"/>
            </a:xfrm>
            <a:custGeom>
              <a:avLst/>
              <a:gdLst/>
              <a:ahLst/>
              <a:cxnLst/>
              <a:rect l="l" t="t" r="r" b="b"/>
              <a:pathLst>
                <a:path w="1831340" h="882014">
                  <a:moveTo>
                    <a:pt x="1831177" y="0"/>
                  </a:moveTo>
                  <a:lnTo>
                    <a:pt x="0" y="0"/>
                  </a:lnTo>
                  <a:lnTo>
                    <a:pt x="0" y="881573"/>
                  </a:lnTo>
                  <a:lnTo>
                    <a:pt x="1831177" y="881573"/>
                  </a:lnTo>
                  <a:lnTo>
                    <a:pt x="1831177"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4" name="object 44"/>
            <p:cNvSpPr/>
            <p:nvPr/>
          </p:nvSpPr>
          <p:spPr>
            <a:xfrm>
              <a:off x="5629065" y="3365560"/>
              <a:ext cx="1511935" cy="658495"/>
            </a:xfrm>
            <a:custGeom>
              <a:avLst/>
              <a:gdLst/>
              <a:ahLst/>
              <a:cxnLst/>
              <a:rect l="l" t="t" r="r" b="b"/>
              <a:pathLst>
                <a:path w="1511934" h="658495">
                  <a:moveTo>
                    <a:pt x="30118" y="658160"/>
                  </a:moveTo>
                  <a:lnTo>
                    <a:pt x="1511926" y="658160"/>
                  </a:lnTo>
                </a:path>
                <a:path w="1511934" h="658495">
                  <a:moveTo>
                    <a:pt x="30118" y="495130"/>
                  </a:moveTo>
                  <a:lnTo>
                    <a:pt x="1511926" y="495130"/>
                  </a:lnTo>
                </a:path>
                <a:path w="1511934" h="658495">
                  <a:moveTo>
                    <a:pt x="30118" y="163030"/>
                  </a:moveTo>
                  <a:lnTo>
                    <a:pt x="1511926" y="163030"/>
                  </a:lnTo>
                </a:path>
                <a:path w="1511934" h="658495">
                  <a:moveTo>
                    <a:pt x="30118" y="0"/>
                  </a:moveTo>
                  <a:lnTo>
                    <a:pt x="1511926" y="0"/>
                  </a:lnTo>
                </a:path>
                <a:path w="1511934" h="658495">
                  <a:moveTo>
                    <a:pt x="30118" y="658160"/>
                  </a:moveTo>
                  <a:lnTo>
                    <a:pt x="30118" y="0"/>
                  </a:lnTo>
                </a:path>
                <a:path w="1511934" h="658495">
                  <a:moveTo>
                    <a:pt x="0" y="658160"/>
                  </a:moveTo>
                  <a:lnTo>
                    <a:pt x="30118" y="658160"/>
                  </a:lnTo>
                </a:path>
                <a:path w="1511934" h="658495">
                  <a:moveTo>
                    <a:pt x="0" y="495130"/>
                  </a:moveTo>
                  <a:lnTo>
                    <a:pt x="30118" y="495130"/>
                  </a:lnTo>
                </a:path>
                <a:path w="1511934" h="658495">
                  <a:moveTo>
                    <a:pt x="0" y="332099"/>
                  </a:moveTo>
                  <a:lnTo>
                    <a:pt x="30118" y="332099"/>
                  </a:lnTo>
                </a:path>
                <a:path w="1511934" h="658495">
                  <a:moveTo>
                    <a:pt x="0" y="163030"/>
                  </a:moveTo>
                  <a:lnTo>
                    <a:pt x="30118" y="163030"/>
                  </a:lnTo>
                </a:path>
                <a:path w="1511934" h="658495">
                  <a:moveTo>
                    <a:pt x="0" y="0"/>
                  </a:moveTo>
                  <a:lnTo>
                    <a:pt x="30118" y="0"/>
                  </a:lnTo>
                </a:path>
                <a:path w="1511934" h="658495">
                  <a:moveTo>
                    <a:pt x="30118" y="332099"/>
                  </a:moveTo>
                  <a:lnTo>
                    <a:pt x="1511926" y="332099"/>
                  </a:lnTo>
                </a:path>
              </a:pathLst>
            </a:custGeom>
            <a:ln w="6036">
              <a:solidFill>
                <a:srgbClr val="85858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5" name="object 45"/>
            <p:cNvSpPr/>
            <p:nvPr/>
          </p:nvSpPr>
          <p:spPr>
            <a:xfrm>
              <a:off x="5656161" y="3676535"/>
              <a:ext cx="1144905" cy="193675"/>
            </a:xfrm>
            <a:custGeom>
              <a:avLst/>
              <a:gdLst/>
              <a:ahLst/>
              <a:cxnLst/>
              <a:rect l="l" t="t" r="r" b="b"/>
              <a:pathLst>
                <a:path w="1144904" h="193675">
                  <a:moveTo>
                    <a:pt x="445757" y="6743"/>
                  </a:moveTo>
                  <a:lnTo>
                    <a:pt x="439026" y="0"/>
                  </a:lnTo>
                  <a:lnTo>
                    <a:pt x="426974" y="0"/>
                  </a:lnTo>
                  <a:lnTo>
                    <a:pt x="422363" y="0"/>
                  </a:lnTo>
                  <a:lnTo>
                    <a:pt x="410311" y="0"/>
                  </a:lnTo>
                  <a:lnTo>
                    <a:pt x="409600" y="711"/>
                  </a:lnTo>
                  <a:lnTo>
                    <a:pt x="408901" y="0"/>
                  </a:lnTo>
                  <a:lnTo>
                    <a:pt x="396862" y="0"/>
                  </a:lnTo>
                  <a:lnTo>
                    <a:pt x="392239" y="0"/>
                  </a:lnTo>
                  <a:lnTo>
                    <a:pt x="380199" y="0"/>
                  </a:lnTo>
                  <a:lnTo>
                    <a:pt x="379488" y="711"/>
                  </a:lnTo>
                  <a:lnTo>
                    <a:pt x="378790" y="0"/>
                  </a:lnTo>
                  <a:lnTo>
                    <a:pt x="366737" y="0"/>
                  </a:lnTo>
                  <a:lnTo>
                    <a:pt x="362127" y="0"/>
                  </a:lnTo>
                  <a:lnTo>
                    <a:pt x="350075" y="0"/>
                  </a:lnTo>
                  <a:lnTo>
                    <a:pt x="349364" y="711"/>
                  </a:lnTo>
                  <a:lnTo>
                    <a:pt x="348665" y="0"/>
                  </a:lnTo>
                  <a:lnTo>
                    <a:pt x="336626" y="0"/>
                  </a:lnTo>
                  <a:lnTo>
                    <a:pt x="332003" y="0"/>
                  </a:lnTo>
                  <a:lnTo>
                    <a:pt x="319963" y="0"/>
                  </a:lnTo>
                  <a:lnTo>
                    <a:pt x="319252" y="711"/>
                  </a:lnTo>
                  <a:lnTo>
                    <a:pt x="318554" y="0"/>
                  </a:lnTo>
                  <a:lnTo>
                    <a:pt x="306501" y="0"/>
                  </a:lnTo>
                  <a:lnTo>
                    <a:pt x="301891" y="0"/>
                  </a:lnTo>
                  <a:lnTo>
                    <a:pt x="294462" y="0"/>
                  </a:lnTo>
                  <a:lnTo>
                    <a:pt x="289839" y="0"/>
                  </a:lnTo>
                  <a:lnTo>
                    <a:pt x="277787" y="0"/>
                  </a:lnTo>
                  <a:lnTo>
                    <a:pt x="277088" y="711"/>
                  </a:lnTo>
                  <a:lnTo>
                    <a:pt x="276390" y="0"/>
                  </a:lnTo>
                  <a:lnTo>
                    <a:pt x="264337" y="0"/>
                  </a:lnTo>
                  <a:lnTo>
                    <a:pt x="259727" y="0"/>
                  </a:lnTo>
                  <a:lnTo>
                    <a:pt x="247675" y="0"/>
                  </a:lnTo>
                  <a:lnTo>
                    <a:pt x="246964" y="711"/>
                  </a:lnTo>
                  <a:lnTo>
                    <a:pt x="246265" y="0"/>
                  </a:lnTo>
                  <a:lnTo>
                    <a:pt x="234226" y="0"/>
                  </a:lnTo>
                  <a:lnTo>
                    <a:pt x="229603" y="0"/>
                  </a:lnTo>
                  <a:lnTo>
                    <a:pt x="217551" y="0"/>
                  </a:lnTo>
                  <a:lnTo>
                    <a:pt x="216852" y="711"/>
                  </a:lnTo>
                  <a:lnTo>
                    <a:pt x="216154" y="0"/>
                  </a:lnTo>
                  <a:lnTo>
                    <a:pt x="204101" y="0"/>
                  </a:lnTo>
                  <a:lnTo>
                    <a:pt x="199491" y="0"/>
                  </a:lnTo>
                  <a:lnTo>
                    <a:pt x="187439" y="0"/>
                  </a:lnTo>
                  <a:lnTo>
                    <a:pt x="186728" y="711"/>
                  </a:lnTo>
                  <a:lnTo>
                    <a:pt x="186029" y="0"/>
                  </a:lnTo>
                  <a:lnTo>
                    <a:pt x="173990" y="0"/>
                  </a:lnTo>
                  <a:lnTo>
                    <a:pt x="169367" y="0"/>
                  </a:lnTo>
                  <a:lnTo>
                    <a:pt x="157314" y="0"/>
                  </a:lnTo>
                  <a:lnTo>
                    <a:pt x="156616" y="711"/>
                  </a:lnTo>
                  <a:lnTo>
                    <a:pt x="155917" y="0"/>
                  </a:lnTo>
                  <a:lnTo>
                    <a:pt x="143865" y="0"/>
                  </a:lnTo>
                  <a:lnTo>
                    <a:pt x="139255" y="0"/>
                  </a:lnTo>
                  <a:lnTo>
                    <a:pt x="131826" y="0"/>
                  </a:lnTo>
                  <a:lnTo>
                    <a:pt x="127203" y="0"/>
                  </a:lnTo>
                  <a:lnTo>
                    <a:pt x="115150" y="0"/>
                  </a:lnTo>
                  <a:lnTo>
                    <a:pt x="114452" y="711"/>
                  </a:lnTo>
                  <a:lnTo>
                    <a:pt x="113753" y="0"/>
                  </a:lnTo>
                  <a:lnTo>
                    <a:pt x="101701" y="0"/>
                  </a:lnTo>
                  <a:lnTo>
                    <a:pt x="97078" y="0"/>
                  </a:lnTo>
                  <a:lnTo>
                    <a:pt x="85039" y="0"/>
                  </a:lnTo>
                  <a:lnTo>
                    <a:pt x="84328" y="711"/>
                  </a:lnTo>
                  <a:lnTo>
                    <a:pt x="83629" y="0"/>
                  </a:lnTo>
                  <a:lnTo>
                    <a:pt x="71589" y="0"/>
                  </a:lnTo>
                  <a:lnTo>
                    <a:pt x="66967" y="0"/>
                  </a:lnTo>
                  <a:lnTo>
                    <a:pt x="54914" y="0"/>
                  </a:lnTo>
                  <a:lnTo>
                    <a:pt x="54216" y="711"/>
                  </a:lnTo>
                  <a:lnTo>
                    <a:pt x="53517" y="0"/>
                  </a:lnTo>
                  <a:lnTo>
                    <a:pt x="41465" y="0"/>
                  </a:lnTo>
                  <a:lnTo>
                    <a:pt x="36842" y="0"/>
                  </a:lnTo>
                  <a:lnTo>
                    <a:pt x="24803" y="0"/>
                  </a:lnTo>
                  <a:lnTo>
                    <a:pt x="24091" y="711"/>
                  </a:lnTo>
                  <a:lnTo>
                    <a:pt x="23393" y="0"/>
                  </a:lnTo>
                  <a:lnTo>
                    <a:pt x="6731" y="0"/>
                  </a:lnTo>
                  <a:lnTo>
                    <a:pt x="0" y="6743"/>
                  </a:lnTo>
                  <a:lnTo>
                    <a:pt x="0" y="23342"/>
                  </a:lnTo>
                  <a:lnTo>
                    <a:pt x="6731" y="30187"/>
                  </a:lnTo>
                  <a:lnTo>
                    <a:pt x="23393" y="30187"/>
                  </a:lnTo>
                  <a:lnTo>
                    <a:pt x="24091" y="29476"/>
                  </a:lnTo>
                  <a:lnTo>
                    <a:pt x="24803" y="30187"/>
                  </a:lnTo>
                  <a:lnTo>
                    <a:pt x="36842" y="30187"/>
                  </a:lnTo>
                  <a:lnTo>
                    <a:pt x="41465" y="30187"/>
                  </a:lnTo>
                  <a:lnTo>
                    <a:pt x="53517" y="30187"/>
                  </a:lnTo>
                  <a:lnTo>
                    <a:pt x="54216" y="29476"/>
                  </a:lnTo>
                  <a:lnTo>
                    <a:pt x="54914" y="30187"/>
                  </a:lnTo>
                  <a:lnTo>
                    <a:pt x="66967" y="30187"/>
                  </a:lnTo>
                  <a:lnTo>
                    <a:pt x="71589" y="30187"/>
                  </a:lnTo>
                  <a:lnTo>
                    <a:pt x="83629" y="30187"/>
                  </a:lnTo>
                  <a:lnTo>
                    <a:pt x="84328" y="29476"/>
                  </a:lnTo>
                  <a:lnTo>
                    <a:pt x="85039" y="30187"/>
                  </a:lnTo>
                  <a:lnTo>
                    <a:pt x="97078" y="30187"/>
                  </a:lnTo>
                  <a:lnTo>
                    <a:pt x="101701" y="30187"/>
                  </a:lnTo>
                  <a:lnTo>
                    <a:pt x="113753" y="30187"/>
                  </a:lnTo>
                  <a:lnTo>
                    <a:pt x="114452" y="29476"/>
                  </a:lnTo>
                  <a:lnTo>
                    <a:pt x="115150" y="30187"/>
                  </a:lnTo>
                  <a:lnTo>
                    <a:pt x="127203" y="30187"/>
                  </a:lnTo>
                  <a:lnTo>
                    <a:pt x="131826" y="30187"/>
                  </a:lnTo>
                  <a:lnTo>
                    <a:pt x="139255" y="30187"/>
                  </a:lnTo>
                  <a:lnTo>
                    <a:pt x="143865" y="30187"/>
                  </a:lnTo>
                  <a:lnTo>
                    <a:pt x="155917" y="30187"/>
                  </a:lnTo>
                  <a:lnTo>
                    <a:pt x="156616" y="29476"/>
                  </a:lnTo>
                  <a:lnTo>
                    <a:pt x="157314" y="30187"/>
                  </a:lnTo>
                  <a:lnTo>
                    <a:pt x="169367" y="30187"/>
                  </a:lnTo>
                  <a:lnTo>
                    <a:pt x="173990" y="30187"/>
                  </a:lnTo>
                  <a:lnTo>
                    <a:pt x="186029" y="30187"/>
                  </a:lnTo>
                  <a:lnTo>
                    <a:pt x="186728" y="29476"/>
                  </a:lnTo>
                  <a:lnTo>
                    <a:pt x="187439" y="30187"/>
                  </a:lnTo>
                  <a:lnTo>
                    <a:pt x="199491" y="30187"/>
                  </a:lnTo>
                  <a:lnTo>
                    <a:pt x="204101" y="30187"/>
                  </a:lnTo>
                  <a:lnTo>
                    <a:pt x="216154" y="30187"/>
                  </a:lnTo>
                  <a:lnTo>
                    <a:pt x="216852" y="29476"/>
                  </a:lnTo>
                  <a:lnTo>
                    <a:pt x="217551" y="30187"/>
                  </a:lnTo>
                  <a:lnTo>
                    <a:pt x="229603" y="30187"/>
                  </a:lnTo>
                  <a:lnTo>
                    <a:pt x="234226" y="30187"/>
                  </a:lnTo>
                  <a:lnTo>
                    <a:pt x="246265" y="30187"/>
                  </a:lnTo>
                  <a:lnTo>
                    <a:pt x="246964" y="29476"/>
                  </a:lnTo>
                  <a:lnTo>
                    <a:pt x="247675" y="30187"/>
                  </a:lnTo>
                  <a:lnTo>
                    <a:pt x="259727" y="30187"/>
                  </a:lnTo>
                  <a:lnTo>
                    <a:pt x="264337" y="30187"/>
                  </a:lnTo>
                  <a:lnTo>
                    <a:pt x="276390" y="30187"/>
                  </a:lnTo>
                  <a:lnTo>
                    <a:pt x="277088" y="29476"/>
                  </a:lnTo>
                  <a:lnTo>
                    <a:pt x="277787" y="30187"/>
                  </a:lnTo>
                  <a:lnTo>
                    <a:pt x="289839" y="30187"/>
                  </a:lnTo>
                  <a:lnTo>
                    <a:pt x="294462" y="30187"/>
                  </a:lnTo>
                  <a:lnTo>
                    <a:pt x="301891" y="30187"/>
                  </a:lnTo>
                  <a:lnTo>
                    <a:pt x="306501" y="30187"/>
                  </a:lnTo>
                  <a:lnTo>
                    <a:pt x="318554" y="30187"/>
                  </a:lnTo>
                  <a:lnTo>
                    <a:pt x="319252" y="29476"/>
                  </a:lnTo>
                  <a:lnTo>
                    <a:pt x="319963" y="30187"/>
                  </a:lnTo>
                  <a:lnTo>
                    <a:pt x="332003" y="30187"/>
                  </a:lnTo>
                  <a:lnTo>
                    <a:pt x="336626" y="30187"/>
                  </a:lnTo>
                  <a:lnTo>
                    <a:pt x="348665" y="30187"/>
                  </a:lnTo>
                  <a:lnTo>
                    <a:pt x="349364" y="29476"/>
                  </a:lnTo>
                  <a:lnTo>
                    <a:pt x="350075" y="30187"/>
                  </a:lnTo>
                  <a:lnTo>
                    <a:pt x="362127" y="30187"/>
                  </a:lnTo>
                  <a:lnTo>
                    <a:pt x="366737" y="30187"/>
                  </a:lnTo>
                  <a:lnTo>
                    <a:pt x="378790" y="30187"/>
                  </a:lnTo>
                  <a:lnTo>
                    <a:pt x="379488" y="29476"/>
                  </a:lnTo>
                  <a:lnTo>
                    <a:pt x="380199" y="30187"/>
                  </a:lnTo>
                  <a:lnTo>
                    <a:pt x="392239" y="30187"/>
                  </a:lnTo>
                  <a:lnTo>
                    <a:pt x="396862" y="30187"/>
                  </a:lnTo>
                  <a:lnTo>
                    <a:pt x="408901" y="30187"/>
                  </a:lnTo>
                  <a:lnTo>
                    <a:pt x="409600" y="29476"/>
                  </a:lnTo>
                  <a:lnTo>
                    <a:pt x="410311" y="30187"/>
                  </a:lnTo>
                  <a:lnTo>
                    <a:pt x="422363" y="30187"/>
                  </a:lnTo>
                  <a:lnTo>
                    <a:pt x="426974" y="30187"/>
                  </a:lnTo>
                  <a:lnTo>
                    <a:pt x="439026" y="30187"/>
                  </a:lnTo>
                  <a:lnTo>
                    <a:pt x="445757" y="23342"/>
                  </a:lnTo>
                  <a:lnTo>
                    <a:pt x="445757" y="15087"/>
                  </a:lnTo>
                  <a:lnTo>
                    <a:pt x="445757" y="6743"/>
                  </a:lnTo>
                  <a:close/>
                </a:path>
                <a:path w="1144904" h="193675">
                  <a:moveTo>
                    <a:pt x="1054138" y="6743"/>
                  </a:moveTo>
                  <a:lnTo>
                    <a:pt x="1047407" y="0"/>
                  </a:lnTo>
                  <a:lnTo>
                    <a:pt x="1030744" y="0"/>
                  </a:lnTo>
                  <a:lnTo>
                    <a:pt x="1030033" y="711"/>
                  </a:lnTo>
                  <a:lnTo>
                    <a:pt x="1029335" y="0"/>
                  </a:lnTo>
                  <a:lnTo>
                    <a:pt x="988580" y="0"/>
                  </a:lnTo>
                  <a:lnTo>
                    <a:pt x="987869" y="711"/>
                  </a:lnTo>
                  <a:lnTo>
                    <a:pt x="987171" y="0"/>
                  </a:lnTo>
                  <a:lnTo>
                    <a:pt x="975131" y="0"/>
                  </a:lnTo>
                  <a:lnTo>
                    <a:pt x="970508" y="0"/>
                  </a:lnTo>
                  <a:lnTo>
                    <a:pt x="958456" y="0"/>
                  </a:lnTo>
                  <a:lnTo>
                    <a:pt x="957757" y="711"/>
                  </a:lnTo>
                  <a:lnTo>
                    <a:pt x="957059" y="0"/>
                  </a:lnTo>
                  <a:lnTo>
                    <a:pt x="945007" y="0"/>
                  </a:lnTo>
                  <a:lnTo>
                    <a:pt x="940384" y="0"/>
                  </a:lnTo>
                  <a:lnTo>
                    <a:pt x="928344" y="0"/>
                  </a:lnTo>
                  <a:lnTo>
                    <a:pt x="927633" y="711"/>
                  </a:lnTo>
                  <a:lnTo>
                    <a:pt x="926934" y="0"/>
                  </a:lnTo>
                  <a:lnTo>
                    <a:pt x="914895" y="0"/>
                  </a:lnTo>
                  <a:lnTo>
                    <a:pt x="910272" y="0"/>
                  </a:lnTo>
                  <a:lnTo>
                    <a:pt x="898220" y="0"/>
                  </a:lnTo>
                  <a:lnTo>
                    <a:pt x="897521" y="711"/>
                  </a:lnTo>
                  <a:lnTo>
                    <a:pt x="896823" y="0"/>
                  </a:lnTo>
                  <a:lnTo>
                    <a:pt x="884770" y="0"/>
                  </a:lnTo>
                  <a:lnTo>
                    <a:pt x="880148" y="0"/>
                  </a:lnTo>
                  <a:lnTo>
                    <a:pt x="868108" y="0"/>
                  </a:lnTo>
                  <a:lnTo>
                    <a:pt x="867397" y="711"/>
                  </a:lnTo>
                  <a:lnTo>
                    <a:pt x="866698" y="0"/>
                  </a:lnTo>
                  <a:lnTo>
                    <a:pt x="854659" y="0"/>
                  </a:lnTo>
                  <a:lnTo>
                    <a:pt x="850036" y="0"/>
                  </a:lnTo>
                  <a:lnTo>
                    <a:pt x="842606" y="0"/>
                  </a:lnTo>
                  <a:lnTo>
                    <a:pt x="837984" y="0"/>
                  </a:lnTo>
                  <a:lnTo>
                    <a:pt x="825944" y="0"/>
                  </a:lnTo>
                  <a:lnTo>
                    <a:pt x="825233" y="711"/>
                  </a:lnTo>
                  <a:lnTo>
                    <a:pt x="824534" y="0"/>
                  </a:lnTo>
                  <a:lnTo>
                    <a:pt x="812495" y="0"/>
                  </a:lnTo>
                  <a:lnTo>
                    <a:pt x="807872" y="0"/>
                  </a:lnTo>
                  <a:lnTo>
                    <a:pt x="795820" y="0"/>
                  </a:lnTo>
                  <a:lnTo>
                    <a:pt x="795121" y="711"/>
                  </a:lnTo>
                  <a:lnTo>
                    <a:pt x="794423" y="0"/>
                  </a:lnTo>
                  <a:lnTo>
                    <a:pt x="782370" y="0"/>
                  </a:lnTo>
                  <a:lnTo>
                    <a:pt x="777748" y="0"/>
                  </a:lnTo>
                  <a:lnTo>
                    <a:pt x="765708" y="0"/>
                  </a:lnTo>
                  <a:lnTo>
                    <a:pt x="764997" y="711"/>
                  </a:lnTo>
                  <a:lnTo>
                    <a:pt x="764298" y="0"/>
                  </a:lnTo>
                  <a:lnTo>
                    <a:pt x="752259" y="0"/>
                  </a:lnTo>
                  <a:lnTo>
                    <a:pt x="747636" y="0"/>
                  </a:lnTo>
                  <a:lnTo>
                    <a:pt x="735584" y="0"/>
                  </a:lnTo>
                  <a:lnTo>
                    <a:pt x="734885" y="711"/>
                  </a:lnTo>
                  <a:lnTo>
                    <a:pt x="734187" y="0"/>
                  </a:lnTo>
                  <a:lnTo>
                    <a:pt x="722134" y="0"/>
                  </a:lnTo>
                  <a:lnTo>
                    <a:pt x="717511" y="0"/>
                  </a:lnTo>
                  <a:lnTo>
                    <a:pt x="705472" y="0"/>
                  </a:lnTo>
                  <a:lnTo>
                    <a:pt x="704761" y="711"/>
                  </a:lnTo>
                  <a:lnTo>
                    <a:pt x="704062" y="0"/>
                  </a:lnTo>
                  <a:lnTo>
                    <a:pt x="692023" y="0"/>
                  </a:lnTo>
                  <a:lnTo>
                    <a:pt x="687400" y="0"/>
                  </a:lnTo>
                  <a:lnTo>
                    <a:pt x="675347" y="0"/>
                  </a:lnTo>
                  <a:lnTo>
                    <a:pt x="674649" y="711"/>
                  </a:lnTo>
                  <a:lnTo>
                    <a:pt x="673950" y="0"/>
                  </a:lnTo>
                  <a:lnTo>
                    <a:pt x="633183" y="0"/>
                  </a:lnTo>
                  <a:lnTo>
                    <a:pt x="632485" y="711"/>
                  </a:lnTo>
                  <a:lnTo>
                    <a:pt x="631786" y="0"/>
                  </a:lnTo>
                  <a:lnTo>
                    <a:pt x="619734" y="0"/>
                  </a:lnTo>
                  <a:lnTo>
                    <a:pt x="615111" y="0"/>
                  </a:lnTo>
                  <a:lnTo>
                    <a:pt x="603072" y="0"/>
                  </a:lnTo>
                  <a:lnTo>
                    <a:pt x="602361" y="711"/>
                  </a:lnTo>
                  <a:lnTo>
                    <a:pt x="601662" y="0"/>
                  </a:lnTo>
                  <a:lnTo>
                    <a:pt x="589610" y="0"/>
                  </a:lnTo>
                  <a:lnTo>
                    <a:pt x="585000" y="0"/>
                  </a:lnTo>
                  <a:lnTo>
                    <a:pt x="572947" y="0"/>
                  </a:lnTo>
                  <a:lnTo>
                    <a:pt x="572249" y="711"/>
                  </a:lnTo>
                  <a:lnTo>
                    <a:pt x="571550" y="0"/>
                  </a:lnTo>
                  <a:lnTo>
                    <a:pt x="559498" y="0"/>
                  </a:lnTo>
                  <a:lnTo>
                    <a:pt x="554875" y="0"/>
                  </a:lnTo>
                  <a:lnTo>
                    <a:pt x="542836" y="0"/>
                  </a:lnTo>
                  <a:lnTo>
                    <a:pt x="542124" y="711"/>
                  </a:lnTo>
                  <a:lnTo>
                    <a:pt x="541426" y="0"/>
                  </a:lnTo>
                  <a:lnTo>
                    <a:pt x="529374" y="0"/>
                  </a:lnTo>
                  <a:lnTo>
                    <a:pt x="524764" y="0"/>
                  </a:lnTo>
                  <a:lnTo>
                    <a:pt x="512711" y="0"/>
                  </a:lnTo>
                  <a:lnTo>
                    <a:pt x="505993" y="6743"/>
                  </a:lnTo>
                  <a:lnTo>
                    <a:pt x="505993" y="23342"/>
                  </a:lnTo>
                  <a:lnTo>
                    <a:pt x="512711" y="30187"/>
                  </a:lnTo>
                  <a:lnTo>
                    <a:pt x="524764" y="30187"/>
                  </a:lnTo>
                  <a:lnTo>
                    <a:pt x="529374" y="30187"/>
                  </a:lnTo>
                  <a:lnTo>
                    <a:pt x="541426" y="30187"/>
                  </a:lnTo>
                  <a:lnTo>
                    <a:pt x="542124" y="29476"/>
                  </a:lnTo>
                  <a:lnTo>
                    <a:pt x="542836" y="30187"/>
                  </a:lnTo>
                  <a:lnTo>
                    <a:pt x="554875" y="30187"/>
                  </a:lnTo>
                  <a:lnTo>
                    <a:pt x="559498" y="30187"/>
                  </a:lnTo>
                  <a:lnTo>
                    <a:pt x="571550" y="30187"/>
                  </a:lnTo>
                  <a:lnTo>
                    <a:pt x="572249" y="29476"/>
                  </a:lnTo>
                  <a:lnTo>
                    <a:pt x="572947" y="30187"/>
                  </a:lnTo>
                  <a:lnTo>
                    <a:pt x="585000" y="30187"/>
                  </a:lnTo>
                  <a:lnTo>
                    <a:pt x="589610" y="30187"/>
                  </a:lnTo>
                  <a:lnTo>
                    <a:pt x="601662" y="30187"/>
                  </a:lnTo>
                  <a:lnTo>
                    <a:pt x="602361" y="29476"/>
                  </a:lnTo>
                  <a:lnTo>
                    <a:pt x="603072" y="30187"/>
                  </a:lnTo>
                  <a:lnTo>
                    <a:pt x="615111" y="30187"/>
                  </a:lnTo>
                  <a:lnTo>
                    <a:pt x="619734" y="30187"/>
                  </a:lnTo>
                  <a:lnTo>
                    <a:pt x="631786" y="30187"/>
                  </a:lnTo>
                  <a:lnTo>
                    <a:pt x="632485" y="29476"/>
                  </a:lnTo>
                  <a:lnTo>
                    <a:pt x="633183" y="30187"/>
                  </a:lnTo>
                  <a:lnTo>
                    <a:pt x="645236" y="30187"/>
                  </a:lnTo>
                  <a:lnTo>
                    <a:pt x="649846" y="30187"/>
                  </a:lnTo>
                  <a:lnTo>
                    <a:pt x="657275" y="30187"/>
                  </a:lnTo>
                  <a:lnTo>
                    <a:pt x="661898" y="30187"/>
                  </a:lnTo>
                  <a:lnTo>
                    <a:pt x="673950" y="30187"/>
                  </a:lnTo>
                  <a:lnTo>
                    <a:pt x="674649" y="29476"/>
                  </a:lnTo>
                  <a:lnTo>
                    <a:pt x="675347" y="30187"/>
                  </a:lnTo>
                  <a:lnTo>
                    <a:pt x="687400" y="30187"/>
                  </a:lnTo>
                  <a:lnTo>
                    <a:pt x="692023" y="30187"/>
                  </a:lnTo>
                  <a:lnTo>
                    <a:pt x="704062" y="30187"/>
                  </a:lnTo>
                  <a:lnTo>
                    <a:pt x="704761" y="29476"/>
                  </a:lnTo>
                  <a:lnTo>
                    <a:pt x="705472" y="30187"/>
                  </a:lnTo>
                  <a:lnTo>
                    <a:pt x="717511" y="30187"/>
                  </a:lnTo>
                  <a:lnTo>
                    <a:pt x="722134" y="30187"/>
                  </a:lnTo>
                  <a:lnTo>
                    <a:pt x="734187" y="30187"/>
                  </a:lnTo>
                  <a:lnTo>
                    <a:pt x="734885" y="29476"/>
                  </a:lnTo>
                  <a:lnTo>
                    <a:pt x="735584" y="30187"/>
                  </a:lnTo>
                  <a:lnTo>
                    <a:pt x="747636" y="30187"/>
                  </a:lnTo>
                  <a:lnTo>
                    <a:pt x="752259" y="30187"/>
                  </a:lnTo>
                  <a:lnTo>
                    <a:pt x="764298" y="30187"/>
                  </a:lnTo>
                  <a:lnTo>
                    <a:pt x="764997" y="29476"/>
                  </a:lnTo>
                  <a:lnTo>
                    <a:pt x="765708" y="30187"/>
                  </a:lnTo>
                  <a:lnTo>
                    <a:pt x="777748" y="30187"/>
                  </a:lnTo>
                  <a:lnTo>
                    <a:pt x="782370" y="30187"/>
                  </a:lnTo>
                  <a:lnTo>
                    <a:pt x="794423" y="30187"/>
                  </a:lnTo>
                  <a:lnTo>
                    <a:pt x="795121" y="29476"/>
                  </a:lnTo>
                  <a:lnTo>
                    <a:pt x="795820" y="30187"/>
                  </a:lnTo>
                  <a:lnTo>
                    <a:pt x="807872" y="30187"/>
                  </a:lnTo>
                  <a:lnTo>
                    <a:pt x="812495" y="30187"/>
                  </a:lnTo>
                  <a:lnTo>
                    <a:pt x="824534" y="30187"/>
                  </a:lnTo>
                  <a:lnTo>
                    <a:pt x="825233" y="29476"/>
                  </a:lnTo>
                  <a:lnTo>
                    <a:pt x="825944" y="30187"/>
                  </a:lnTo>
                  <a:lnTo>
                    <a:pt x="866698" y="30187"/>
                  </a:lnTo>
                  <a:lnTo>
                    <a:pt x="867397" y="29476"/>
                  </a:lnTo>
                  <a:lnTo>
                    <a:pt x="868108" y="30187"/>
                  </a:lnTo>
                  <a:lnTo>
                    <a:pt x="880148" y="30187"/>
                  </a:lnTo>
                  <a:lnTo>
                    <a:pt x="884770" y="30187"/>
                  </a:lnTo>
                  <a:lnTo>
                    <a:pt x="896823" y="30187"/>
                  </a:lnTo>
                  <a:lnTo>
                    <a:pt x="897521" y="29476"/>
                  </a:lnTo>
                  <a:lnTo>
                    <a:pt x="898220" y="30187"/>
                  </a:lnTo>
                  <a:lnTo>
                    <a:pt x="910272" y="30187"/>
                  </a:lnTo>
                  <a:lnTo>
                    <a:pt x="914895" y="30187"/>
                  </a:lnTo>
                  <a:lnTo>
                    <a:pt x="926934" y="30187"/>
                  </a:lnTo>
                  <a:lnTo>
                    <a:pt x="927633" y="29476"/>
                  </a:lnTo>
                  <a:lnTo>
                    <a:pt x="928344" y="30187"/>
                  </a:lnTo>
                  <a:lnTo>
                    <a:pt x="940384" y="30187"/>
                  </a:lnTo>
                  <a:lnTo>
                    <a:pt x="945007" y="30187"/>
                  </a:lnTo>
                  <a:lnTo>
                    <a:pt x="957059" y="30187"/>
                  </a:lnTo>
                  <a:lnTo>
                    <a:pt x="957757" y="29476"/>
                  </a:lnTo>
                  <a:lnTo>
                    <a:pt x="958456" y="30187"/>
                  </a:lnTo>
                  <a:lnTo>
                    <a:pt x="970508" y="30187"/>
                  </a:lnTo>
                  <a:lnTo>
                    <a:pt x="975131" y="30187"/>
                  </a:lnTo>
                  <a:lnTo>
                    <a:pt x="987171" y="30187"/>
                  </a:lnTo>
                  <a:lnTo>
                    <a:pt x="987869" y="29476"/>
                  </a:lnTo>
                  <a:lnTo>
                    <a:pt x="988580" y="30187"/>
                  </a:lnTo>
                  <a:lnTo>
                    <a:pt x="1000620" y="30187"/>
                  </a:lnTo>
                  <a:lnTo>
                    <a:pt x="1005243" y="30187"/>
                  </a:lnTo>
                  <a:lnTo>
                    <a:pt x="1012672" y="30187"/>
                  </a:lnTo>
                  <a:lnTo>
                    <a:pt x="1017295" y="30187"/>
                  </a:lnTo>
                  <a:lnTo>
                    <a:pt x="1029335" y="30187"/>
                  </a:lnTo>
                  <a:lnTo>
                    <a:pt x="1030033" y="29476"/>
                  </a:lnTo>
                  <a:lnTo>
                    <a:pt x="1030744" y="30187"/>
                  </a:lnTo>
                  <a:lnTo>
                    <a:pt x="1047407" y="30187"/>
                  </a:lnTo>
                  <a:lnTo>
                    <a:pt x="1054138" y="23342"/>
                  </a:lnTo>
                  <a:lnTo>
                    <a:pt x="1054138" y="15087"/>
                  </a:lnTo>
                  <a:lnTo>
                    <a:pt x="1054138" y="6743"/>
                  </a:lnTo>
                  <a:close/>
                </a:path>
                <a:path w="1144904" h="193675">
                  <a:moveTo>
                    <a:pt x="1144485" y="169773"/>
                  </a:moveTo>
                  <a:lnTo>
                    <a:pt x="1137767" y="163029"/>
                  </a:lnTo>
                  <a:lnTo>
                    <a:pt x="1121092" y="163029"/>
                  </a:lnTo>
                  <a:lnTo>
                    <a:pt x="1120394" y="163741"/>
                  </a:lnTo>
                  <a:lnTo>
                    <a:pt x="1119695" y="163029"/>
                  </a:lnTo>
                  <a:lnTo>
                    <a:pt x="1107643" y="163029"/>
                  </a:lnTo>
                  <a:lnTo>
                    <a:pt x="1103033" y="163029"/>
                  </a:lnTo>
                  <a:lnTo>
                    <a:pt x="1090980" y="163029"/>
                  </a:lnTo>
                  <a:lnTo>
                    <a:pt x="1090269" y="163741"/>
                  </a:lnTo>
                  <a:lnTo>
                    <a:pt x="1089571" y="163029"/>
                  </a:lnTo>
                  <a:lnTo>
                    <a:pt x="1077531" y="163029"/>
                  </a:lnTo>
                  <a:lnTo>
                    <a:pt x="1072908" y="163029"/>
                  </a:lnTo>
                  <a:lnTo>
                    <a:pt x="1060856" y="163029"/>
                  </a:lnTo>
                  <a:lnTo>
                    <a:pt x="1060157" y="163741"/>
                  </a:lnTo>
                  <a:lnTo>
                    <a:pt x="1059459" y="163029"/>
                  </a:lnTo>
                  <a:lnTo>
                    <a:pt x="1042797" y="163029"/>
                  </a:lnTo>
                  <a:lnTo>
                    <a:pt x="1036066" y="169773"/>
                  </a:lnTo>
                  <a:lnTo>
                    <a:pt x="1036066" y="186372"/>
                  </a:lnTo>
                  <a:lnTo>
                    <a:pt x="1042797" y="193217"/>
                  </a:lnTo>
                  <a:lnTo>
                    <a:pt x="1059459" y="193217"/>
                  </a:lnTo>
                  <a:lnTo>
                    <a:pt x="1060157" y="192506"/>
                  </a:lnTo>
                  <a:lnTo>
                    <a:pt x="1060856" y="193217"/>
                  </a:lnTo>
                  <a:lnTo>
                    <a:pt x="1072908" y="193217"/>
                  </a:lnTo>
                  <a:lnTo>
                    <a:pt x="1077531" y="193217"/>
                  </a:lnTo>
                  <a:lnTo>
                    <a:pt x="1089571" y="193217"/>
                  </a:lnTo>
                  <a:lnTo>
                    <a:pt x="1090269" y="192506"/>
                  </a:lnTo>
                  <a:lnTo>
                    <a:pt x="1090980" y="193217"/>
                  </a:lnTo>
                  <a:lnTo>
                    <a:pt x="1103033" y="193217"/>
                  </a:lnTo>
                  <a:lnTo>
                    <a:pt x="1107643" y="193217"/>
                  </a:lnTo>
                  <a:lnTo>
                    <a:pt x="1119695" y="193217"/>
                  </a:lnTo>
                  <a:lnTo>
                    <a:pt x="1120394" y="192506"/>
                  </a:lnTo>
                  <a:lnTo>
                    <a:pt x="1121092" y="193217"/>
                  </a:lnTo>
                  <a:lnTo>
                    <a:pt x="1137767" y="193217"/>
                  </a:lnTo>
                  <a:lnTo>
                    <a:pt x="1144485" y="186372"/>
                  </a:lnTo>
                  <a:lnTo>
                    <a:pt x="1144485" y="178117"/>
                  </a:lnTo>
                  <a:lnTo>
                    <a:pt x="1144485" y="169773"/>
                  </a:lnTo>
                  <a:close/>
                </a:path>
              </a:pathLst>
            </a:custGeom>
            <a:solidFill>
              <a:srgbClr val="94373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6" name="object 46"/>
            <p:cNvSpPr/>
            <p:nvPr/>
          </p:nvSpPr>
          <p:spPr>
            <a:xfrm>
              <a:off x="6770535" y="3676535"/>
              <a:ext cx="386080" cy="193675"/>
            </a:xfrm>
            <a:custGeom>
              <a:avLst/>
              <a:gdLst/>
              <a:ahLst/>
              <a:cxnLst/>
              <a:rect l="l" t="t" r="r" b="b"/>
              <a:pathLst>
                <a:path w="386079" h="193675">
                  <a:moveTo>
                    <a:pt x="234924" y="169773"/>
                  </a:moveTo>
                  <a:lnTo>
                    <a:pt x="228193" y="163029"/>
                  </a:lnTo>
                  <a:lnTo>
                    <a:pt x="216141" y="163029"/>
                  </a:lnTo>
                  <a:lnTo>
                    <a:pt x="211531" y="163029"/>
                  </a:lnTo>
                  <a:lnTo>
                    <a:pt x="199478" y="163029"/>
                  </a:lnTo>
                  <a:lnTo>
                    <a:pt x="198767" y="163741"/>
                  </a:lnTo>
                  <a:lnTo>
                    <a:pt x="198069" y="163029"/>
                  </a:lnTo>
                  <a:lnTo>
                    <a:pt x="186029" y="163029"/>
                  </a:lnTo>
                  <a:lnTo>
                    <a:pt x="181406" y="163029"/>
                  </a:lnTo>
                  <a:lnTo>
                    <a:pt x="169367" y="163029"/>
                  </a:lnTo>
                  <a:lnTo>
                    <a:pt x="168656" y="163741"/>
                  </a:lnTo>
                  <a:lnTo>
                    <a:pt x="167957" y="163029"/>
                  </a:lnTo>
                  <a:lnTo>
                    <a:pt x="155905" y="163029"/>
                  </a:lnTo>
                  <a:lnTo>
                    <a:pt x="151295" y="163029"/>
                  </a:lnTo>
                  <a:lnTo>
                    <a:pt x="139242" y="163029"/>
                  </a:lnTo>
                  <a:lnTo>
                    <a:pt x="138531" y="163741"/>
                  </a:lnTo>
                  <a:lnTo>
                    <a:pt x="137833" y="163029"/>
                  </a:lnTo>
                  <a:lnTo>
                    <a:pt x="125793" y="163029"/>
                  </a:lnTo>
                  <a:lnTo>
                    <a:pt x="121170" y="163029"/>
                  </a:lnTo>
                  <a:lnTo>
                    <a:pt x="109131" y="163029"/>
                  </a:lnTo>
                  <a:lnTo>
                    <a:pt x="108419" y="163741"/>
                  </a:lnTo>
                  <a:lnTo>
                    <a:pt x="107721" y="163029"/>
                  </a:lnTo>
                  <a:lnTo>
                    <a:pt x="95669" y="163029"/>
                  </a:lnTo>
                  <a:lnTo>
                    <a:pt x="91059" y="163029"/>
                  </a:lnTo>
                  <a:lnTo>
                    <a:pt x="83629" y="163029"/>
                  </a:lnTo>
                  <a:lnTo>
                    <a:pt x="79006" y="163029"/>
                  </a:lnTo>
                  <a:lnTo>
                    <a:pt x="66967" y="163029"/>
                  </a:lnTo>
                  <a:lnTo>
                    <a:pt x="66255" y="163741"/>
                  </a:lnTo>
                  <a:lnTo>
                    <a:pt x="65557" y="163029"/>
                  </a:lnTo>
                  <a:lnTo>
                    <a:pt x="53505" y="163029"/>
                  </a:lnTo>
                  <a:lnTo>
                    <a:pt x="48895" y="163029"/>
                  </a:lnTo>
                  <a:lnTo>
                    <a:pt x="36842" y="163029"/>
                  </a:lnTo>
                  <a:lnTo>
                    <a:pt x="36131" y="163741"/>
                  </a:lnTo>
                  <a:lnTo>
                    <a:pt x="35433" y="163029"/>
                  </a:lnTo>
                  <a:lnTo>
                    <a:pt x="23393" y="163029"/>
                  </a:lnTo>
                  <a:lnTo>
                    <a:pt x="18770" y="163029"/>
                  </a:lnTo>
                  <a:lnTo>
                    <a:pt x="6718" y="163029"/>
                  </a:lnTo>
                  <a:lnTo>
                    <a:pt x="0" y="169773"/>
                  </a:lnTo>
                  <a:lnTo>
                    <a:pt x="0" y="186372"/>
                  </a:lnTo>
                  <a:lnTo>
                    <a:pt x="6718" y="193217"/>
                  </a:lnTo>
                  <a:lnTo>
                    <a:pt x="18770" y="193217"/>
                  </a:lnTo>
                  <a:lnTo>
                    <a:pt x="23393" y="193217"/>
                  </a:lnTo>
                  <a:lnTo>
                    <a:pt x="35433" y="193217"/>
                  </a:lnTo>
                  <a:lnTo>
                    <a:pt x="36131" y="192506"/>
                  </a:lnTo>
                  <a:lnTo>
                    <a:pt x="36842" y="193217"/>
                  </a:lnTo>
                  <a:lnTo>
                    <a:pt x="48895" y="193217"/>
                  </a:lnTo>
                  <a:lnTo>
                    <a:pt x="53505" y="193217"/>
                  </a:lnTo>
                  <a:lnTo>
                    <a:pt x="65557" y="193217"/>
                  </a:lnTo>
                  <a:lnTo>
                    <a:pt x="66255" y="192506"/>
                  </a:lnTo>
                  <a:lnTo>
                    <a:pt x="66967" y="193217"/>
                  </a:lnTo>
                  <a:lnTo>
                    <a:pt x="79006" y="193217"/>
                  </a:lnTo>
                  <a:lnTo>
                    <a:pt x="83629" y="193217"/>
                  </a:lnTo>
                  <a:lnTo>
                    <a:pt x="91059" y="193217"/>
                  </a:lnTo>
                  <a:lnTo>
                    <a:pt x="95669" y="193217"/>
                  </a:lnTo>
                  <a:lnTo>
                    <a:pt x="107721" y="193217"/>
                  </a:lnTo>
                  <a:lnTo>
                    <a:pt x="108419" y="192506"/>
                  </a:lnTo>
                  <a:lnTo>
                    <a:pt x="109131" y="193217"/>
                  </a:lnTo>
                  <a:lnTo>
                    <a:pt x="121170" y="193217"/>
                  </a:lnTo>
                  <a:lnTo>
                    <a:pt x="125793" y="193217"/>
                  </a:lnTo>
                  <a:lnTo>
                    <a:pt x="137833" y="193217"/>
                  </a:lnTo>
                  <a:lnTo>
                    <a:pt x="138531" y="192506"/>
                  </a:lnTo>
                  <a:lnTo>
                    <a:pt x="139242" y="193217"/>
                  </a:lnTo>
                  <a:lnTo>
                    <a:pt x="151295" y="193217"/>
                  </a:lnTo>
                  <a:lnTo>
                    <a:pt x="155905" y="193217"/>
                  </a:lnTo>
                  <a:lnTo>
                    <a:pt x="167957" y="193217"/>
                  </a:lnTo>
                  <a:lnTo>
                    <a:pt x="168656" y="192506"/>
                  </a:lnTo>
                  <a:lnTo>
                    <a:pt x="169367" y="193217"/>
                  </a:lnTo>
                  <a:lnTo>
                    <a:pt x="181406" y="193217"/>
                  </a:lnTo>
                  <a:lnTo>
                    <a:pt x="186029" y="193217"/>
                  </a:lnTo>
                  <a:lnTo>
                    <a:pt x="198069" y="193217"/>
                  </a:lnTo>
                  <a:lnTo>
                    <a:pt x="198767" y="192506"/>
                  </a:lnTo>
                  <a:lnTo>
                    <a:pt x="199478" y="193217"/>
                  </a:lnTo>
                  <a:lnTo>
                    <a:pt x="211531" y="193217"/>
                  </a:lnTo>
                  <a:lnTo>
                    <a:pt x="216141" y="193217"/>
                  </a:lnTo>
                  <a:lnTo>
                    <a:pt x="228193" y="193217"/>
                  </a:lnTo>
                  <a:lnTo>
                    <a:pt x="234924" y="186372"/>
                  </a:lnTo>
                  <a:lnTo>
                    <a:pt x="234924" y="178117"/>
                  </a:lnTo>
                  <a:lnTo>
                    <a:pt x="234924" y="169773"/>
                  </a:lnTo>
                  <a:close/>
                </a:path>
                <a:path w="386079" h="193675">
                  <a:moveTo>
                    <a:pt x="385508" y="6743"/>
                  </a:moveTo>
                  <a:lnTo>
                    <a:pt x="378777" y="0"/>
                  </a:lnTo>
                  <a:lnTo>
                    <a:pt x="362115" y="0"/>
                  </a:lnTo>
                  <a:lnTo>
                    <a:pt x="361416" y="711"/>
                  </a:lnTo>
                  <a:lnTo>
                    <a:pt x="360718" y="0"/>
                  </a:lnTo>
                  <a:lnTo>
                    <a:pt x="348665" y="0"/>
                  </a:lnTo>
                  <a:lnTo>
                    <a:pt x="344043" y="0"/>
                  </a:lnTo>
                  <a:lnTo>
                    <a:pt x="332003" y="0"/>
                  </a:lnTo>
                  <a:lnTo>
                    <a:pt x="331292" y="711"/>
                  </a:lnTo>
                  <a:lnTo>
                    <a:pt x="330593" y="0"/>
                  </a:lnTo>
                  <a:lnTo>
                    <a:pt x="318541" y="0"/>
                  </a:lnTo>
                  <a:lnTo>
                    <a:pt x="313931" y="0"/>
                  </a:lnTo>
                  <a:lnTo>
                    <a:pt x="301879" y="0"/>
                  </a:lnTo>
                  <a:lnTo>
                    <a:pt x="301180" y="711"/>
                  </a:lnTo>
                  <a:lnTo>
                    <a:pt x="300482" y="0"/>
                  </a:lnTo>
                  <a:lnTo>
                    <a:pt x="288429" y="0"/>
                  </a:lnTo>
                  <a:lnTo>
                    <a:pt x="283806" y="0"/>
                  </a:lnTo>
                  <a:lnTo>
                    <a:pt x="271767" y="0"/>
                  </a:lnTo>
                  <a:lnTo>
                    <a:pt x="271056" y="711"/>
                  </a:lnTo>
                  <a:lnTo>
                    <a:pt x="270357" y="0"/>
                  </a:lnTo>
                  <a:lnTo>
                    <a:pt x="258305" y="0"/>
                  </a:lnTo>
                  <a:lnTo>
                    <a:pt x="253695" y="0"/>
                  </a:lnTo>
                  <a:lnTo>
                    <a:pt x="246265" y="0"/>
                  </a:lnTo>
                  <a:lnTo>
                    <a:pt x="241642" y="0"/>
                  </a:lnTo>
                  <a:lnTo>
                    <a:pt x="229603" y="0"/>
                  </a:lnTo>
                  <a:lnTo>
                    <a:pt x="222872" y="6743"/>
                  </a:lnTo>
                  <a:lnTo>
                    <a:pt x="222872" y="23342"/>
                  </a:lnTo>
                  <a:lnTo>
                    <a:pt x="229603" y="30187"/>
                  </a:lnTo>
                  <a:lnTo>
                    <a:pt x="241642" y="30187"/>
                  </a:lnTo>
                  <a:lnTo>
                    <a:pt x="246265" y="30187"/>
                  </a:lnTo>
                  <a:lnTo>
                    <a:pt x="253695" y="30187"/>
                  </a:lnTo>
                  <a:lnTo>
                    <a:pt x="258305" y="30187"/>
                  </a:lnTo>
                  <a:lnTo>
                    <a:pt x="270357" y="30187"/>
                  </a:lnTo>
                  <a:lnTo>
                    <a:pt x="271056" y="29476"/>
                  </a:lnTo>
                  <a:lnTo>
                    <a:pt x="271767" y="30187"/>
                  </a:lnTo>
                  <a:lnTo>
                    <a:pt x="283806" y="30187"/>
                  </a:lnTo>
                  <a:lnTo>
                    <a:pt x="288429" y="30187"/>
                  </a:lnTo>
                  <a:lnTo>
                    <a:pt x="300482" y="30187"/>
                  </a:lnTo>
                  <a:lnTo>
                    <a:pt x="301180" y="29476"/>
                  </a:lnTo>
                  <a:lnTo>
                    <a:pt x="301879" y="30187"/>
                  </a:lnTo>
                  <a:lnTo>
                    <a:pt x="313931" y="30187"/>
                  </a:lnTo>
                  <a:lnTo>
                    <a:pt x="318541" y="30187"/>
                  </a:lnTo>
                  <a:lnTo>
                    <a:pt x="330593" y="30187"/>
                  </a:lnTo>
                  <a:lnTo>
                    <a:pt x="331292" y="29476"/>
                  </a:lnTo>
                  <a:lnTo>
                    <a:pt x="332003" y="30187"/>
                  </a:lnTo>
                  <a:lnTo>
                    <a:pt x="344043" y="30187"/>
                  </a:lnTo>
                  <a:lnTo>
                    <a:pt x="348665" y="30187"/>
                  </a:lnTo>
                  <a:lnTo>
                    <a:pt x="360718" y="30187"/>
                  </a:lnTo>
                  <a:lnTo>
                    <a:pt x="361416" y="29476"/>
                  </a:lnTo>
                  <a:lnTo>
                    <a:pt x="362115" y="30187"/>
                  </a:lnTo>
                  <a:lnTo>
                    <a:pt x="378777" y="30187"/>
                  </a:lnTo>
                  <a:lnTo>
                    <a:pt x="385508" y="23342"/>
                  </a:lnTo>
                  <a:lnTo>
                    <a:pt x="385508" y="15087"/>
                  </a:lnTo>
                  <a:lnTo>
                    <a:pt x="385508" y="6743"/>
                  </a:lnTo>
                  <a:close/>
                </a:path>
              </a:pathLst>
            </a:custGeom>
            <a:solidFill>
              <a:srgbClr val="94373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7" name="object 47"/>
            <p:cNvSpPr/>
            <p:nvPr/>
          </p:nvSpPr>
          <p:spPr>
            <a:xfrm>
              <a:off x="5421250" y="4159529"/>
              <a:ext cx="1831339" cy="882015"/>
            </a:xfrm>
            <a:custGeom>
              <a:avLst/>
              <a:gdLst/>
              <a:ahLst/>
              <a:cxnLst/>
              <a:rect l="l" t="t" r="r" b="b"/>
              <a:pathLst>
                <a:path w="1831340" h="882014">
                  <a:moveTo>
                    <a:pt x="1831177" y="0"/>
                  </a:moveTo>
                  <a:lnTo>
                    <a:pt x="0" y="0"/>
                  </a:lnTo>
                  <a:lnTo>
                    <a:pt x="0" y="881573"/>
                  </a:lnTo>
                  <a:lnTo>
                    <a:pt x="1831177" y="881573"/>
                  </a:lnTo>
                  <a:lnTo>
                    <a:pt x="1831177"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8" name="object 48"/>
            <p:cNvSpPr/>
            <p:nvPr/>
          </p:nvSpPr>
          <p:spPr>
            <a:xfrm>
              <a:off x="5629065" y="4271286"/>
              <a:ext cx="1511935" cy="658495"/>
            </a:xfrm>
            <a:custGeom>
              <a:avLst/>
              <a:gdLst/>
              <a:ahLst/>
              <a:cxnLst/>
              <a:rect l="l" t="t" r="r" b="b"/>
              <a:pathLst>
                <a:path w="1511934" h="658495">
                  <a:moveTo>
                    <a:pt x="30118" y="658160"/>
                  </a:moveTo>
                  <a:lnTo>
                    <a:pt x="1511926" y="658160"/>
                  </a:lnTo>
                </a:path>
                <a:path w="1511934" h="658495">
                  <a:moveTo>
                    <a:pt x="30118" y="495130"/>
                  </a:moveTo>
                  <a:lnTo>
                    <a:pt x="1511926" y="495130"/>
                  </a:lnTo>
                </a:path>
                <a:path w="1511934" h="658495">
                  <a:moveTo>
                    <a:pt x="30118" y="163030"/>
                  </a:moveTo>
                  <a:lnTo>
                    <a:pt x="1511926" y="163030"/>
                  </a:lnTo>
                </a:path>
                <a:path w="1511934" h="658495">
                  <a:moveTo>
                    <a:pt x="30118" y="0"/>
                  </a:moveTo>
                  <a:lnTo>
                    <a:pt x="1511926" y="0"/>
                  </a:lnTo>
                </a:path>
                <a:path w="1511934" h="658495">
                  <a:moveTo>
                    <a:pt x="30118" y="658160"/>
                  </a:moveTo>
                  <a:lnTo>
                    <a:pt x="30118" y="0"/>
                  </a:lnTo>
                </a:path>
                <a:path w="1511934" h="658495">
                  <a:moveTo>
                    <a:pt x="0" y="658160"/>
                  </a:moveTo>
                  <a:lnTo>
                    <a:pt x="30118" y="658160"/>
                  </a:lnTo>
                </a:path>
                <a:path w="1511934" h="658495">
                  <a:moveTo>
                    <a:pt x="0" y="495130"/>
                  </a:moveTo>
                  <a:lnTo>
                    <a:pt x="30118" y="495130"/>
                  </a:lnTo>
                </a:path>
                <a:path w="1511934" h="658495">
                  <a:moveTo>
                    <a:pt x="0" y="332099"/>
                  </a:moveTo>
                  <a:lnTo>
                    <a:pt x="30118" y="332099"/>
                  </a:lnTo>
                </a:path>
                <a:path w="1511934" h="658495">
                  <a:moveTo>
                    <a:pt x="0" y="163030"/>
                  </a:moveTo>
                  <a:lnTo>
                    <a:pt x="30118" y="163030"/>
                  </a:lnTo>
                </a:path>
                <a:path w="1511934" h="658495">
                  <a:moveTo>
                    <a:pt x="0" y="0"/>
                  </a:moveTo>
                  <a:lnTo>
                    <a:pt x="30118" y="0"/>
                  </a:lnTo>
                </a:path>
                <a:path w="1511934" h="658495">
                  <a:moveTo>
                    <a:pt x="30118" y="332099"/>
                  </a:moveTo>
                  <a:lnTo>
                    <a:pt x="1511926" y="332099"/>
                  </a:lnTo>
                </a:path>
              </a:pathLst>
            </a:custGeom>
            <a:ln w="6036">
              <a:solidFill>
                <a:srgbClr val="85858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9" name="object 49"/>
            <p:cNvSpPr/>
            <p:nvPr/>
          </p:nvSpPr>
          <p:spPr>
            <a:xfrm>
              <a:off x="5656171" y="4760378"/>
              <a:ext cx="433705" cy="0"/>
            </a:xfrm>
            <a:custGeom>
              <a:avLst/>
              <a:gdLst/>
              <a:ahLst/>
              <a:cxnLst/>
              <a:rect l="l" t="t" r="r" b="b"/>
              <a:pathLst>
                <a:path w="433704">
                  <a:moveTo>
                    <a:pt x="0" y="0"/>
                  </a:moveTo>
                  <a:lnTo>
                    <a:pt x="433700" y="0"/>
                  </a:lnTo>
                </a:path>
              </a:pathLst>
            </a:custGeom>
            <a:ln w="30190">
              <a:solidFill>
                <a:srgbClr val="1F487C"/>
              </a:solidFill>
              <a:prstDash val="sys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0" name="object 50"/>
            <p:cNvSpPr/>
            <p:nvPr/>
          </p:nvSpPr>
          <p:spPr>
            <a:xfrm>
              <a:off x="5674242" y="4597347"/>
              <a:ext cx="427990" cy="0"/>
            </a:xfrm>
            <a:custGeom>
              <a:avLst/>
              <a:gdLst/>
              <a:ahLst/>
              <a:cxnLst/>
              <a:rect l="l" t="t" r="r" b="b"/>
              <a:pathLst>
                <a:path w="427989">
                  <a:moveTo>
                    <a:pt x="0" y="0"/>
                  </a:moveTo>
                  <a:lnTo>
                    <a:pt x="427676" y="0"/>
                  </a:lnTo>
                </a:path>
              </a:pathLst>
            </a:custGeom>
            <a:ln w="30190">
              <a:solidFill>
                <a:srgbClr val="1F487C"/>
              </a:solidFill>
              <a:prstDash val="sys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1" name="object 51"/>
            <p:cNvSpPr/>
            <p:nvPr/>
          </p:nvSpPr>
          <p:spPr>
            <a:xfrm>
              <a:off x="5686285" y="4419231"/>
              <a:ext cx="386080" cy="30480"/>
            </a:xfrm>
            <a:custGeom>
              <a:avLst/>
              <a:gdLst/>
              <a:ahLst/>
              <a:cxnLst/>
              <a:rect l="l" t="t" r="r" b="b"/>
              <a:pathLst>
                <a:path w="386079" h="30479">
                  <a:moveTo>
                    <a:pt x="30111" y="6743"/>
                  </a:moveTo>
                  <a:lnTo>
                    <a:pt x="23393" y="0"/>
                  </a:lnTo>
                  <a:lnTo>
                    <a:pt x="6718" y="0"/>
                  </a:lnTo>
                  <a:lnTo>
                    <a:pt x="0" y="6743"/>
                  </a:lnTo>
                  <a:lnTo>
                    <a:pt x="0" y="23342"/>
                  </a:lnTo>
                  <a:lnTo>
                    <a:pt x="6718" y="30187"/>
                  </a:lnTo>
                  <a:lnTo>
                    <a:pt x="23393" y="30187"/>
                  </a:lnTo>
                  <a:lnTo>
                    <a:pt x="30111" y="23342"/>
                  </a:lnTo>
                  <a:lnTo>
                    <a:pt x="30111" y="15087"/>
                  </a:lnTo>
                  <a:lnTo>
                    <a:pt x="30111" y="6743"/>
                  </a:lnTo>
                  <a:close/>
                </a:path>
                <a:path w="386079" h="30479">
                  <a:moveTo>
                    <a:pt x="78308" y="6743"/>
                  </a:moveTo>
                  <a:lnTo>
                    <a:pt x="71577" y="0"/>
                  </a:lnTo>
                  <a:lnTo>
                    <a:pt x="54914" y="0"/>
                  </a:lnTo>
                  <a:lnTo>
                    <a:pt x="48183" y="6743"/>
                  </a:lnTo>
                  <a:lnTo>
                    <a:pt x="48183" y="23342"/>
                  </a:lnTo>
                  <a:lnTo>
                    <a:pt x="54914" y="30187"/>
                  </a:lnTo>
                  <a:lnTo>
                    <a:pt x="71577" y="30187"/>
                  </a:lnTo>
                  <a:lnTo>
                    <a:pt x="78308" y="23342"/>
                  </a:lnTo>
                  <a:lnTo>
                    <a:pt x="78308" y="15087"/>
                  </a:lnTo>
                  <a:lnTo>
                    <a:pt x="78308" y="6743"/>
                  </a:lnTo>
                  <a:close/>
                </a:path>
                <a:path w="386079" h="30479">
                  <a:moveTo>
                    <a:pt x="120472" y="6743"/>
                  </a:moveTo>
                  <a:lnTo>
                    <a:pt x="113741" y="0"/>
                  </a:lnTo>
                  <a:lnTo>
                    <a:pt x="97078" y="0"/>
                  </a:lnTo>
                  <a:lnTo>
                    <a:pt x="90347" y="6743"/>
                  </a:lnTo>
                  <a:lnTo>
                    <a:pt x="90347" y="23342"/>
                  </a:lnTo>
                  <a:lnTo>
                    <a:pt x="97078" y="30187"/>
                  </a:lnTo>
                  <a:lnTo>
                    <a:pt x="113741" y="30187"/>
                  </a:lnTo>
                  <a:lnTo>
                    <a:pt x="120472" y="23342"/>
                  </a:lnTo>
                  <a:lnTo>
                    <a:pt x="120472" y="15087"/>
                  </a:lnTo>
                  <a:lnTo>
                    <a:pt x="120472" y="6743"/>
                  </a:lnTo>
                  <a:close/>
                </a:path>
                <a:path w="386079" h="30479">
                  <a:moveTo>
                    <a:pt x="162636" y="6743"/>
                  </a:moveTo>
                  <a:lnTo>
                    <a:pt x="155905" y="0"/>
                  </a:lnTo>
                  <a:lnTo>
                    <a:pt x="139242" y="0"/>
                  </a:lnTo>
                  <a:lnTo>
                    <a:pt x="132511" y="6743"/>
                  </a:lnTo>
                  <a:lnTo>
                    <a:pt x="132511" y="23342"/>
                  </a:lnTo>
                  <a:lnTo>
                    <a:pt x="139242" y="30187"/>
                  </a:lnTo>
                  <a:lnTo>
                    <a:pt x="155905" y="30187"/>
                  </a:lnTo>
                  <a:lnTo>
                    <a:pt x="162636" y="23342"/>
                  </a:lnTo>
                  <a:lnTo>
                    <a:pt x="162636" y="15087"/>
                  </a:lnTo>
                  <a:lnTo>
                    <a:pt x="162636" y="6743"/>
                  </a:lnTo>
                  <a:close/>
                </a:path>
                <a:path w="386079" h="30479">
                  <a:moveTo>
                    <a:pt x="210820" y="6743"/>
                  </a:moveTo>
                  <a:lnTo>
                    <a:pt x="204101" y="0"/>
                  </a:lnTo>
                  <a:lnTo>
                    <a:pt x="187426" y="0"/>
                  </a:lnTo>
                  <a:lnTo>
                    <a:pt x="180708" y="6743"/>
                  </a:lnTo>
                  <a:lnTo>
                    <a:pt x="180708" y="23342"/>
                  </a:lnTo>
                  <a:lnTo>
                    <a:pt x="187426" y="30187"/>
                  </a:lnTo>
                  <a:lnTo>
                    <a:pt x="204101" y="30187"/>
                  </a:lnTo>
                  <a:lnTo>
                    <a:pt x="210820" y="23342"/>
                  </a:lnTo>
                  <a:lnTo>
                    <a:pt x="210820" y="15087"/>
                  </a:lnTo>
                  <a:lnTo>
                    <a:pt x="210820" y="6743"/>
                  </a:lnTo>
                  <a:close/>
                </a:path>
                <a:path w="386079" h="30479">
                  <a:moveTo>
                    <a:pt x="252984" y="6743"/>
                  </a:moveTo>
                  <a:lnTo>
                    <a:pt x="246265" y="0"/>
                  </a:lnTo>
                  <a:lnTo>
                    <a:pt x="229603" y="0"/>
                  </a:lnTo>
                  <a:lnTo>
                    <a:pt x="222872" y="6743"/>
                  </a:lnTo>
                  <a:lnTo>
                    <a:pt x="222872" y="23342"/>
                  </a:lnTo>
                  <a:lnTo>
                    <a:pt x="229603" y="30187"/>
                  </a:lnTo>
                  <a:lnTo>
                    <a:pt x="246265" y="30187"/>
                  </a:lnTo>
                  <a:lnTo>
                    <a:pt x="252984" y="23342"/>
                  </a:lnTo>
                  <a:lnTo>
                    <a:pt x="252984" y="15087"/>
                  </a:lnTo>
                  <a:lnTo>
                    <a:pt x="252984" y="6743"/>
                  </a:lnTo>
                  <a:close/>
                </a:path>
                <a:path w="386079" h="30479">
                  <a:moveTo>
                    <a:pt x="295160" y="6743"/>
                  </a:moveTo>
                  <a:lnTo>
                    <a:pt x="288429" y="0"/>
                  </a:lnTo>
                  <a:lnTo>
                    <a:pt x="271767" y="0"/>
                  </a:lnTo>
                  <a:lnTo>
                    <a:pt x="265036" y="6743"/>
                  </a:lnTo>
                  <a:lnTo>
                    <a:pt x="265036" y="23342"/>
                  </a:lnTo>
                  <a:lnTo>
                    <a:pt x="271767" y="30187"/>
                  </a:lnTo>
                  <a:lnTo>
                    <a:pt x="288429" y="30187"/>
                  </a:lnTo>
                  <a:lnTo>
                    <a:pt x="295160" y="23342"/>
                  </a:lnTo>
                  <a:lnTo>
                    <a:pt x="295160" y="15087"/>
                  </a:lnTo>
                  <a:lnTo>
                    <a:pt x="295160" y="6743"/>
                  </a:lnTo>
                  <a:close/>
                </a:path>
                <a:path w="386079" h="30479">
                  <a:moveTo>
                    <a:pt x="343344" y="6743"/>
                  </a:moveTo>
                  <a:lnTo>
                    <a:pt x="336613" y="0"/>
                  </a:lnTo>
                  <a:lnTo>
                    <a:pt x="319951" y="0"/>
                  </a:lnTo>
                  <a:lnTo>
                    <a:pt x="313220" y="6743"/>
                  </a:lnTo>
                  <a:lnTo>
                    <a:pt x="313220" y="23342"/>
                  </a:lnTo>
                  <a:lnTo>
                    <a:pt x="319951" y="30187"/>
                  </a:lnTo>
                  <a:lnTo>
                    <a:pt x="336613" y="30187"/>
                  </a:lnTo>
                  <a:lnTo>
                    <a:pt x="343344" y="23342"/>
                  </a:lnTo>
                  <a:lnTo>
                    <a:pt x="343344" y="15087"/>
                  </a:lnTo>
                  <a:lnTo>
                    <a:pt x="343344" y="6743"/>
                  </a:lnTo>
                  <a:close/>
                </a:path>
                <a:path w="386079" h="30479">
                  <a:moveTo>
                    <a:pt x="385508" y="6743"/>
                  </a:moveTo>
                  <a:lnTo>
                    <a:pt x="378777" y="0"/>
                  </a:lnTo>
                  <a:lnTo>
                    <a:pt x="362115" y="0"/>
                  </a:lnTo>
                  <a:lnTo>
                    <a:pt x="355396" y="6743"/>
                  </a:lnTo>
                  <a:lnTo>
                    <a:pt x="355396" y="23342"/>
                  </a:lnTo>
                  <a:lnTo>
                    <a:pt x="362115" y="30187"/>
                  </a:lnTo>
                  <a:lnTo>
                    <a:pt x="378777" y="30187"/>
                  </a:lnTo>
                  <a:lnTo>
                    <a:pt x="385508" y="23342"/>
                  </a:lnTo>
                  <a:lnTo>
                    <a:pt x="385508" y="15087"/>
                  </a:lnTo>
                  <a:lnTo>
                    <a:pt x="385508" y="6743"/>
                  </a:lnTo>
                  <a:close/>
                </a:path>
              </a:pathLst>
            </a:custGeom>
            <a:solidFill>
              <a:srgbClr val="1F487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2" name="object 52"/>
            <p:cNvSpPr/>
            <p:nvPr/>
          </p:nvSpPr>
          <p:spPr>
            <a:xfrm>
              <a:off x="6162154" y="4760378"/>
              <a:ext cx="518159" cy="0"/>
            </a:xfrm>
            <a:custGeom>
              <a:avLst/>
              <a:gdLst/>
              <a:ahLst/>
              <a:cxnLst/>
              <a:rect l="l" t="t" r="r" b="b"/>
              <a:pathLst>
                <a:path w="518159">
                  <a:moveTo>
                    <a:pt x="0" y="0"/>
                  </a:moveTo>
                  <a:lnTo>
                    <a:pt x="518030" y="0"/>
                  </a:lnTo>
                </a:path>
              </a:pathLst>
            </a:custGeom>
            <a:ln w="30190">
              <a:solidFill>
                <a:srgbClr val="1F487C"/>
              </a:solidFill>
              <a:prstDash val="sys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3" name="object 53"/>
            <p:cNvSpPr/>
            <p:nvPr/>
          </p:nvSpPr>
          <p:spPr>
            <a:xfrm>
              <a:off x="6174201" y="4597347"/>
              <a:ext cx="518159" cy="0"/>
            </a:xfrm>
            <a:custGeom>
              <a:avLst/>
              <a:gdLst/>
              <a:ahLst/>
              <a:cxnLst/>
              <a:rect l="l" t="t" r="r" b="b"/>
              <a:pathLst>
                <a:path w="518159">
                  <a:moveTo>
                    <a:pt x="0" y="0"/>
                  </a:moveTo>
                  <a:lnTo>
                    <a:pt x="518030" y="0"/>
                  </a:lnTo>
                </a:path>
              </a:pathLst>
            </a:custGeom>
            <a:ln w="30190">
              <a:solidFill>
                <a:srgbClr val="1F487C"/>
              </a:solidFill>
              <a:prstDash val="sys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4" name="object 54"/>
            <p:cNvSpPr/>
            <p:nvPr/>
          </p:nvSpPr>
          <p:spPr>
            <a:xfrm>
              <a:off x="6192272" y="4434316"/>
              <a:ext cx="518159" cy="0"/>
            </a:xfrm>
            <a:custGeom>
              <a:avLst/>
              <a:gdLst/>
              <a:ahLst/>
              <a:cxnLst/>
              <a:rect l="l" t="t" r="r" b="b"/>
              <a:pathLst>
                <a:path w="518159">
                  <a:moveTo>
                    <a:pt x="0" y="0"/>
                  </a:moveTo>
                  <a:lnTo>
                    <a:pt x="518030" y="0"/>
                  </a:lnTo>
                </a:path>
              </a:pathLst>
            </a:custGeom>
            <a:ln w="30190">
              <a:solidFill>
                <a:srgbClr val="1F487C"/>
              </a:solidFill>
              <a:prstDash val="sys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5" name="object 55"/>
            <p:cNvSpPr/>
            <p:nvPr/>
          </p:nvSpPr>
          <p:spPr>
            <a:xfrm>
              <a:off x="6692227" y="4419231"/>
              <a:ext cx="464184" cy="356870"/>
            </a:xfrm>
            <a:custGeom>
              <a:avLst/>
              <a:gdLst/>
              <a:ahLst/>
              <a:cxnLst/>
              <a:rect l="l" t="t" r="r" b="b"/>
              <a:pathLst>
                <a:path w="464184" h="356870">
                  <a:moveTo>
                    <a:pt x="30111" y="254304"/>
                  </a:moveTo>
                  <a:lnTo>
                    <a:pt x="23393" y="247561"/>
                  </a:lnTo>
                  <a:lnTo>
                    <a:pt x="6731" y="247561"/>
                  </a:lnTo>
                  <a:lnTo>
                    <a:pt x="0" y="254304"/>
                  </a:lnTo>
                  <a:lnTo>
                    <a:pt x="0" y="270903"/>
                  </a:lnTo>
                  <a:lnTo>
                    <a:pt x="6731" y="277749"/>
                  </a:lnTo>
                  <a:lnTo>
                    <a:pt x="23393" y="277749"/>
                  </a:lnTo>
                  <a:lnTo>
                    <a:pt x="30111" y="270903"/>
                  </a:lnTo>
                  <a:lnTo>
                    <a:pt x="30111" y="262661"/>
                  </a:lnTo>
                  <a:lnTo>
                    <a:pt x="30111" y="254304"/>
                  </a:lnTo>
                  <a:close/>
                </a:path>
                <a:path w="464184" h="356870">
                  <a:moveTo>
                    <a:pt x="60236" y="85229"/>
                  </a:moveTo>
                  <a:lnTo>
                    <a:pt x="53505" y="78498"/>
                  </a:lnTo>
                  <a:lnTo>
                    <a:pt x="41465" y="78498"/>
                  </a:lnTo>
                  <a:lnTo>
                    <a:pt x="36842" y="78498"/>
                  </a:lnTo>
                  <a:lnTo>
                    <a:pt x="24790" y="78498"/>
                  </a:lnTo>
                  <a:lnTo>
                    <a:pt x="18072" y="85229"/>
                  </a:lnTo>
                  <a:lnTo>
                    <a:pt x="18072" y="101841"/>
                  </a:lnTo>
                  <a:lnTo>
                    <a:pt x="24790" y="108686"/>
                  </a:lnTo>
                  <a:lnTo>
                    <a:pt x="36842" y="108686"/>
                  </a:lnTo>
                  <a:lnTo>
                    <a:pt x="41465" y="108686"/>
                  </a:lnTo>
                  <a:lnTo>
                    <a:pt x="53505" y="108686"/>
                  </a:lnTo>
                  <a:lnTo>
                    <a:pt x="60236" y="101841"/>
                  </a:lnTo>
                  <a:lnTo>
                    <a:pt x="60236" y="93586"/>
                  </a:lnTo>
                  <a:lnTo>
                    <a:pt x="60236" y="85229"/>
                  </a:lnTo>
                  <a:close/>
                </a:path>
                <a:path w="464184" h="356870">
                  <a:moveTo>
                    <a:pt x="301180" y="254304"/>
                  </a:moveTo>
                  <a:lnTo>
                    <a:pt x="294449" y="247561"/>
                  </a:lnTo>
                  <a:lnTo>
                    <a:pt x="277787" y="247561"/>
                  </a:lnTo>
                  <a:lnTo>
                    <a:pt x="271056" y="254304"/>
                  </a:lnTo>
                  <a:lnTo>
                    <a:pt x="264337" y="247561"/>
                  </a:lnTo>
                  <a:lnTo>
                    <a:pt x="247675" y="247561"/>
                  </a:lnTo>
                  <a:lnTo>
                    <a:pt x="240944" y="254304"/>
                  </a:lnTo>
                  <a:lnTo>
                    <a:pt x="234213" y="247561"/>
                  </a:lnTo>
                  <a:lnTo>
                    <a:pt x="217551" y="247561"/>
                  </a:lnTo>
                  <a:lnTo>
                    <a:pt x="210820" y="254304"/>
                  </a:lnTo>
                  <a:lnTo>
                    <a:pt x="204101" y="247561"/>
                  </a:lnTo>
                  <a:lnTo>
                    <a:pt x="187439" y="247561"/>
                  </a:lnTo>
                  <a:lnTo>
                    <a:pt x="180708" y="254304"/>
                  </a:lnTo>
                  <a:lnTo>
                    <a:pt x="173977" y="247561"/>
                  </a:lnTo>
                  <a:lnTo>
                    <a:pt x="157314" y="247561"/>
                  </a:lnTo>
                  <a:lnTo>
                    <a:pt x="150583" y="254304"/>
                  </a:lnTo>
                  <a:lnTo>
                    <a:pt x="143865" y="247561"/>
                  </a:lnTo>
                  <a:lnTo>
                    <a:pt x="127203" y="247561"/>
                  </a:lnTo>
                  <a:lnTo>
                    <a:pt x="120472" y="254304"/>
                  </a:lnTo>
                  <a:lnTo>
                    <a:pt x="113741" y="247561"/>
                  </a:lnTo>
                  <a:lnTo>
                    <a:pt x="97078" y="247561"/>
                  </a:lnTo>
                  <a:lnTo>
                    <a:pt x="90347" y="254304"/>
                  </a:lnTo>
                  <a:lnTo>
                    <a:pt x="83629" y="247561"/>
                  </a:lnTo>
                  <a:lnTo>
                    <a:pt x="71577" y="247561"/>
                  </a:lnTo>
                  <a:lnTo>
                    <a:pt x="66967" y="247561"/>
                  </a:lnTo>
                  <a:lnTo>
                    <a:pt x="54914" y="247561"/>
                  </a:lnTo>
                  <a:lnTo>
                    <a:pt x="48183" y="254304"/>
                  </a:lnTo>
                  <a:lnTo>
                    <a:pt x="48183" y="270903"/>
                  </a:lnTo>
                  <a:lnTo>
                    <a:pt x="54914" y="277749"/>
                  </a:lnTo>
                  <a:lnTo>
                    <a:pt x="66967" y="277749"/>
                  </a:lnTo>
                  <a:lnTo>
                    <a:pt x="71577" y="277749"/>
                  </a:lnTo>
                  <a:lnTo>
                    <a:pt x="83629" y="277749"/>
                  </a:lnTo>
                  <a:lnTo>
                    <a:pt x="90347" y="270903"/>
                  </a:lnTo>
                  <a:lnTo>
                    <a:pt x="97078" y="277749"/>
                  </a:lnTo>
                  <a:lnTo>
                    <a:pt x="113741" y="277749"/>
                  </a:lnTo>
                  <a:lnTo>
                    <a:pt x="120472" y="270903"/>
                  </a:lnTo>
                  <a:lnTo>
                    <a:pt x="127203" y="277749"/>
                  </a:lnTo>
                  <a:lnTo>
                    <a:pt x="143865" y="277749"/>
                  </a:lnTo>
                  <a:lnTo>
                    <a:pt x="150583" y="270903"/>
                  </a:lnTo>
                  <a:lnTo>
                    <a:pt x="157314" y="277749"/>
                  </a:lnTo>
                  <a:lnTo>
                    <a:pt x="173977" y="277749"/>
                  </a:lnTo>
                  <a:lnTo>
                    <a:pt x="180708" y="270903"/>
                  </a:lnTo>
                  <a:lnTo>
                    <a:pt x="187439" y="277749"/>
                  </a:lnTo>
                  <a:lnTo>
                    <a:pt x="204101" y="277749"/>
                  </a:lnTo>
                  <a:lnTo>
                    <a:pt x="210820" y="270903"/>
                  </a:lnTo>
                  <a:lnTo>
                    <a:pt x="217551" y="277749"/>
                  </a:lnTo>
                  <a:lnTo>
                    <a:pt x="234213" y="277749"/>
                  </a:lnTo>
                  <a:lnTo>
                    <a:pt x="240944" y="270903"/>
                  </a:lnTo>
                  <a:lnTo>
                    <a:pt x="247675" y="277749"/>
                  </a:lnTo>
                  <a:lnTo>
                    <a:pt x="264337" y="277749"/>
                  </a:lnTo>
                  <a:lnTo>
                    <a:pt x="271056" y="270903"/>
                  </a:lnTo>
                  <a:lnTo>
                    <a:pt x="277787" y="277749"/>
                  </a:lnTo>
                  <a:lnTo>
                    <a:pt x="294449" y="277749"/>
                  </a:lnTo>
                  <a:lnTo>
                    <a:pt x="301180" y="270903"/>
                  </a:lnTo>
                  <a:lnTo>
                    <a:pt x="301180" y="262661"/>
                  </a:lnTo>
                  <a:lnTo>
                    <a:pt x="301180" y="254304"/>
                  </a:lnTo>
                  <a:close/>
                </a:path>
                <a:path w="464184" h="356870">
                  <a:moveTo>
                    <a:pt x="313232" y="85229"/>
                  </a:moveTo>
                  <a:lnTo>
                    <a:pt x="306501" y="78498"/>
                  </a:lnTo>
                  <a:lnTo>
                    <a:pt x="289839" y="78498"/>
                  </a:lnTo>
                  <a:lnTo>
                    <a:pt x="283108" y="85229"/>
                  </a:lnTo>
                  <a:lnTo>
                    <a:pt x="276377" y="78498"/>
                  </a:lnTo>
                  <a:lnTo>
                    <a:pt x="259715" y="78498"/>
                  </a:lnTo>
                  <a:lnTo>
                    <a:pt x="252996" y="85229"/>
                  </a:lnTo>
                  <a:lnTo>
                    <a:pt x="246265" y="78498"/>
                  </a:lnTo>
                  <a:lnTo>
                    <a:pt x="229603" y="78498"/>
                  </a:lnTo>
                  <a:lnTo>
                    <a:pt x="222872" y="85229"/>
                  </a:lnTo>
                  <a:lnTo>
                    <a:pt x="216141" y="78498"/>
                  </a:lnTo>
                  <a:lnTo>
                    <a:pt x="199478" y="78498"/>
                  </a:lnTo>
                  <a:lnTo>
                    <a:pt x="192760" y="85229"/>
                  </a:lnTo>
                  <a:lnTo>
                    <a:pt x="186029" y="78498"/>
                  </a:lnTo>
                  <a:lnTo>
                    <a:pt x="169367" y="78498"/>
                  </a:lnTo>
                  <a:lnTo>
                    <a:pt x="165646" y="82219"/>
                  </a:lnTo>
                  <a:lnTo>
                    <a:pt x="161937" y="78498"/>
                  </a:lnTo>
                  <a:lnTo>
                    <a:pt x="145275" y="78498"/>
                  </a:lnTo>
                  <a:lnTo>
                    <a:pt x="138544" y="85229"/>
                  </a:lnTo>
                  <a:lnTo>
                    <a:pt x="131813" y="78498"/>
                  </a:lnTo>
                  <a:lnTo>
                    <a:pt x="115150" y="78498"/>
                  </a:lnTo>
                  <a:lnTo>
                    <a:pt x="108419" y="85229"/>
                  </a:lnTo>
                  <a:lnTo>
                    <a:pt x="101701" y="78498"/>
                  </a:lnTo>
                  <a:lnTo>
                    <a:pt x="85026" y="78498"/>
                  </a:lnTo>
                  <a:lnTo>
                    <a:pt x="78308" y="85229"/>
                  </a:lnTo>
                  <a:lnTo>
                    <a:pt x="78308" y="101841"/>
                  </a:lnTo>
                  <a:lnTo>
                    <a:pt x="85026" y="108686"/>
                  </a:lnTo>
                  <a:lnTo>
                    <a:pt x="101701" y="108686"/>
                  </a:lnTo>
                  <a:lnTo>
                    <a:pt x="108419" y="101841"/>
                  </a:lnTo>
                  <a:lnTo>
                    <a:pt x="115150" y="108686"/>
                  </a:lnTo>
                  <a:lnTo>
                    <a:pt x="131813" y="108686"/>
                  </a:lnTo>
                  <a:lnTo>
                    <a:pt x="138544" y="101841"/>
                  </a:lnTo>
                  <a:lnTo>
                    <a:pt x="145275" y="108686"/>
                  </a:lnTo>
                  <a:lnTo>
                    <a:pt x="161937" y="108686"/>
                  </a:lnTo>
                  <a:lnTo>
                    <a:pt x="165646" y="104914"/>
                  </a:lnTo>
                  <a:lnTo>
                    <a:pt x="169367" y="108686"/>
                  </a:lnTo>
                  <a:lnTo>
                    <a:pt x="186029" y="108686"/>
                  </a:lnTo>
                  <a:lnTo>
                    <a:pt x="192760" y="101841"/>
                  </a:lnTo>
                  <a:lnTo>
                    <a:pt x="199478" y="108686"/>
                  </a:lnTo>
                  <a:lnTo>
                    <a:pt x="216141" y="108686"/>
                  </a:lnTo>
                  <a:lnTo>
                    <a:pt x="222872" y="101841"/>
                  </a:lnTo>
                  <a:lnTo>
                    <a:pt x="229603" y="108686"/>
                  </a:lnTo>
                  <a:lnTo>
                    <a:pt x="246265" y="108686"/>
                  </a:lnTo>
                  <a:lnTo>
                    <a:pt x="252996" y="101841"/>
                  </a:lnTo>
                  <a:lnTo>
                    <a:pt x="259715" y="108686"/>
                  </a:lnTo>
                  <a:lnTo>
                    <a:pt x="276377" y="108686"/>
                  </a:lnTo>
                  <a:lnTo>
                    <a:pt x="283108" y="101841"/>
                  </a:lnTo>
                  <a:lnTo>
                    <a:pt x="289839" y="108686"/>
                  </a:lnTo>
                  <a:lnTo>
                    <a:pt x="306501" y="108686"/>
                  </a:lnTo>
                  <a:lnTo>
                    <a:pt x="313232" y="101841"/>
                  </a:lnTo>
                  <a:lnTo>
                    <a:pt x="313232" y="93586"/>
                  </a:lnTo>
                  <a:lnTo>
                    <a:pt x="313232" y="85229"/>
                  </a:lnTo>
                  <a:close/>
                </a:path>
                <a:path w="464184" h="356870">
                  <a:moveTo>
                    <a:pt x="331292" y="6743"/>
                  </a:moveTo>
                  <a:lnTo>
                    <a:pt x="324573" y="0"/>
                  </a:lnTo>
                  <a:lnTo>
                    <a:pt x="307911" y="0"/>
                  </a:lnTo>
                  <a:lnTo>
                    <a:pt x="301180" y="6743"/>
                  </a:lnTo>
                  <a:lnTo>
                    <a:pt x="301180" y="23342"/>
                  </a:lnTo>
                  <a:lnTo>
                    <a:pt x="307911" y="30187"/>
                  </a:lnTo>
                  <a:lnTo>
                    <a:pt x="324573" y="30187"/>
                  </a:lnTo>
                  <a:lnTo>
                    <a:pt x="331292" y="23342"/>
                  </a:lnTo>
                  <a:lnTo>
                    <a:pt x="331292" y="15087"/>
                  </a:lnTo>
                  <a:lnTo>
                    <a:pt x="331292" y="6743"/>
                  </a:lnTo>
                  <a:close/>
                </a:path>
                <a:path w="464184" h="356870">
                  <a:moveTo>
                    <a:pt x="343344" y="332803"/>
                  </a:moveTo>
                  <a:lnTo>
                    <a:pt x="336613" y="326059"/>
                  </a:lnTo>
                  <a:lnTo>
                    <a:pt x="319951" y="326059"/>
                  </a:lnTo>
                  <a:lnTo>
                    <a:pt x="313232" y="332803"/>
                  </a:lnTo>
                  <a:lnTo>
                    <a:pt x="313232" y="349402"/>
                  </a:lnTo>
                  <a:lnTo>
                    <a:pt x="319951" y="356247"/>
                  </a:lnTo>
                  <a:lnTo>
                    <a:pt x="336613" y="356247"/>
                  </a:lnTo>
                  <a:lnTo>
                    <a:pt x="343344" y="349402"/>
                  </a:lnTo>
                  <a:lnTo>
                    <a:pt x="343344" y="341147"/>
                  </a:lnTo>
                  <a:lnTo>
                    <a:pt x="343344" y="332803"/>
                  </a:lnTo>
                  <a:close/>
                </a:path>
                <a:path w="464184" h="356870">
                  <a:moveTo>
                    <a:pt x="355396" y="169773"/>
                  </a:moveTo>
                  <a:lnTo>
                    <a:pt x="348665" y="163029"/>
                  </a:lnTo>
                  <a:lnTo>
                    <a:pt x="332003" y="163029"/>
                  </a:lnTo>
                  <a:lnTo>
                    <a:pt x="325272" y="169773"/>
                  </a:lnTo>
                  <a:lnTo>
                    <a:pt x="325272" y="186372"/>
                  </a:lnTo>
                  <a:lnTo>
                    <a:pt x="332003" y="193217"/>
                  </a:lnTo>
                  <a:lnTo>
                    <a:pt x="348665" y="193217"/>
                  </a:lnTo>
                  <a:lnTo>
                    <a:pt x="355396" y="186372"/>
                  </a:lnTo>
                  <a:lnTo>
                    <a:pt x="355396" y="178117"/>
                  </a:lnTo>
                  <a:lnTo>
                    <a:pt x="355396" y="169773"/>
                  </a:lnTo>
                  <a:close/>
                </a:path>
                <a:path w="464184" h="356870">
                  <a:moveTo>
                    <a:pt x="373468" y="6743"/>
                  </a:moveTo>
                  <a:lnTo>
                    <a:pt x="366737" y="0"/>
                  </a:lnTo>
                  <a:lnTo>
                    <a:pt x="350075" y="0"/>
                  </a:lnTo>
                  <a:lnTo>
                    <a:pt x="343344" y="6743"/>
                  </a:lnTo>
                  <a:lnTo>
                    <a:pt x="343344" y="23342"/>
                  </a:lnTo>
                  <a:lnTo>
                    <a:pt x="350075" y="30187"/>
                  </a:lnTo>
                  <a:lnTo>
                    <a:pt x="366737" y="30187"/>
                  </a:lnTo>
                  <a:lnTo>
                    <a:pt x="373468" y="23342"/>
                  </a:lnTo>
                  <a:lnTo>
                    <a:pt x="373468" y="15087"/>
                  </a:lnTo>
                  <a:lnTo>
                    <a:pt x="373468" y="6743"/>
                  </a:lnTo>
                  <a:close/>
                </a:path>
                <a:path w="464184" h="356870">
                  <a:moveTo>
                    <a:pt x="385508" y="332803"/>
                  </a:moveTo>
                  <a:lnTo>
                    <a:pt x="378790" y="326059"/>
                  </a:lnTo>
                  <a:lnTo>
                    <a:pt x="362115" y="326059"/>
                  </a:lnTo>
                  <a:lnTo>
                    <a:pt x="355396" y="332803"/>
                  </a:lnTo>
                  <a:lnTo>
                    <a:pt x="355396" y="349402"/>
                  </a:lnTo>
                  <a:lnTo>
                    <a:pt x="362115" y="356247"/>
                  </a:lnTo>
                  <a:lnTo>
                    <a:pt x="378790" y="356247"/>
                  </a:lnTo>
                  <a:lnTo>
                    <a:pt x="385508" y="349402"/>
                  </a:lnTo>
                  <a:lnTo>
                    <a:pt x="385508" y="341147"/>
                  </a:lnTo>
                  <a:lnTo>
                    <a:pt x="385508" y="332803"/>
                  </a:lnTo>
                  <a:close/>
                </a:path>
                <a:path w="464184" h="356870">
                  <a:moveTo>
                    <a:pt x="403580" y="169773"/>
                  </a:moveTo>
                  <a:lnTo>
                    <a:pt x="396849" y="163029"/>
                  </a:lnTo>
                  <a:lnTo>
                    <a:pt x="380187" y="163029"/>
                  </a:lnTo>
                  <a:lnTo>
                    <a:pt x="373468" y="169773"/>
                  </a:lnTo>
                  <a:lnTo>
                    <a:pt x="373468" y="186372"/>
                  </a:lnTo>
                  <a:lnTo>
                    <a:pt x="380187" y="193217"/>
                  </a:lnTo>
                  <a:lnTo>
                    <a:pt x="396849" y="193217"/>
                  </a:lnTo>
                  <a:lnTo>
                    <a:pt x="403580" y="186372"/>
                  </a:lnTo>
                  <a:lnTo>
                    <a:pt x="403580" y="178117"/>
                  </a:lnTo>
                  <a:lnTo>
                    <a:pt x="403580" y="169773"/>
                  </a:lnTo>
                  <a:close/>
                </a:path>
                <a:path w="464184" h="356870">
                  <a:moveTo>
                    <a:pt x="415632" y="6743"/>
                  </a:moveTo>
                  <a:lnTo>
                    <a:pt x="408901" y="0"/>
                  </a:lnTo>
                  <a:lnTo>
                    <a:pt x="392239" y="0"/>
                  </a:lnTo>
                  <a:lnTo>
                    <a:pt x="385508" y="6743"/>
                  </a:lnTo>
                  <a:lnTo>
                    <a:pt x="385508" y="23342"/>
                  </a:lnTo>
                  <a:lnTo>
                    <a:pt x="392239" y="30187"/>
                  </a:lnTo>
                  <a:lnTo>
                    <a:pt x="408901" y="30187"/>
                  </a:lnTo>
                  <a:lnTo>
                    <a:pt x="415632" y="23342"/>
                  </a:lnTo>
                  <a:lnTo>
                    <a:pt x="415632" y="15087"/>
                  </a:lnTo>
                  <a:lnTo>
                    <a:pt x="415632" y="6743"/>
                  </a:lnTo>
                  <a:close/>
                </a:path>
                <a:path w="464184" h="356870">
                  <a:moveTo>
                    <a:pt x="433705" y="332803"/>
                  </a:moveTo>
                  <a:lnTo>
                    <a:pt x="426974" y="326059"/>
                  </a:lnTo>
                  <a:lnTo>
                    <a:pt x="410311" y="326059"/>
                  </a:lnTo>
                  <a:lnTo>
                    <a:pt x="403580" y="332803"/>
                  </a:lnTo>
                  <a:lnTo>
                    <a:pt x="403580" y="349402"/>
                  </a:lnTo>
                  <a:lnTo>
                    <a:pt x="410311" y="356247"/>
                  </a:lnTo>
                  <a:lnTo>
                    <a:pt x="426974" y="356247"/>
                  </a:lnTo>
                  <a:lnTo>
                    <a:pt x="433705" y="349402"/>
                  </a:lnTo>
                  <a:lnTo>
                    <a:pt x="433705" y="341147"/>
                  </a:lnTo>
                  <a:lnTo>
                    <a:pt x="433705" y="332803"/>
                  </a:lnTo>
                  <a:close/>
                </a:path>
                <a:path w="464184" h="356870">
                  <a:moveTo>
                    <a:pt x="445744" y="169773"/>
                  </a:moveTo>
                  <a:lnTo>
                    <a:pt x="439026" y="163029"/>
                  </a:lnTo>
                  <a:lnTo>
                    <a:pt x="422351" y="163029"/>
                  </a:lnTo>
                  <a:lnTo>
                    <a:pt x="415632" y="169773"/>
                  </a:lnTo>
                  <a:lnTo>
                    <a:pt x="415632" y="186372"/>
                  </a:lnTo>
                  <a:lnTo>
                    <a:pt x="422351" y="193217"/>
                  </a:lnTo>
                  <a:lnTo>
                    <a:pt x="439026" y="193217"/>
                  </a:lnTo>
                  <a:lnTo>
                    <a:pt x="445744" y="186372"/>
                  </a:lnTo>
                  <a:lnTo>
                    <a:pt x="445744" y="178117"/>
                  </a:lnTo>
                  <a:lnTo>
                    <a:pt x="445744" y="169773"/>
                  </a:lnTo>
                  <a:close/>
                </a:path>
                <a:path w="464184" h="356870">
                  <a:moveTo>
                    <a:pt x="463816" y="6743"/>
                  </a:moveTo>
                  <a:lnTo>
                    <a:pt x="457085" y="0"/>
                  </a:lnTo>
                  <a:lnTo>
                    <a:pt x="440423" y="0"/>
                  </a:lnTo>
                  <a:lnTo>
                    <a:pt x="433705" y="6743"/>
                  </a:lnTo>
                  <a:lnTo>
                    <a:pt x="433705" y="23342"/>
                  </a:lnTo>
                  <a:lnTo>
                    <a:pt x="440423" y="30187"/>
                  </a:lnTo>
                  <a:lnTo>
                    <a:pt x="457085" y="30187"/>
                  </a:lnTo>
                  <a:lnTo>
                    <a:pt x="463816" y="23342"/>
                  </a:lnTo>
                  <a:lnTo>
                    <a:pt x="463816" y="15087"/>
                  </a:lnTo>
                  <a:lnTo>
                    <a:pt x="463816" y="6743"/>
                  </a:lnTo>
                  <a:close/>
                </a:path>
              </a:pathLst>
            </a:custGeom>
            <a:solidFill>
              <a:srgbClr val="1F487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6" name="object 56"/>
            <p:cNvSpPr/>
            <p:nvPr/>
          </p:nvSpPr>
          <p:spPr>
            <a:xfrm>
              <a:off x="5421250" y="2348128"/>
              <a:ext cx="1831339" cy="882015"/>
            </a:xfrm>
            <a:custGeom>
              <a:avLst/>
              <a:gdLst/>
              <a:ahLst/>
              <a:cxnLst/>
              <a:rect l="l" t="t" r="r" b="b"/>
              <a:pathLst>
                <a:path w="1831340" h="882014">
                  <a:moveTo>
                    <a:pt x="1831177" y="0"/>
                  </a:moveTo>
                  <a:lnTo>
                    <a:pt x="0" y="0"/>
                  </a:lnTo>
                  <a:lnTo>
                    <a:pt x="0" y="881573"/>
                  </a:lnTo>
                  <a:lnTo>
                    <a:pt x="1831177" y="881573"/>
                  </a:lnTo>
                  <a:lnTo>
                    <a:pt x="1831177"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7" name="object 57"/>
            <p:cNvSpPr/>
            <p:nvPr/>
          </p:nvSpPr>
          <p:spPr>
            <a:xfrm>
              <a:off x="5623041" y="2459834"/>
              <a:ext cx="30480" cy="658495"/>
            </a:xfrm>
            <a:custGeom>
              <a:avLst/>
              <a:gdLst/>
              <a:ahLst/>
              <a:cxnLst/>
              <a:rect l="l" t="t" r="r" b="b"/>
              <a:pathLst>
                <a:path w="30479" h="658494">
                  <a:moveTo>
                    <a:pt x="30118" y="658160"/>
                  </a:moveTo>
                  <a:lnTo>
                    <a:pt x="30118" y="0"/>
                  </a:lnTo>
                </a:path>
                <a:path w="30479" h="658494">
                  <a:moveTo>
                    <a:pt x="0" y="658160"/>
                  </a:moveTo>
                  <a:lnTo>
                    <a:pt x="30118" y="658160"/>
                  </a:lnTo>
                </a:path>
                <a:path w="30479" h="658494">
                  <a:moveTo>
                    <a:pt x="0" y="332099"/>
                  </a:moveTo>
                  <a:lnTo>
                    <a:pt x="30118" y="332099"/>
                  </a:lnTo>
                </a:path>
                <a:path w="30479" h="658494">
                  <a:moveTo>
                    <a:pt x="0" y="0"/>
                  </a:moveTo>
                  <a:lnTo>
                    <a:pt x="30118" y="0"/>
                  </a:lnTo>
                </a:path>
              </a:pathLst>
            </a:custGeom>
            <a:ln w="6036">
              <a:solidFill>
                <a:srgbClr val="85858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8" name="object 58"/>
            <p:cNvSpPr/>
            <p:nvPr/>
          </p:nvSpPr>
          <p:spPr>
            <a:xfrm>
              <a:off x="5653159" y="2791933"/>
              <a:ext cx="1488440" cy="0"/>
            </a:xfrm>
            <a:custGeom>
              <a:avLst/>
              <a:gdLst/>
              <a:ahLst/>
              <a:cxnLst/>
              <a:rect l="l" t="t" r="r" b="b"/>
              <a:pathLst>
                <a:path w="1488440">
                  <a:moveTo>
                    <a:pt x="0" y="0"/>
                  </a:moveTo>
                  <a:lnTo>
                    <a:pt x="1027025" y="0"/>
                  </a:lnTo>
                </a:path>
                <a:path w="1488440">
                  <a:moveTo>
                    <a:pt x="1370371" y="0"/>
                  </a:moveTo>
                  <a:lnTo>
                    <a:pt x="1487832" y="0"/>
                  </a:lnTo>
                </a:path>
              </a:pathLst>
            </a:custGeom>
            <a:ln w="6044">
              <a:solidFill>
                <a:srgbClr val="85858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9" name="object 59"/>
            <p:cNvSpPr/>
            <p:nvPr/>
          </p:nvSpPr>
          <p:spPr>
            <a:xfrm>
              <a:off x="6680174" y="2758731"/>
              <a:ext cx="343535" cy="60960"/>
            </a:xfrm>
            <a:custGeom>
              <a:avLst/>
              <a:gdLst/>
              <a:ahLst/>
              <a:cxnLst/>
              <a:rect l="l" t="t" r="r" b="b"/>
              <a:pathLst>
                <a:path w="343534" h="60960">
                  <a:moveTo>
                    <a:pt x="343344" y="0"/>
                  </a:moveTo>
                  <a:lnTo>
                    <a:pt x="343344" y="0"/>
                  </a:lnTo>
                  <a:lnTo>
                    <a:pt x="0" y="0"/>
                  </a:lnTo>
                  <a:lnTo>
                    <a:pt x="0" y="60375"/>
                  </a:lnTo>
                  <a:lnTo>
                    <a:pt x="343344" y="60375"/>
                  </a:lnTo>
                  <a:lnTo>
                    <a:pt x="343344" y="0"/>
                  </a:lnTo>
                  <a:close/>
                </a:path>
              </a:pathLst>
            </a:custGeom>
            <a:solidFill>
              <a:srgbClr val="FB041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0" name="object 60"/>
            <p:cNvSpPr/>
            <p:nvPr/>
          </p:nvSpPr>
          <p:spPr>
            <a:xfrm>
              <a:off x="10017266" y="3253854"/>
              <a:ext cx="1831339" cy="882015"/>
            </a:xfrm>
            <a:custGeom>
              <a:avLst/>
              <a:gdLst/>
              <a:ahLst/>
              <a:cxnLst/>
              <a:rect l="l" t="t" r="r" b="b"/>
              <a:pathLst>
                <a:path w="1831340" h="882014">
                  <a:moveTo>
                    <a:pt x="1831177" y="0"/>
                  </a:moveTo>
                  <a:lnTo>
                    <a:pt x="0" y="0"/>
                  </a:lnTo>
                  <a:lnTo>
                    <a:pt x="0" y="881573"/>
                  </a:lnTo>
                  <a:lnTo>
                    <a:pt x="1831177" y="881573"/>
                  </a:lnTo>
                  <a:lnTo>
                    <a:pt x="1831177"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1" name="object 61"/>
            <p:cNvSpPr/>
            <p:nvPr/>
          </p:nvSpPr>
          <p:spPr>
            <a:xfrm>
              <a:off x="10225080" y="3365560"/>
              <a:ext cx="1511935" cy="658495"/>
            </a:xfrm>
            <a:custGeom>
              <a:avLst/>
              <a:gdLst/>
              <a:ahLst/>
              <a:cxnLst/>
              <a:rect l="l" t="t" r="r" b="b"/>
              <a:pathLst>
                <a:path w="1511934" h="658495">
                  <a:moveTo>
                    <a:pt x="30118" y="658160"/>
                  </a:moveTo>
                  <a:lnTo>
                    <a:pt x="1511926" y="658160"/>
                  </a:lnTo>
                </a:path>
                <a:path w="1511934" h="658495">
                  <a:moveTo>
                    <a:pt x="30118" y="495130"/>
                  </a:moveTo>
                  <a:lnTo>
                    <a:pt x="1511926" y="495130"/>
                  </a:lnTo>
                </a:path>
                <a:path w="1511934" h="658495">
                  <a:moveTo>
                    <a:pt x="30118" y="163030"/>
                  </a:moveTo>
                  <a:lnTo>
                    <a:pt x="1511926" y="163030"/>
                  </a:lnTo>
                </a:path>
                <a:path w="1511934" h="658495">
                  <a:moveTo>
                    <a:pt x="30118" y="0"/>
                  </a:moveTo>
                  <a:lnTo>
                    <a:pt x="1511926" y="0"/>
                  </a:lnTo>
                </a:path>
                <a:path w="1511934" h="658495">
                  <a:moveTo>
                    <a:pt x="30118" y="658160"/>
                  </a:moveTo>
                  <a:lnTo>
                    <a:pt x="30118" y="0"/>
                  </a:lnTo>
                </a:path>
                <a:path w="1511934" h="658495">
                  <a:moveTo>
                    <a:pt x="0" y="658160"/>
                  </a:moveTo>
                  <a:lnTo>
                    <a:pt x="30118" y="658160"/>
                  </a:lnTo>
                </a:path>
                <a:path w="1511934" h="658495">
                  <a:moveTo>
                    <a:pt x="0" y="495130"/>
                  </a:moveTo>
                  <a:lnTo>
                    <a:pt x="30118" y="495130"/>
                  </a:lnTo>
                </a:path>
                <a:path w="1511934" h="658495">
                  <a:moveTo>
                    <a:pt x="0" y="332099"/>
                  </a:moveTo>
                  <a:lnTo>
                    <a:pt x="30118" y="332099"/>
                  </a:lnTo>
                </a:path>
                <a:path w="1511934" h="658495">
                  <a:moveTo>
                    <a:pt x="0" y="163030"/>
                  </a:moveTo>
                  <a:lnTo>
                    <a:pt x="30118" y="163030"/>
                  </a:lnTo>
                </a:path>
                <a:path w="1511934" h="658495">
                  <a:moveTo>
                    <a:pt x="0" y="0"/>
                  </a:moveTo>
                  <a:lnTo>
                    <a:pt x="30118" y="0"/>
                  </a:lnTo>
                </a:path>
                <a:path w="1511934" h="658495">
                  <a:moveTo>
                    <a:pt x="30118" y="332099"/>
                  </a:moveTo>
                  <a:lnTo>
                    <a:pt x="1511926" y="332099"/>
                  </a:lnTo>
                </a:path>
              </a:pathLst>
            </a:custGeom>
            <a:ln w="6036">
              <a:solidFill>
                <a:srgbClr val="85858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2" name="object 62"/>
            <p:cNvSpPr/>
            <p:nvPr/>
          </p:nvSpPr>
          <p:spPr>
            <a:xfrm>
              <a:off x="10252176" y="3676535"/>
              <a:ext cx="1144905" cy="30480"/>
            </a:xfrm>
            <a:custGeom>
              <a:avLst/>
              <a:gdLst/>
              <a:ahLst/>
              <a:cxnLst/>
              <a:rect l="l" t="t" r="r" b="b"/>
              <a:pathLst>
                <a:path w="1144904" h="30479">
                  <a:moveTo>
                    <a:pt x="445757" y="6743"/>
                  </a:moveTo>
                  <a:lnTo>
                    <a:pt x="439026" y="0"/>
                  </a:lnTo>
                  <a:lnTo>
                    <a:pt x="426974" y="0"/>
                  </a:lnTo>
                  <a:lnTo>
                    <a:pt x="422363" y="0"/>
                  </a:lnTo>
                  <a:lnTo>
                    <a:pt x="410311" y="0"/>
                  </a:lnTo>
                  <a:lnTo>
                    <a:pt x="409600" y="711"/>
                  </a:lnTo>
                  <a:lnTo>
                    <a:pt x="408901" y="0"/>
                  </a:lnTo>
                  <a:lnTo>
                    <a:pt x="396862" y="0"/>
                  </a:lnTo>
                  <a:lnTo>
                    <a:pt x="392239" y="0"/>
                  </a:lnTo>
                  <a:lnTo>
                    <a:pt x="380199" y="0"/>
                  </a:lnTo>
                  <a:lnTo>
                    <a:pt x="379488" y="711"/>
                  </a:lnTo>
                  <a:lnTo>
                    <a:pt x="378790" y="0"/>
                  </a:lnTo>
                  <a:lnTo>
                    <a:pt x="366737" y="0"/>
                  </a:lnTo>
                  <a:lnTo>
                    <a:pt x="362127" y="0"/>
                  </a:lnTo>
                  <a:lnTo>
                    <a:pt x="350075" y="0"/>
                  </a:lnTo>
                  <a:lnTo>
                    <a:pt x="349364" y="711"/>
                  </a:lnTo>
                  <a:lnTo>
                    <a:pt x="348665" y="0"/>
                  </a:lnTo>
                  <a:lnTo>
                    <a:pt x="336626" y="0"/>
                  </a:lnTo>
                  <a:lnTo>
                    <a:pt x="332003" y="0"/>
                  </a:lnTo>
                  <a:lnTo>
                    <a:pt x="319963" y="0"/>
                  </a:lnTo>
                  <a:lnTo>
                    <a:pt x="319252" y="711"/>
                  </a:lnTo>
                  <a:lnTo>
                    <a:pt x="318554" y="0"/>
                  </a:lnTo>
                  <a:lnTo>
                    <a:pt x="306501" y="0"/>
                  </a:lnTo>
                  <a:lnTo>
                    <a:pt x="301891" y="0"/>
                  </a:lnTo>
                  <a:lnTo>
                    <a:pt x="294462" y="0"/>
                  </a:lnTo>
                  <a:lnTo>
                    <a:pt x="289839" y="0"/>
                  </a:lnTo>
                  <a:lnTo>
                    <a:pt x="277787" y="0"/>
                  </a:lnTo>
                  <a:lnTo>
                    <a:pt x="277088" y="711"/>
                  </a:lnTo>
                  <a:lnTo>
                    <a:pt x="276390" y="0"/>
                  </a:lnTo>
                  <a:lnTo>
                    <a:pt x="264337" y="0"/>
                  </a:lnTo>
                  <a:lnTo>
                    <a:pt x="259727" y="0"/>
                  </a:lnTo>
                  <a:lnTo>
                    <a:pt x="247675" y="0"/>
                  </a:lnTo>
                  <a:lnTo>
                    <a:pt x="246964" y="711"/>
                  </a:lnTo>
                  <a:lnTo>
                    <a:pt x="246265" y="0"/>
                  </a:lnTo>
                  <a:lnTo>
                    <a:pt x="234226" y="0"/>
                  </a:lnTo>
                  <a:lnTo>
                    <a:pt x="229603" y="0"/>
                  </a:lnTo>
                  <a:lnTo>
                    <a:pt x="217551" y="0"/>
                  </a:lnTo>
                  <a:lnTo>
                    <a:pt x="216852" y="711"/>
                  </a:lnTo>
                  <a:lnTo>
                    <a:pt x="216154" y="0"/>
                  </a:lnTo>
                  <a:lnTo>
                    <a:pt x="204101" y="0"/>
                  </a:lnTo>
                  <a:lnTo>
                    <a:pt x="199491" y="0"/>
                  </a:lnTo>
                  <a:lnTo>
                    <a:pt x="187439" y="0"/>
                  </a:lnTo>
                  <a:lnTo>
                    <a:pt x="186728" y="711"/>
                  </a:lnTo>
                  <a:lnTo>
                    <a:pt x="186029" y="0"/>
                  </a:lnTo>
                  <a:lnTo>
                    <a:pt x="173990" y="0"/>
                  </a:lnTo>
                  <a:lnTo>
                    <a:pt x="169367" y="0"/>
                  </a:lnTo>
                  <a:lnTo>
                    <a:pt x="157314" y="0"/>
                  </a:lnTo>
                  <a:lnTo>
                    <a:pt x="156616" y="711"/>
                  </a:lnTo>
                  <a:lnTo>
                    <a:pt x="155917" y="0"/>
                  </a:lnTo>
                  <a:lnTo>
                    <a:pt x="143865" y="0"/>
                  </a:lnTo>
                  <a:lnTo>
                    <a:pt x="139255" y="0"/>
                  </a:lnTo>
                  <a:lnTo>
                    <a:pt x="131826" y="0"/>
                  </a:lnTo>
                  <a:lnTo>
                    <a:pt x="127203" y="0"/>
                  </a:lnTo>
                  <a:lnTo>
                    <a:pt x="115150" y="0"/>
                  </a:lnTo>
                  <a:lnTo>
                    <a:pt x="114452" y="711"/>
                  </a:lnTo>
                  <a:lnTo>
                    <a:pt x="113753" y="0"/>
                  </a:lnTo>
                  <a:lnTo>
                    <a:pt x="101701" y="0"/>
                  </a:lnTo>
                  <a:lnTo>
                    <a:pt x="97078" y="0"/>
                  </a:lnTo>
                  <a:lnTo>
                    <a:pt x="85039" y="0"/>
                  </a:lnTo>
                  <a:lnTo>
                    <a:pt x="84328" y="711"/>
                  </a:lnTo>
                  <a:lnTo>
                    <a:pt x="83629" y="0"/>
                  </a:lnTo>
                  <a:lnTo>
                    <a:pt x="71589" y="0"/>
                  </a:lnTo>
                  <a:lnTo>
                    <a:pt x="66967" y="0"/>
                  </a:lnTo>
                  <a:lnTo>
                    <a:pt x="54914" y="0"/>
                  </a:lnTo>
                  <a:lnTo>
                    <a:pt x="54216" y="711"/>
                  </a:lnTo>
                  <a:lnTo>
                    <a:pt x="53517" y="0"/>
                  </a:lnTo>
                  <a:lnTo>
                    <a:pt x="41465" y="0"/>
                  </a:lnTo>
                  <a:lnTo>
                    <a:pt x="36842" y="0"/>
                  </a:lnTo>
                  <a:lnTo>
                    <a:pt x="24803" y="0"/>
                  </a:lnTo>
                  <a:lnTo>
                    <a:pt x="24091" y="711"/>
                  </a:lnTo>
                  <a:lnTo>
                    <a:pt x="23393" y="0"/>
                  </a:lnTo>
                  <a:lnTo>
                    <a:pt x="6731" y="0"/>
                  </a:lnTo>
                  <a:lnTo>
                    <a:pt x="0" y="6743"/>
                  </a:lnTo>
                  <a:lnTo>
                    <a:pt x="0" y="23342"/>
                  </a:lnTo>
                  <a:lnTo>
                    <a:pt x="6731" y="30187"/>
                  </a:lnTo>
                  <a:lnTo>
                    <a:pt x="23393" y="30187"/>
                  </a:lnTo>
                  <a:lnTo>
                    <a:pt x="24091" y="29476"/>
                  </a:lnTo>
                  <a:lnTo>
                    <a:pt x="24803" y="30187"/>
                  </a:lnTo>
                  <a:lnTo>
                    <a:pt x="36842" y="30187"/>
                  </a:lnTo>
                  <a:lnTo>
                    <a:pt x="41465" y="30187"/>
                  </a:lnTo>
                  <a:lnTo>
                    <a:pt x="53517" y="30187"/>
                  </a:lnTo>
                  <a:lnTo>
                    <a:pt x="54216" y="29476"/>
                  </a:lnTo>
                  <a:lnTo>
                    <a:pt x="54914" y="30187"/>
                  </a:lnTo>
                  <a:lnTo>
                    <a:pt x="66967" y="30187"/>
                  </a:lnTo>
                  <a:lnTo>
                    <a:pt x="71589" y="30187"/>
                  </a:lnTo>
                  <a:lnTo>
                    <a:pt x="83629" y="30187"/>
                  </a:lnTo>
                  <a:lnTo>
                    <a:pt x="84328" y="29476"/>
                  </a:lnTo>
                  <a:lnTo>
                    <a:pt x="85039" y="30187"/>
                  </a:lnTo>
                  <a:lnTo>
                    <a:pt x="97078" y="30187"/>
                  </a:lnTo>
                  <a:lnTo>
                    <a:pt x="101701" y="30187"/>
                  </a:lnTo>
                  <a:lnTo>
                    <a:pt x="113753" y="30187"/>
                  </a:lnTo>
                  <a:lnTo>
                    <a:pt x="114452" y="29476"/>
                  </a:lnTo>
                  <a:lnTo>
                    <a:pt x="115150" y="30187"/>
                  </a:lnTo>
                  <a:lnTo>
                    <a:pt x="127203" y="30187"/>
                  </a:lnTo>
                  <a:lnTo>
                    <a:pt x="131826" y="30187"/>
                  </a:lnTo>
                  <a:lnTo>
                    <a:pt x="139255" y="30187"/>
                  </a:lnTo>
                  <a:lnTo>
                    <a:pt x="143865" y="30187"/>
                  </a:lnTo>
                  <a:lnTo>
                    <a:pt x="155917" y="30187"/>
                  </a:lnTo>
                  <a:lnTo>
                    <a:pt x="156616" y="29476"/>
                  </a:lnTo>
                  <a:lnTo>
                    <a:pt x="157314" y="30187"/>
                  </a:lnTo>
                  <a:lnTo>
                    <a:pt x="169367" y="30187"/>
                  </a:lnTo>
                  <a:lnTo>
                    <a:pt x="173990" y="30187"/>
                  </a:lnTo>
                  <a:lnTo>
                    <a:pt x="186029" y="30187"/>
                  </a:lnTo>
                  <a:lnTo>
                    <a:pt x="186728" y="29476"/>
                  </a:lnTo>
                  <a:lnTo>
                    <a:pt x="187439" y="30187"/>
                  </a:lnTo>
                  <a:lnTo>
                    <a:pt x="199491" y="30187"/>
                  </a:lnTo>
                  <a:lnTo>
                    <a:pt x="204101" y="30187"/>
                  </a:lnTo>
                  <a:lnTo>
                    <a:pt x="216154" y="30187"/>
                  </a:lnTo>
                  <a:lnTo>
                    <a:pt x="216852" y="29476"/>
                  </a:lnTo>
                  <a:lnTo>
                    <a:pt x="217551" y="30187"/>
                  </a:lnTo>
                  <a:lnTo>
                    <a:pt x="229603" y="30187"/>
                  </a:lnTo>
                  <a:lnTo>
                    <a:pt x="234226" y="30187"/>
                  </a:lnTo>
                  <a:lnTo>
                    <a:pt x="246265" y="30187"/>
                  </a:lnTo>
                  <a:lnTo>
                    <a:pt x="246964" y="29476"/>
                  </a:lnTo>
                  <a:lnTo>
                    <a:pt x="247675" y="30187"/>
                  </a:lnTo>
                  <a:lnTo>
                    <a:pt x="259727" y="30187"/>
                  </a:lnTo>
                  <a:lnTo>
                    <a:pt x="264337" y="30187"/>
                  </a:lnTo>
                  <a:lnTo>
                    <a:pt x="276390" y="30187"/>
                  </a:lnTo>
                  <a:lnTo>
                    <a:pt x="277088" y="29476"/>
                  </a:lnTo>
                  <a:lnTo>
                    <a:pt x="277787" y="30187"/>
                  </a:lnTo>
                  <a:lnTo>
                    <a:pt x="289839" y="30187"/>
                  </a:lnTo>
                  <a:lnTo>
                    <a:pt x="294462" y="30187"/>
                  </a:lnTo>
                  <a:lnTo>
                    <a:pt x="301891" y="30187"/>
                  </a:lnTo>
                  <a:lnTo>
                    <a:pt x="306501" y="30187"/>
                  </a:lnTo>
                  <a:lnTo>
                    <a:pt x="318554" y="30187"/>
                  </a:lnTo>
                  <a:lnTo>
                    <a:pt x="319252" y="29476"/>
                  </a:lnTo>
                  <a:lnTo>
                    <a:pt x="319963" y="30187"/>
                  </a:lnTo>
                  <a:lnTo>
                    <a:pt x="332003" y="30187"/>
                  </a:lnTo>
                  <a:lnTo>
                    <a:pt x="336626" y="30187"/>
                  </a:lnTo>
                  <a:lnTo>
                    <a:pt x="348665" y="30187"/>
                  </a:lnTo>
                  <a:lnTo>
                    <a:pt x="349364" y="29476"/>
                  </a:lnTo>
                  <a:lnTo>
                    <a:pt x="350075" y="30187"/>
                  </a:lnTo>
                  <a:lnTo>
                    <a:pt x="362127" y="30187"/>
                  </a:lnTo>
                  <a:lnTo>
                    <a:pt x="366737" y="30187"/>
                  </a:lnTo>
                  <a:lnTo>
                    <a:pt x="378790" y="30187"/>
                  </a:lnTo>
                  <a:lnTo>
                    <a:pt x="379488" y="29476"/>
                  </a:lnTo>
                  <a:lnTo>
                    <a:pt x="380199" y="30187"/>
                  </a:lnTo>
                  <a:lnTo>
                    <a:pt x="392239" y="30187"/>
                  </a:lnTo>
                  <a:lnTo>
                    <a:pt x="396862" y="30187"/>
                  </a:lnTo>
                  <a:lnTo>
                    <a:pt x="408901" y="30187"/>
                  </a:lnTo>
                  <a:lnTo>
                    <a:pt x="409600" y="29476"/>
                  </a:lnTo>
                  <a:lnTo>
                    <a:pt x="410311" y="30187"/>
                  </a:lnTo>
                  <a:lnTo>
                    <a:pt x="422363" y="30187"/>
                  </a:lnTo>
                  <a:lnTo>
                    <a:pt x="426974" y="30187"/>
                  </a:lnTo>
                  <a:lnTo>
                    <a:pt x="439026" y="30187"/>
                  </a:lnTo>
                  <a:lnTo>
                    <a:pt x="445757" y="23342"/>
                  </a:lnTo>
                  <a:lnTo>
                    <a:pt x="445757" y="15087"/>
                  </a:lnTo>
                  <a:lnTo>
                    <a:pt x="445757" y="6743"/>
                  </a:lnTo>
                  <a:close/>
                </a:path>
                <a:path w="1144904" h="30479">
                  <a:moveTo>
                    <a:pt x="1144485" y="6743"/>
                  </a:moveTo>
                  <a:lnTo>
                    <a:pt x="1137767" y="0"/>
                  </a:lnTo>
                  <a:lnTo>
                    <a:pt x="1121105" y="0"/>
                  </a:lnTo>
                  <a:lnTo>
                    <a:pt x="1120394" y="711"/>
                  </a:lnTo>
                  <a:lnTo>
                    <a:pt x="1119695" y="0"/>
                  </a:lnTo>
                  <a:lnTo>
                    <a:pt x="1107643" y="0"/>
                  </a:lnTo>
                  <a:lnTo>
                    <a:pt x="1103033" y="0"/>
                  </a:lnTo>
                  <a:lnTo>
                    <a:pt x="1090980" y="0"/>
                  </a:lnTo>
                  <a:lnTo>
                    <a:pt x="1090269" y="711"/>
                  </a:lnTo>
                  <a:lnTo>
                    <a:pt x="1089571" y="0"/>
                  </a:lnTo>
                  <a:lnTo>
                    <a:pt x="1077531" y="0"/>
                  </a:lnTo>
                  <a:lnTo>
                    <a:pt x="1072908" y="0"/>
                  </a:lnTo>
                  <a:lnTo>
                    <a:pt x="1060869" y="0"/>
                  </a:lnTo>
                  <a:lnTo>
                    <a:pt x="1060157" y="711"/>
                  </a:lnTo>
                  <a:lnTo>
                    <a:pt x="1059459" y="0"/>
                  </a:lnTo>
                  <a:lnTo>
                    <a:pt x="1047407" y="0"/>
                  </a:lnTo>
                  <a:lnTo>
                    <a:pt x="1042797" y="0"/>
                  </a:lnTo>
                  <a:lnTo>
                    <a:pt x="1030744" y="0"/>
                  </a:lnTo>
                  <a:lnTo>
                    <a:pt x="1030033" y="711"/>
                  </a:lnTo>
                  <a:lnTo>
                    <a:pt x="1029335" y="0"/>
                  </a:lnTo>
                  <a:lnTo>
                    <a:pt x="1017295" y="0"/>
                  </a:lnTo>
                  <a:lnTo>
                    <a:pt x="1012672" y="0"/>
                  </a:lnTo>
                  <a:lnTo>
                    <a:pt x="1005243" y="0"/>
                  </a:lnTo>
                  <a:lnTo>
                    <a:pt x="1000633" y="0"/>
                  </a:lnTo>
                  <a:lnTo>
                    <a:pt x="988580" y="0"/>
                  </a:lnTo>
                  <a:lnTo>
                    <a:pt x="987869" y="711"/>
                  </a:lnTo>
                  <a:lnTo>
                    <a:pt x="987171" y="0"/>
                  </a:lnTo>
                  <a:lnTo>
                    <a:pt x="975131" y="0"/>
                  </a:lnTo>
                  <a:lnTo>
                    <a:pt x="970508" y="0"/>
                  </a:lnTo>
                  <a:lnTo>
                    <a:pt x="958456" y="0"/>
                  </a:lnTo>
                  <a:lnTo>
                    <a:pt x="957757" y="711"/>
                  </a:lnTo>
                  <a:lnTo>
                    <a:pt x="957059" y="0"/>
                  </a:lnTo>
                  <a:lnTo>
                    <a:pt x="945007" y="0"/>
                  </a:lnTo>
                  <a:lnTo>
                    <a:pt x="940396" y="0"/>
                  </a:lnTo>
                  <a:lnTo>
                    <a:pt x="928344" y="0"/>
                  </a:lnTo>
                  <a:lnTo>
                    <a:pt x="927633" y="711"/>
                  </a:lnTo>
                  <a:lnTo>
                    <a:pt x="926934" y="0"/>
                  </a:lnTo>
                  <a:lnTo>
                    <a:pt x="914895" y="0"/>
                  </a:lnTo>
                  <a:lnTo>
                    <a:pt x="910272" y="0"/>
                  </a:lnTo>
                  <a:lnTo>
                    <a:pt x="898220" y="0"/>
                  </a:lnTo>
                  <a:lnTo>
                    <a:pt x="897521" y="711"/>
                  </a:lnTo>
                  <a:lnTo>
                    <a:pt x="896823" y="0"/>
                  </a:lnTo>
                  <a:lnTo>
                    <a:pt x="884770" y="0"/>
                  </a:lnTo>
                  <a:lnTo>
                    <a:pt x="880160" y="0"/>
                  </a:lnTo>
                  <a:lnTo>
                    <a:pt x="868108" y="0"/>
                  </a:lnTo>
                  <a:lnTo>
                    <a:pt x="867397" y="711"/>
                  </a:lnTo>
                  <a:lnTo>
                    <a:pt x="866698" y="0"/>
                  </a:lnTo>
                  <a:lnTo>
                    <a:pt x="854659" y="0"/>
                  </a:lnTo>
                  <a:lnTo>
                    <a:pt x="850036" y="0"/>
                  </a:lnTo>
                  <a:lnTo>
                    <a:pt x="842606" y="0"/>
                  </a:lnTo>
                  <a:lnTo>
                    <a:pt x="837984" y="0"/>
                  </a:lnTo>
                  <a:lnTo>
                    <a:pt x="825944" y="0"/>
                  </a:lnTo>
                  <a:lnTo>
                    <a:pt x="825233" y="711"/>
                  </a:lnTo>
                  <a:lnTo>
                    <a:pt x="824534" y="0"/>
                  </a:lnTo>
                  <a:lnTo>
                    <a:pt x="812495" y="0"/>
                  </a:lnTo>
                  <a:lnTo>
                    <a:pt x="807872" y="0"/>
                  </a:lnTo>
                  <a:lnTo>
                    <a:pt x="795820" y="0"/>
                  </a:lnTo>
                  <a:lnTo>
                    <a:pt x="795121" y="711"/>
                  </a:lnTo>
                  <a:lnTo>
                    <a:pt x="794423" y="0"/>
                  </a:lnTo>
                  <a:lnTo>
                    <a:pt x="782370" y="0"/>
                  </a:lnTo>
                  <a:lnTo>
                    <a:pt x="777748" y="0"/>
                  </a:lnTo>
                  <a:lnTo>
                    <a:pt x="765708" y="0"/>
                  </a:lnTo>
                  <a:lnTo>
                    <a:pt x="764997" y="711"/>
                  </a:lnTo>
                  <a:lnTo>
                    <a:pt x="764298" y="0"/>
                  </a:lnTo>
                  <a:lnTo>
                    <a:pt x="752259" y="0"/>
                  </a:lnTo>
                  <a:lnTo>
                    <a:pt x="747636" y="0"/>
                  </a:lnTo>
                  <a:lnTo>
                    <a:pt x="735584" y="0"/>
                  </a:lnTo>
                  <a:lnTo>
                    <a:pt x="734885" y="711"/>
                  </a:lnTo>
                  <a:lnTo>
                    <a:pt x="734187" y="0"/>
                  </a:lnTo>
                  <a:lnTo>
                    <a:pt x="722134" y="0"/>
                  </a:lnTo>
                  <a:lnTo>
                    <a:pt x="717511" y="0"/>
                  </a:lnTo>
                  <a:lnTo>
                    <a:pt x="705472" y="0"/>
                  </a:lnTo>
                  <a:lnTo>
                    <a:pt x="704761" y="711"/>
                  </a:lnTo>
                  <a:lnTo>
                    <a:pt x="704062" y="0"/>
                  </a:lnTo>
                  <a:lnTo>
                    <a:pt x="692023" y="0"/>
                  </a:lnTo>
                  <a:lnTo>
                    <a:pt x="687400" y="0"/>
                  </a:lnTo>
                  <a:lnTo>
                    <a:pt x="675347" y="0"/>
                  </a:lnTo>
                  <a:lnTo>
                    <a:pt x="674649" y="711"/>
                  </a:lnTo>
                  <a:lnTo>
                    <a:pt x="673950" y="0"/>
                  </a:lnTo>
                  <a:lnTo>
                    <a:pt x="633183" y="0"/>
                  </a:lnTo>
                  <a:lnTo>
                    <a:pt x="632485" y="711"/>
                  </a:lnTo>
                  <a:lnTo>
                    <a:pt x="631786" y="0"/>
                  </a:lnTo>
                  <a:lnTo>
                    <a:pt x="619734" y="0"/>
                  </a:lnTo>
                  <a:lnTo>
                    <a:pt x="615111" y="0"/>
                  </a:lnTo>
                  <a:lnTo>
                    <a:pt x="603072" y="0"/>
                  </a:lnTo>
                  <a:lnTo>
                    <a:pt x="602361" y="711"/>
                  </a:lnTo>
                  <a:lnTo>
                    <a:pt x="601662" y="0"/>
                  </a:lnTo>
                  <a:lnTo>
                    <a:pt x="589610" y="0"/>
                  </a:lnTo>
                  <a:lnTo>
                    <a:pt x="585000" y="0"/>
                  </a:lnTo>
                  <a:lnTo>
                    <a:pt x="572947" y="0"/>
                  </a:lnTo>
                  <a:lnTo>
                    <a:pt x="572249" y="711"/>
                  </a:lnTo>
                  <a:lnTo>
                    <a:pt x="571550" y="0"/>
                  </a:lnTo>
                  <a:lnTo>
                    <a:pt x="559498" y="0"/>
                  </a:lnTo>
                  <a:lnTo>
                    <a:pt x="554875" y="0"/>
                  </a:lnTo>
                  <a:lnTo>
                    <a:pt x="542836" y="0"/>
                  </a:lnTo>
                  <a:lnTo>
                    <a:pt x="542124" y="711"/>
                  </a:lnTo>
                  <a:lnTo>
                    <a:pt x="541426" y="0"/>
                  </a:lnTo>
                  <a:lnTo>
                    <a:pt x="529374" y="0"/>
                  </a:lnTo>
                  <a:lnTo>
                    <a:pt x="524764" y="0"/>
                  </a:lnTo>
                  <a:lnTo>
                    <a:pt x="512711" y="0"/>
                  </a:lnTo>
                  <a:lnTo>
                    <a:pt x="505993" y="6743"/>
                  </a:lnTo>
                  <a:lnTo>
                    <a:pt x="505993" y="23342"/>
                  </a:lnTo>
                  <a:lnTo>
                    <a:pt x="512711" y="30187"/>
                  </a:lnTo>
                  <a:lnTo>
                    <a:pt x="524764" y="30187"/>
                  </a:lnTo>
                  <a:lnTo>
                    <a:pt x="529374" y="30187"/>
                  </a:lnTo>
                  <a:lnTo>
                    <a:pt x="541426" y="30187"/>
                  </a:lnTo>
                  <a:lnTo>
                    <a:pt x="542124" y="29476"/>
                  </a:lnTo>
                  <a:lnTo>
                    <a:pt x="542836" y="30187"/>
                  </a:lnTo>
                  <a:lnTo>
                    <a:pt x="554875" y="30187"/>
                  </a:lnTo>
                  <a:lnTo>
                    <a:pt x="559498" y="30187"/>
                  </a:lnTo>
                  <a:lnTo>
                    <a:pt x="571550" y="30187"/>
                  </a:lnTo>
                  <a:lnTo>
                    <a:pt x="572249" y="29476"/>
                  </a:lnTo>
                  <a:lnTo>
                    <a:pt x="572947" y="30187"/>
                  </a:lnTo>
                  <a:lnTo>
                    <a:pt x="585000" y="30187"/>
                  </a:lnTo>
                  <a:lnTo>
                    <a:pt x="589610" y="30187"/>
                  </a:lnTo>
                  <a:lnTo>
                    <a:pt x="601662" y="30187"/>
                  </a:lnTo>
                  <a:lnTo>
                    <a:pt x="602361" y="29476"/>
                  </a:lnTo>
                  <a:lnTo>
                    <a:pt x="603072" y="30187"/>
                  </a:lnTo>
                  <a:lnTo>
                    <a:pt x="615111" y="30187"/>
                  </a:lnTo>
                  <a:lnTo>
                    <a:pt x="619734" y="30187"/>
                  </a:lnTo>
                  <a:lnTo>
                    <a:pt x="631786" y="30187"/>
                  </a:lnTo>
                  <a:lnTo>
                    <a:pt x="632485" y="29476"/>
                  </a:lnTo>
                  <a:lnTo>
                    <a:pt x="633183" y="30187"/>
                  </a:lnTo>
                  <a:lnTo>
                    <a:pt x="645236" y="30187"/>
                  </a:lnTo>
                  <a:lnTo>
                    <a:pt x="649846" y="30187"/>
                  </a:lnTo>
                  <a:lnTo>
                    <a:pt x="657275" y="30187"/>
                  </a:lnTo>
                  <a:lnTo>
                    <a:pt x="661898" y="30187"/>
                  </a:lnTo>
                  <a:lnTo>
                    <a:pt x="673950" y="30187"/>
                  </a:lnTo>
                  <a:lnTo>
                    <a:pt x="674649" y="29476"/>
                  </a:lnTo>
                  <a:lnTo>
                    <a:pt x="675347" y="30187"/>
                  </a:lnTo>
                  <a:lnTo>
                    <a:pt x="687400" y="30187"/>
                  </a:lnTo>
                  <a:lnTo>
                    <a:pt x="692023" y="30187"/>
                  </a:lnTo>
                  <a:lnTo>
                    <a:pt x="704062" y="30187"/>
                  </a:lnTo>
                  <a:lnTo>
                    <a:pt x="704761" y="29476"/>
                  </a:lnTo>
                  <a:lnTo>
                    <a:pt x="705472" y="30187"/>
                  </a:lnTo>
                  <a:lnTo>
                    <a:pt x="717511" y="30187"/>
                  </a:lnTo>
                  <a:lnTo>
                    <a:pt x="722134" y="30187"/>
                  </a:lnTo>
                  <a:lnTo>
                    <a:pt x="734187" y="30187"/>
                  </a:lnTo>
                  <a:lnTo>
                    <a:pt x="734885" y="29476"/>
                  </a:lnTo>
                  <a:lnTo>
                    <a:pt x="735584" y="30187"/>
                  </a:lnTo>
                  <a:lnTo>
                    <a:pt x="747636" y="30187"/>
                  </a:lnTo>
                  <a:lnTo>
                    <a:pt x="752259" y="30187"/>
                  </a:lnTo>
                  <a:lnTo>
                    <a:pt x="764298" y="30187"/>
                  </a:lnTo>
                  <a:lnTo>
                    <a:pt x="764997" y="29476"/>
                  </a:lnTo>
                  <a:lnTo>
                    <a:pt x="765708" y="30187"/>
                  </a:lnTo>
                  <a:lnTo>
                    <a:pt x="777748" y="30187"/>
                  </a:lnTo>
                  <a:lnTo>
                    <a:pt x="782370" y="30187"/>
                  </a:lnTo>
                  <a:lnTo>
                    <a:pt x="794423" y="30187"/>
                  </a:lnTo>
                  <a:lnTo>
                    <a:pt x="795121" y="29476"/>
                  </a:lnTo>
                  <a:lnTo>
                    <a:pt x="795820" y="30187"/>
                  </a:lnTo>
                  <a:lnTo>
                    <a:pt x="807872" y="30187"/>
                  </a:lnTo>
                  <a:lnTo>
                    <a:pt x="812495" y="30187"/>
                  </a:lnTo>
                  <a:lnTo>
                    <a:pt x="824534" y="30187"/>
                  </a:lnTo>
                  <a:lnTo>
                    <a:pt x="825233" y="29476"/>
                  </a:lnTo>
                  <a:lnTo>
                    <a:pt x="825944" y="30187"/>
                  </a:lnTo>
                  <a:lnTo>
                    <a:pt x="866698" y="30187"/>
                  </a:lnTo>
                  <a:lnTo>
                    <a:pt x="867397" y="29476"/>
                  </a:lnTo>
                  <a:lnTo>
                    <a:pt x="868108" y="30187"/>
                  </a:lnTo>
                  <a:lnTo>
                    <a:pt x="880160" y="30187"/>
                  </a:lnTo>
                  <a:lnTo>
                    <a:pt x="884770" y="30187"/>
                  </a:lnTo>
                  <a:lnTo>
                    <a:pt x="896823" y="30187"/>
                  </a:lnTo>
                  <a:lnTo>
                    <a:pt x="897521" y="29476"/>
                  </a:lnTo>
                  <a:lnTo>
                    <a:pt x="898220" y="30187"/>
                  </a:lnTo>
                  <a:lnTo>
                    <a:pt x="910272" y="30187"/>
                  </a:lnTo>
                  <a:lnTo>
                    <a:pt x="914895" y="30187"/>
                  </a:lnTo>
                  <a:lnTo>
                    <a:pt x="926934" y="30187"/>
                  </a:lnTo>
                  <a:lnTo>
                    <a:pt x="927633" y="29476"/>
                  </a:lnTo>
                  <a:lnTo>
                    <a:pt x="928344" y="30187"/>
                  </a:lnTo>
                  <a:lnTo>
                    <a:pt x="940396" y="30187"/>
                  </a:lnTo>
                  <a:lnTo>
                    <a:pt x="945007" y="30187"/>
                  </a:lnTo>
                  <a:lnTo>
                    <a:pt x="957059" y="30187"/>
                  </a:lnTo>
                  <a:lnTo>
                    <a:pt x="957757" y="29476"/>
                  </a:lnTo>
                  <a:lnTo>
                    <a:pt x="958456" y="30187"/>
                  </a:lnTo>
                  <a:lnTo>
                    <a:pt x="970508" y="30187"/>
                  </a:lnTo>
                  <a:lnTo>
                    <a:pt x="975131" y="30187"/>
                  </a:lnTo>
                  <a:lnTo>
                    <a:pt x="987171" y="30187"/>
                  </a:lnTo>
                  <a:lnTo>
                    <a:pt x="987869" y="29476"/>
                  </a:lnTo>
                  <a:lnTo>
                    <a:pt x="988580" y="30187"/>
                  </a:lnTo>
                  <a:lnTo>
                    <a:pt x="1000633" y="30187"/>
                  </a:lnTo>
                  <a:lnTo>
                    <a:pt x="1005243" y="30187"/>
                  </a:lnTo>
                  <a:lnTo>
                    <a:pt x="1012672" y="30187"/>
                  </a:lnTo>
                  <a:lnTo>
                    <a:pt x="1017295" y="30187"/>
                  </a:lnTo>
                  <a:lnTo>
                    <a:pt x="1029335" y="30187"/>
                  </a:lnTo>
                  <a:lnTo>
                    <a:pt x="1030033" y="29476"/>
                  </a:lnTo>
                  <a:lnTo>
                    <a:pt x="1030744" y="30187"/>
                  </a:lnTo>
                  <a:lnTo>
                    <a:pt x="1042797" y="30187"/>
                  </a:lnTo>
                  <a:lnTo>
                    <a:pt x="1047407" y="30187"/>
                  </a:lnTo>
                  <a:lnTo>
                    <a:pt x="1059459" y="30187"/>
                  </a:lnTo>
                  <a:lnTo>
                    <a:pt x="1060157" y="29476"/>
                  </a:lnTo>
                  <a:lnTo>
                    <a:pt x="1060869" y="30187"/>
                  </a:lnTo>
                  <a:lnTo>
                    <a:pt x="1072908" y="30187"/>
                  </a:lnTo>
                  <a:lnTo>
                    <a:pt x="1077531" y="30187"/>
                  </a:lnTo>
                  <a:lnTo>
                    <a:pt x="1089571" y="30187"/>
                  </a:lnTo>
                  <a:lnTo>
                    <a:pt x="1090269" y="29476"/>
                  </a:lnTo>
                  <a:lnTo>
                    <a:pt x="1090980" y="30187"/>
                  </a:lnTo>
                  <a:lnTo>
                    <a:pt x="1103033" y="30187"/>
                  </a:lnTo>
                  <a:lnTo>
                    <a:pt x="1107643" y="30187"/>
                  </a:lnTo>
                  <a:lnTo>
                    <a:pt x="1119695" y="30187"/>
                  </a:lnTo>
                  <a:lnTo>
                    <a:pt x="1120394" y="29476"/>
                  </a:lnTo>
                  <a:lnTo>
                    <a:pt x="1121105" y="30187"/>
                  </a:lnTo>
                  <a:lnTo>
                    <a:pt x="1137767" y="30187"/>
                  </a:lnTo>
                  <a:lnTo>
                    <a:pt x="1144485" y="23342"/>
                  </a:lnTo>
                  <a:lnTo>
                    <a:pt x="1144485" y="15087"/>
                  </a:lnTo>
                  <a:lnTo>
                    <a:pt x="1144485" y="6743"/>
                  </a:lnTo>
                  <a:close/>
                </a:path>
              </a:pathLst>
            </a:custGeom>
            <a:solidFill>
              <a:srgbClr val="94373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3" name="object 63"/>
            <p:cNvSpPr/>
            <p:nvPr/>
          </p:nvSpPr>
          <p:spPr>
            <a:xfrm>
              <a:off x="11366551" y="3676535"/>
              <a:ext cx="386080" cy="30480"/>
            </a:xfrm>
            <a:custGeom>
              <a:avLst/>
              <a:gdLst/>
              <a:ahLst/>
              <a:cxnLst/>
              <a:rect l="l" t="t" r="r" b="b"/>
              <a:pathLst>
                <a:path w="386079" h="30479">
                  <a:moveTo>
                    <a:pt x="385508" y="6743"/>
                  </a:moveTo>
                  <a:lnTo>
                    <a:pt x="378777" y="0"/>
                  </a:lnTo>
                  <a:lnTo>
                    <a:pt x="362115" y="0"/>
                  </a:lnTo>
                  <a:lnTo>
                    <a:pt x="361416" y="711"/>
                  </a:lnTo>
                  <a:lnTo>
                    <a:pt x="360718" y="0"/>
                  </a:lnTo>
                  <a:lnTo>
                    <a:pt x="348665" y="0"/>
                  </a:lnTo>
                  <a:lnTo>
                    <a:pt x="344043" y="0"/>
                  </a:lnTo>
                  <a:lnTo>
                    <a:pt x="332003" y="0"/>
                  </a:lnTo>
                  <a:lnTo>
                    <a:pt x="331292" y="711"/>
                  </a:lnTo>
                  <a:lnTo>
                    <a:pt x="330593" y="0"/>
                  </a:lnTo>
                  <a:lnTo>
                    <a:pt x="318541" y="0"/>
                  </a:lnTo>
                  <a:lnTo>
                    <a:pt x="313931" y="0"/>
                  </a:lnTo>
                  <a:lnTo>
                    <a:pt x="301879" y="0"/>
                  </a:lnTo>
                  <a:lnTo>
                    <a:pt x="301180" y="711"/>
                  </a:lnTo>
                  <a:lnTo>
                    <a:pt x="300482" y="0"/>
                  </a:lnTo>
                  <a:lnTo>
                    <a:pt x="288429" y="0"/>
                  </a:lnTo>
                  <a:lnTo>
                    <a:pt x="283806" y="0"/>
                  </a:lnTo>
                  <a:lnTo>
                    <a:pt x="271767" y="0"/>
                  </a:lnTo>
                  <a:lnTo>
                    <a:pt x="271056" y="711"/>
                  </a:lnTo>
                  <a:lnTo>
                    <a:pt x="270357" y="0"/>
                  </a:lnTo>
                  <a:lnTo>
                    <a:pt x="258305" y="0"/>
                  </a:lnTo>
                  <a:lnTo>
                    <a:pt x="253695" y="0"/>
                  </a:lnTo>
                  <a:lnTo>
                    <a:pt x="246265" y="0"/>
                  </a:lnTo>
                  <a:lnTo>
                    <a:pt x="241642" y="0"/>
                  </a:lnTo>
                  <a:lnTo>
                    <a:pt x="229603" y="0"/>
                  </a:lnTo>
                  <a:lnTo>
                    <a:pt x="228892" y="711"/>
                  </a:lnTo>
                  <a:lnTo>
                    <a:pt x="228193" y="0"/>
                  </a:lnTo>
                  <a:lnTo>
                    <a:pt x="216141" y="0"/>
                  </a:lnTo>
                  <a:lnTo>
                    <a:pt x="211531" y="0"/>
                  </a:lnTo>
                  <a:lnTo>
                    <a:pt x="199478" y="0"/>
                  </a:lnTo>
                  <a:lnTo>
                    <a:pt x="198767" y="711"/>
                  </a:lnTo>
                  <a:lnTo>
                    <a:pt x="198069" y="0"/>
                  </a:lnTo>
                  <a:lnTo>
                    <a:pt x="186029" y="0"/>
                  </a:lnTo>
                  <a:lnTo>
                    <a:pt x="181406" y="0"/>
                  </a:lnTo>
                  <a:lnTo>
                    <a:pt x="169367" y="0"/>
                  </a:lnTo>
                  <a:lnTo>
                    <a:pt x="168656" y="711"/>
                  </a:lnTo>
                  <a:lnTo>
                    <a:pt x="167957" y="0"/>
                  </a:lnTo>
                  <a:lnTo>
                    <a:pt x="155905" y="0"/>
                  </a:lnTo>
                  <a:lnTo>
                    <a:pt x="151295" y="0"/>
                  </a:lnTo>
                  <a:lnTo>
                    <a:pt x="139242" y="0"/>
                  </a:lnTo>
                  <a:lnTo>
                    <a:pt x="138531" y="711"/>
                  </a:lnTo>
                  <a:lnTo>
                    <a:pt x="137833" y="0"/>
                  </a:lnTo>
                  <a:lnTo>
                    <a:pt x="125793" y="0"/>
                  </a:lnTo>
                  <a:lnTo>
                    <a:pt x="121170" y="0"/>
                  </a:lnTo>
                  <a:lnTo>
                    <a:pt x="109131" y="0"/>
                  </a:lnTo>
                  <a:lnTo>
                    <a:pt x="108419" y="711"/>
                  </a:lnTo>
                  <a:lnTo>
                    <a:pt x="107721" y="0"/>
                  </a:lnTo>
                  <a:lnTo>
                    <a:pt x="95669" y="0"/>
                  </a:lnTo>
                  <a:lnTo>
                    <a:pt x="91059" y="0"/>
                  </a:lnTo>
                  <a:lnTo>
                    <a:pt x="83629" y="0"/>
                  </a:lnTo>
                  <a:lnTo>
                    <a:pt x="79006" y="0"/>
                  </a:lnTo>
                  <a:lnTo>
                    <a:pt x="66967" y="0"/>
                  </a:lnTo>
                  <a:lnTo>
                    <a:pt x="66255" y="711"/>
                  </a:lnTo>
                  <a:lnTo>
                    <a:pt x="65557" y="0"/>
                  </a:lnTo>
                  <a:lnTo>
                    <a:pt x="53505" y="0"/>
                  </a:lnTo>
                  <a:lnTo>
                    <a:pt x="48895" y="0"/>
                  </a:lnTo>
                  <a:lnTo>
                    <a:pt x="36842" y="0"/>
                  </a:lnTo>
                  <a:lnTo>
                    <a:pt x="36131" y="711"/>
                  </a:lnTo>
                  <a:lnTo>
                    <a:pt x="35433" y="0"/>
                  </a:lnTo>
                  <a:lnTo>
                    <a:pt x="23393" y="0"/>
                  </a:lnTo>
                  <a:lnTo>
                    <a:pt x="18770" y="0"/>
                  </a:lnTo>
                  <a:lnTo>
                    <a:pt x="6731" y="0"/>
                  </a:lnTo>
                  <a:lnTo>
                    <a:pt x="0" y="6743"/>
                  </a:lnTo>
                  <a:lnTo>
                    <a:pt x="0" y="23342"/>
                  </a:lnTo>
                  <a:lnTo>
                    <a:pt x="6731" y="30187"/>
                  </a:lnTo>
                  <a:lnTo>
                    <a:pt x="18770" y="30187"/>
                  </a:lnTo>
                  <a:lnTo>
                    <a:pt x="23393" y="30187"/>
                  </a:lnTo>
                  <a:lnTo>
                    <a:pt x="35433" y="30187"/>
                  </a:lnTo>
                  <a:lnTo>
                    <a:pt x="36131" y="29476"/>
                  </a:lnTo>
                  <a:lnTo>
                    <a:pt x="36842" y="30187"/>
                  </a:lnTo>
                  <a:lnTo>
                    <a:pt x="48895" y="30187"/>
                  </a:lnTo>
                  <a:lnTo>
                    <a:pt x="53505" y="30187"/>
                  </a:lnTo>
                  <a:lnTo>
                    <a:pt x="65557" y="30187"/>
                  </a:lnTo>
                  <a:lnTo>
                    <a:pt x="66255" y="29476"/>
                  </a:lnTo>
                  <a:lnTo>
                    <a:pt x="66967" y="30187"/>
                  </a:lnTo>
                  <a:lnTo>
                    <a:pt x="79006" y="30187"/>
                  </a:lnTo>
                  <a:lnTo>
                    <a:pt x="83629" y="30187"/>
                  </a:lnTo>
                  <a:lnTo>
                    <a:pt x="91059" y="30187"/>
                  </a:lnTo>
                  <a:lnTo>
                    <a:pt x="95669" y="30187"/>
                  </a:lnTo>
                  <a:lnTo>
                    <a:pt x="107721" y="30187"/>
                  </a:lnTo>
                  <a:lnTo>
                    <a:pt x="108419" y="29476"/>
                  </a:lnTo>
                  <a:lnTo>
                    <a:pt x="109131" y="30187"/>
                  </a:lnTo>
                  <a:lnTo>
                    <a:pt x="121170" y="30187"/>
                  </a:lnTo>
                  <a:lnTo>
                    <a:pt x="125793" y="30187"/>
                  </a:lnTo>
                  <a:lnTo>
                    <a:pt x="137833" y="30187"/>
                  </a:lnTo>
                  <a:lnTo>
                    <a:pt x="138531" y="29476"/>
                  </a:lnTo>
                  <a:lnTo>
                    <a:pt x="139242" y="30187"/>
                  </a:lnTo>
                  <a:lnTo>
                    <a:pt x="151295" y="30187"/>
                  </a:lnTo>
                  <a:lnTo>
                    <a:pt x="155905" y="30187"/>
                  </a:lnTo>
                  <a:lnTo>
                    <a:pt x="167957" y="30187"/>
                  </a:lnTo>
                  <a:lnTo>
                    <a:pt x="168656" y="29476"/>
                  </a:lnTo>
                  <a:lnTo>
                    <a:pt x="169367" y="30187"/>
                  </a:lnTo>
                  <a:lnTo>
                    <a:pt x="181406" y="30187"/>
                  </a:lnTo>
                  <a:lnTo>
                    <a:pt x="186029" y="30187"/>
                  </a:lnTo>
                  <a:lnTo>
                    <a:pt x="198069" y="30187"/>
                  </a:lnTo>
                  <a:lnTo>
                    <a:pt x="198767" y="29476"/>
                  </a:lnTo>
                  <a:lnTo>
                    <a:pt x="199478" y="30187"/>
                  </a:lnTo>
                  <a:lnTo>
                    <a:pt x="211531" y="30187"/>
                  </a:lnTo>
                  <a:lnTo>
                    <a:pt x="216141" y="30187"/>
                  </a:lnTo>
                  <a:lnTo>
                    <a:pt x="228193" y="30187"/>
                  </a:lnTo>
                  <a:lnTo>
                    <a:pt x="228892" y="29476"/>
                  </a:lnTo>
                  <a:lnTo>
                    <a:pt x="229603" y="30187"/>
                  </a:lnTo>
                  <a:lnTo>
                    <a:pt x="241642" y="30187"/>
                  </a:lnTo>
                  <a:lnTo>
                    <a:pt x="246265" y="30187"/>
                  </a:lnTo>
                  <a:lnTo>
                    <a:pt x="253695" y="30187"/>
                  </a:lnTo>
                  <a:lnTo>
                    <a:pt x="258305" y="30187"/>
                  </a:lnTo>
                  <a:lnTo>
                    <a:pt x="270357" y="30187"/>
                  </a:lnTo>
                  <a:lnTo>
                    <a:pt x="271056" y="29476"/>
                  </a:lnTo>
                  <a:lnTo>
                    <a:pt x="271767" y="30187"/>
                  </a:lnTo>
                  <a:lnTo>
                    <a:pt x="283806" y="30187"/>
                  </a:lnTo>
                  <a:lnTo>
                    <a:pt x="288429" y="30187"/>
                  </a:lnTo>
                  <a:lnTo>
                    <a:pt x="300482" y="30187"/>
                  </a:lnTo>
                  <a:lnTo>
                    <a:pt x="301180" y="29476"/>
                  </a:lnTo>
                  <a:lnTo>
                    <a:pt x="301879" y="30187"/>
                  </a:lnTo>
                  <a:lnTo>
                    <a:pt x="313931" y="30187"/>
                  </a:lnTo>
                  <a:lnTo>
                    <a:pt x="318541" y="30187"/>
                  </a:lnTo>
                  <a:lnTo>
                    <a:pt x="330593" y="30187"/>
                  </a:lnTo>
                  <a:lnTo>
                    <a:pt x="331292" y="29476"/>
                  </a:lnTo>
                  <a:lnTo>
                    <a:pt x="332003" y="30187"/>
                  </a:lnTo>
                  <a:lnTo>
                    <a:pt x="344043" y="30187"/>
                  </a:lnTo>
                  <a:lnTo>
                    <a:pt x="348665" y="30187"/>
                  </a:lnTo>
                  <a:lnTo>
                    <a:pt x="360718" y="30187"/>
                  </a:lnTo>
                  <a:lnTo>
                    <a:pt x="361416" y="29476"/>
                  </a:lnTo>
                  <a:lnTo>
                    <a:pt x="362115" y="30187"/>
                  </a:lnTo>
                  <a:lnTo>
                    <a:pt x="378777" y="30187"/>
                  </a:lnTo>
                  <a:lnTo>
                    <a:pt x="385508" y="23342"/>
                  </a:lnTo>
                  <a:lnTo>
                    <a:pt x="385508" y="15087"/>
                  </a:lnTo>
                  <a:lnTo>
                    <a:pt x="385508" y="6743"/>
                  </a:lnTo>
                  <a:close/>
                </a:path>
              </a:pathLst>
            </a:custGeom>
            <a:solidFill>
              <a:srgbClr val="94373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4" name="object 64"/>
            <p:cNvSpPr/>
            <p:nvPr/>
          </p:nvSpPr>
          <p:spPr>
            <a:xfrm>
              <a:off x="10017266" y="4159529"/>
              <a:ext cx="1831339" cy="882015"/>
            </a:xfrm>
            <a:custGeom>
              <a:avLst/>
              <a:gdLst/>
              <a:ahLst/>
              <a:cxnLst/>
              <a:rect l="l" t="t" r="r" b="b"/>
              <a:pathLst>
                <a:path w="1831340" h="882014">
                  <a:moveTo>
                    <a:pt x="1831177" y="0"/>
                  </a:moveTo>
                  <a:lnTo>
                    <a:pt x="0" y="0"/>
                  </a:lnTo>
                  <a:lnTo>
                    <a:pt x="0" y="881573"/>
                  </a:lnTo>
                  <a:lnTo>
                    <a:pt x="1831177" y="881573"/>
                  </a:lnTo>
                  <a:lnTo>
                    <a:pt x="1831177"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5" name="object 65"/>
            <p:cNvSpPr/>
            <p:nvPr/>
          </p:nvSpPr>
          <p:spPr>
            <a:xfrm>
              <a:off x="10225080" y="4271286"/>
              <a:ext cx="1511935" cy="658495"/>
            </a:xfrm>
            <a:custGeom>
              <a:avLst/>
              <a:gdLst/>
              <a:ahLst/>
              <a:cxnLst/>
              <a:rect l="l" t="t" r="r" b="b"/>
              <a:pathLst>
                <a:path w="1511934" h="658495">
                  <a:moveTo>
                    <a:pt x="30118" y="658160"/>
                  </a:moveTo>
                  <a:lnTo>
                    <a:pt x="1511926" y="658160"/>
                  </a:lnTo>
                </a:path>
                <a:path w="1511934" h="658495">
                  <a:moveTo>
                    <a:pt x="30118" y="495130"/>
                  </a:moveTo>
                  <a:lnTo>
                    <a:pt x="1511926" y="495130"/>
                  </a:lnTo>
                </a:path>
                <a:path w="1511934" h="658495">
                  <a:moveTo>
                    <a:pt x="30118" y="163030"/>
                  </a:moveTo>
                  <a:lnTo>
                    <a:pt x="1511926" y="163030"/>
                  </a:lnTo>
                </a:path>
                <a:path w="1511934" h="658495">
                  <a:moveTo>
                    <a:pt x="30118" y="0"/>
                  </a:moveTo>
                  <a:lnTo>
                    <a:pt x="1511926" y="0"/>
                  </a:lnTo>
                </a:path>
                <a:path w="1511934" h="658495">
                  <a:moveTo>
                    <a:pt x="30118" y="658160"/>
                  </a:moveTo>
                  <a:lnTo>
                    <a:pt x="30118" y="0"/>
                  </a:lnTo>
                </a:path>
                <a:path w="1511934" h="658495">
                  <a:moveTo>
                    <a:pt x="0" y="658160"/>
                  </a:moveTo>
                  <a:lnTo>
                    <a:pt x="30118" y="658160"/>
                  </a:lnTo>
                </a:path>
                <a:path w="1511934" h="658495">
                  <a:moveTo>
                    <a:pt x="0" y="495130"/>
                  </a:moveTo>
                  <a:lnTo>
                    <a:pt x="30118" y="495130"/>
                  </a:lnTo>
                </a:path>
                <a:path w="1511934" h="658495">
                  <a:moveTo>
                    <a:pt x="0" y="332099"/>
                  </a:moveTo>
                  <a:lnTo>
                    <a:pt x="30118" y="332099"/>
                  </a:lnTo>
                </a:path>
                <a:path w="1511934" h="658495">
                  <a:moveTo>
                    <a:pt x="0" y="163030"/>
                  </a:moveTo>
                  <a:lnTo>
                    <a:pt x="30118" y="163030"/>
                  </a:lnTo>
                </a:path>
                <a:path w="1511934" h="658495">
                  <a:moveTo>
                    <a:pt x="0" y="0"/>
                  </a:moveTo>
                  <a:lnTo>
                    <a:pt x="30118" y="0"/>
                  </a:lnTo>
                </a:path>
                <a:path w="1511934" h="658495">
                  <a:moveTo>
                    <a:pt x="30118" y="332099"/>
                  </a:moveTo>
                  <a:lnTo>
                    <a:pt x="1511926" y="332099"/>
                  </a:lnTo>
                </a:path>
              </a:pathLst>
            </a:custGeom>
            <a:ln w="6036">
              <a:solidFill>
                <a:srgbClr val="85858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6" name="object 66"/>
            <p:cNvSpPr/>
            <p:nvPr/>
          </p:nvSpPr>
          <p:spPr>
            <a:xfrm>
              <a:off x="10252186" y="4760378"/>
              <a:ext cx="433705" cy="0"/>
            </a:xfrm>
            <a:custGeom>
              <a:avLst/>
              <a:gdLst/>
              <a:ahLst/>
              <a:cxnLst/>
              <a:rect l="l" t="t" r="r" b="b"/>
              <a:pathLst>
                <a:path w="433704">
                  <a:moveTo>
                    <a:pt x="0" y="0"/>
                  </a:moveTo>
                  <a:lnTo>
                    <a:pt x="433700" y="0"/>
                  </a:lnTo>
                </a:path>
              </a:pathLst>
            </a:custGeom>
            <a:ln w="30190">
              <a:solidFill>
                <a:srgbClr val="1F487C"/>
              </a:solidFill>
              <a:prstDash val="sys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7" name="object 67"/>
            <p:cNvSpPr/>
            <p:nvPr/>
          </p:nvSpPr>
          <p:spPr>
            <a:xfrm>
              <a:off x="10270257" y="4597347"/>
              <a:ext cx="427990" cy="0"/>
            </a:xfrm>
            <a:custGeom>
              <a:avLst/>
              <a:gdLst/>
              <a:ahLst/>
              <a:cxnLst/>
              <a:rect l="l" t="t" r="r" b="b"/>
              <a:pathLst>
                <a:path w="427990">
                  <a:moveTo>
                    <a:pt x="0" y="0"/>
                  </a:moveTo>
                  <a:lnTo>
                    <a:pt x="427676" y="0"/>
                  </a:lnTo>
                </a:path>
              </a:pathLst>
            </a:custGeom>
            <a:ln w="30190">
              <a:solidFill>
                <a:srgbClr val="1F487C"/>
              </a:solidFill>
              <a:prstDash val="sys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8" name="object 68"/>
            <p:cNvSpPr/>
            <p:nvPr/>
          </p:nvSpPr>
          <p:spPr>
            <a:xfrm>
              <a:off x="10282301" y="4419231"/>
              <a:ext cx="386080" cy="30480"/>
            </a:xfrm>
            <a:custGeom>
              <a:avLst/>
              <a:gdLst/>
              <a:ahLst/>
              <a:cxnLst/>
              <a:rect l="l" t="t" r="r" b="b"/>
              <a:pathLst>
                <a:path w="386079" h="30479">
                  <a:moveTo>
                    <a:pt x="30111" y="6743"/>
                  </a:moveTo>
                  <a:lnTo>
                    <a:pt x="23393" y="0"/>
                  </a:lnTo>
                  <a:lnTo>
                    <a:pt x="6718" y="0"/>
                  </a:lnTo>
                  <a:lnTo>
                    <a:pt x="0" y="6743"/>
                  </a:lnTo>
                  <a:lnTo>
                    <a:pt x="0" y="23342"/>
                  </a:lnTo>
                  <a:lnTo>
                    <a:pt x="6718" y="30187"/>
                  </a:lnTo>
                  <a:lnTo>
                    <a:pt x="23393" y="30187"/>
                  </a:lnTo>
                  <a:lnTo>
                    <a:pt x="30111" y="23342"/>
                  </a:lnTo>
                  <a:lnTo>
                    <a:pt x="30111" y="15087"/>
                  </a:lnTo>
                  <a:lnTo>
                    <a:pt x="30111" y="6743"/>
                  </a:lnTo>
                  <a:close/>
                </a:path>
                <a:path w="386079" h="30479">
                  <a:moveTo>
                    <a:pt x="78308" y="6743"/>
                  </a:moveTo>
                  <a:lnTo>
                    <a:pt x="71577" y="0"/>
                  </a:lnTo>
                  <a:lnTo>
                    <a:pt x="54914" y="0"/>
                  </a:lnTo>
                  <a:lnTo>
                    <a:pt x="48183" y="6743"/>
                  </a:lnTo>
                  <a:lnTo>
                    <a:pt x="48183" y="23342"/>
                  </a:lnTo>
                  <a:lnTo>
                    <a:pt x="54914" y="30187"/>
                  </a:lnTo>
                  <a:lnTo>
                    <a:pt x="71577" y="30187"/>
                  </a:lnTo>
                  <a:lnTo>
                    <a:pt x="78308" y="23342"/>
                  </a:lnTo>
                  <a:lnTo>
                    <a:pt x="78308" y="15087"/>
                  </a:lnTo>
                  <a:lnTo>
                    <a:pt x="78308" y="6743"/>
                  </a:lnTo>
                  <a:close/>
                </a:path>
                <a:path w="386079" h="30479">
                  <a:moveTo>
                    <a:pt x="120472" y="6743"/>
                  </a:moveTo>
                  <a:lnTo>
                    <a:pt x="113741" y="0"/>
                  </a:lnTo>
                  <a:lnTo>
                    <a:pt x="97078" y="0"/>
                  </a:lnTo>
                  <a:lnTo>
                    <a:pt x="90347" y="6743"/>
                  </a:lnTo>
                  <a:lnTo>
                    <a:pt x="90347" y="23342"/>
                  </a:lnTo>
                  <a:lnTo>
                    <a:pt x="97078" y="30187"/>
                  </a:lnTo>
                  <a:lnTo>
                    <a:pt x="113741" y="30187"/>
                  </a:lnTo>
                  <a:lnTo>
                    <a:pt x="120472" y="23342"/>
                  </a:lnTo>
                  <a:lnTo>
                    <a:pt x="120472" y="15087"/>
                  </a:lnTo>
                  <a:lnTo>
                    <a:pt x="120472" y="6743"/>
                  </a:lnTo>
                  <a:close/>
                </a:path>
                <a:path w="386079" h="30479">
                  <a:moveTo>
                    <a:pt x="162636" y="6743"/>
                  </a:moveTo>
                  <a:lnTo>
                    <a:pt x="155905" y="0"/>
                  </a:lnTo>
                  <a:lnTo>
                    <a:pt x="139242" y="0"/>
                  </a:lnTo>
                  <a:lnTo>
                    <a:pt x="132511" y="6743"/>
                  </a:lnTo>
                  <a:lnTo>
                    <a:pt x="132511" y="23342"/>
                  </a:lnTo>
                  <a:lnTo>
                    <a:pt x="139242" y="30187"/>
                  </a:lnTo>
                  <a:lnTo>
                    <a:pt x="155905" y="30187"/>
                  </a:lnTo>
                  <a:lnTo>
                    <a:pt x="162636" y="23342"/>
                  </a:lnTo>
                  <a:lnTo>
                    <a:pt x="162636" y="15087"/>
                  </a:lnTo>
                  <a:lnTo>
                    <a:pt x="162636" y="6743"/>
                  </a:lnTo>
                  <a:close/>
                </a:path>
                <a:path w="386079" h="30479">
                  <a:moveTo>
                    <a:pt x="210820" y="6743"/>
                  </a:moveTo>
                  <a:lnTo>
                    <a:pt x="204101" y="0"/>
                  </a:lnTo>
                  <a:lnTo>
                    <a:pt x="187426" y="0"/>
                  </a:lnTo>
                  <a:lnTo>
                    <a:pt x="180708" y="6743"/>
                  </a:lnTo>
                  <a:lnTo>
                    <a:pt x="180708" y="23342"/>
                  </a:lnTo>
                  <a:lnTo>
                    <a:pt x="187426" y="30187"/>
                  </a:lnTo>
                  <a:lnTo>
                    <a:pt x="204101" y="30187"/>
                  </a:lnTo>
                  <a:lnTo>
                    <a:pt x="210820" y="23342"/>
                  </a:lnTo>
                  <a:lnTo>
                    <a:pt x="210820" y="15087"/>
                  </a:lnTo>
                  <a:lnTo>
                    <a:pt x="210820" y="6743"/>
                  </a:lnTo>
                  <a:close/>
                </a:path>
                <a:path w="386079" h="30479">
                  <a:moveTo>
                    <a:pt x="252984" y="6743"/>
                  </a:moveTo>
                  <a:lnTo>
                    <a:pt x="246265" y="0"/>
                  </a:lnTo>
                  <a:lnTo>
                    <a:pt x="229603" y="0"/>
                  </a:lnTo>
                  <a:lnTo>
                    <a:pt x="222872" y="6743"/>
                  </a:lnTo>
                  <a:lnTo>
                    <a:pt x="222872" y="23342"/>
                  </a:lnTo>
                  <a:lnTo>
                    <a:pt x="229603" y="30187"/>
                  </a:lnTo>
                  <a:lnTo>
                    <a:pt x="246265" y="30187"/>
                  </a:lnTo>
                  <a:lnTo>
                    <a:pt x="252984" y="23342"/>
                  </a:lnTo>
                  <a:lnTo>
                    <a:pt x="252984" y="15087"/>
                  </a:lnTo>
                  <a:lnTo>
                    <a:pt x="252984" y="6743"/>
                  </a:lnTo>
                  <a:close/>
                </a:path>
                <a:path w="386079" h="30479">
                  <a:moveTo>
                    <a:pt x="295160" y="6743"/>
                  </a:moveTo>
                  <a:lnTo>
                    <a:pt x="288429" y="0"/>
                  </a:lnTo>
                  <a:lnTo>
                    <a:pt x="271767" y="0"/>
                  </a:lnTo>
                  <a:lnTo>
                    <a:pt x="265036" y="6743"/>
                  </a:lnTo>
                  <a:lnTo>
                    <a:pt x="265036" y="23342"/>
                  </a:lnTo>
                  <a:lnTo>
                    <a:pt x="271767" y="30187"/>
                  </a:lnTo>
                  <a:lnTo>
                    <a:pt x="288429" y="30187"/>
                  </a:lnTo>
                  <a:lnTo>
                    <a:pt x="295160" y="23342"/>
                  </a:lnTo>
                  <a:lnTo>
                    <a:pt x="295160" y="15087"/>
                  </a:lnTo>
                  <a:lnTo>
                    <a:pt x="295160" y="6743"/>
                  </a:lnTo>
                  <a:close/>
                </a:path>
                <a:path w="386079" h="30479">
                  <a:moveTo>
                    <a:pt x="343344" y="6743"/>
                  </a:moveTo>
                  <a:lnTo>
                    <a:pt x="336613" y="0"/>
                  </a:lnTo>
                  <a:lnTo>
                    <a:pt x="319951" y="0"/>
                  </a:lnTo>
                  <a:lnTo>
                    <a:pt x="313220" y="6743"/>
                  </a:lnTo>
                  <a:lnTo>
                    <a:pt x="313220" y="23342"/>
                  </a:lnTo>
                  <a:lnTo>
                    <a:pt x="319951" y="30187"/>
                  </a:lnTo>
                  <a:lnTo>
                    <a:pt x="336613" y="30187"/>
                  </a:lnTo>
                  <a:lnTo>
                    <a:pt x="343344" y="23342"/>
                  </a:lnTo>
                  <a:lnTo>
                    <a:pt x="343344" y="15087"/>
                  </a:lnTo>
                  <a:lnTo>
                    <a:pt x="343344" y="6743"/>
                  </a:lnTo>
                  <a:close/>
                </a:path>
                <a:path w="386079" h="30479">
                  <a:moveTo>
                    <a:pt x="385508" y="6743"/>
                  </a:moveTo>
                  <a:lnTo>
                    <a:pt x="378777" y="0"/>
                  </a:lnTo>
                  <a:lnTo>
                    <a:pt x="362115" y="0"/>
                  </a:lnTo>
                  <a:lnTo>
                    <a:pt x="355396" y="6743"/>
                  </a:lnTo>
                  <a:lnTo>
                    <a:pt x="355396" y="23342"/>
                  </a:lnTo>
                  <a:lnTo>
                    <a:pt x="362115" y="30187"/>
                  </a:lnTo>
                  <a:lnTo>
                    <a:pt x="378777" y="30187"/>
                  </a:lnTo>
                  <a:lnTo>
                    <a:pt x="385508" y="23342"/>
                  </a:lnTo>
                  <a:lnTo>
                    <a:pt x="385508" y="15087"/>
                  </a:lnTo>
                  <a:lnTo>
                    <a:pt x="385508" y="6743"/>
                  </a:lnTo>
                  <a:close/>
                </a:path>
              </a:pathLst>
            </a:custGeom>
            <a:solidFill>
              <a:srgbClr val="1F487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9" name="object 69"/>
            <p:cNvSpPr/>
            <p:nvPr/>
          </p:nvSpPr>
          <p:spPr>
            <a:xfrm>
              <a:off x="10758170" y="4760378"/>
              <a:ext cx="963930" cy="0"/>
            </a:xfrm>
            <a:custGeom>
              <a:avLst/>
              <a:gdLst/>
              <a:ahLst/>
              <a:cxnLst/>
              <a:rect l="l" t="t" r="r" b="b"/>
              <a:pathLst>
                <a:path w="963929">
                  <a:moveTo>
                    <a:pt x="0" y="0"/>
                  </a:moveTo>
                  <a:lnTo>
                    <a:pt x="963777" y="0"/>
                  </a:lnTo>
                </a:path>
              </a:pathLst>
            </a:custGeom>
            <a:ln w="30190">
              <a:solidFill>
                <a:srgbClr val="1F487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0" name="object 70"/>
            <p:cNvSpPr/>
            <p:nvPr/>
          </p:nvSpPr>
          <p:spPr>
            <a:xfrm>
              <a:off x="10770217" y="4597347"/>
              <a:ext cx="518159" cy="0"/>
            </a:xfrm>
            <a:custGeom>
              <a:avLst/>
              <a:gdLst/>
              <a:ahLst/>
              <a:cxnLst/>
              <a:rect l="l" t="t" r="r" b="b"/>
              <a:pathLst>
                <a:path w="518159">
                  <a:moveTo>
                    <a:pt x="0" y="0"/>
                  </a:moveTo>
                  <a:lnTo>
                    <a:pt x="518030" y="0"/>
                  </a:lnTo>
                </a:path>
              </a:pathLst>
            </a:custGeom>
            <a:ln w="30190">
              <a:solidFill>
                <a:srgbClr val="1F487C"/>
              </a:solidFill>
              <a:prstDash val="sys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1" name="object 71"/>
            <p:cNvSpPr/>
            <p:nvPr/>
          </p:nvSpPr>
          <p:spPr>
            <a:xfrm>
              <a:off x="10788281" y="4419231"/>
              <a:ext cx="963930" cy="193675"/>
            </a:xfrm>
            <a:custGeom>
              <a:avLst/>
              <a:gdLst/>
              <a:ahLst/>
              <a:cxnLst/>
              <a:rect l="l" t="t" r="r" b="b"/>
              <a:pathLst>
                <a:path w="963929" h="193675">
                  <a:moveTo>
                    <a:pt x="30124" y="6743"/>
                  </a:moveTo>
                  <a:lnTo>
                    <a:pt x="23393" y="0"/>
                  </a:lnTo>
                  <a:lnTo>
                    <a:pt x="6731" y="0"/>
                  </a:lnTo>
                  <a:lnTo>
                    <a:pt x="0" y="6743"/>
                  </a:lnTo>
                  <a:lnTo>
                    <a:pt x="0" y="23342"/>
                  </a:lnTo>
                  <a:lnTo>
                    <a:pt x="6731" y="30187"/>
                  </a:lnTo>
                  <a:lnTo>
                    <a:pt x="23393" y="30187"/>
                  </a:lnTo>
                  <a:lnTo>
                    <a:pt x="30124" y="23342"/>
                  </a:lnTo>
                  <a:lnTo>
                    <a:pt x="30124" y="15087"/>
                  </a:lnTo>
                  <a:lnTo>
                    <a:pt x="30124" y="6743"/>
                  </a:lnTo>
                  <a:close/>
                </a:path>
                <a:path w="963929" h="193675">
                  <a:moveTo>
                    <a:pt x="72288" y="6743"/>
                  </a:moveTo>
                  <a:lnTo>
                    <a:pt x="65557" y="0"/>
                  </a:lnTo>
                  <a:lnTo>
                    <a:pt x="48895" y="0"/>
                  </a:lnTo>
                  <a:lnTo>
                    <a:pt x="42164" y="6743"/>
                  </a:lnTo>
                  <a:lnTo>
                    <a:pt x="42164" y="23342"/>
                  </a:lnTo>
                  <a:lnTo>
                    <a:pt x="48895" y="30187"/>
                  </a:lnTo>
                  <a:lnTo>
                    <a:pt x="65557" y="30187"/>
                  </a:lnTo>
                  <a:lnTo>
                    <a:pt x="72288" y="23342"/>
                  </a:lnTo>
                  <a:lnTo>
                    <a:pt x="72288" y="15087"/>
                  </a:lnTo>
                  <a:lnTo>
                    <a:pt x="72288" y="6743"/>
                  </a:lnTo>
                  <a:close/>
                </a:path>
                <a:path w="963929" h="193675">
                  <a:moveTo>
                    <a:pt x="120472" y="6743"/>
                  </a:moveTo>
                  <a:lnTo>
                    <a:pt x="113741" y="0"/>
                  </a:lnTo>
                  <a:lnTo>
                    <a:pt x="97078" y="0"/>
                  </a:lnTo>
                  <a:lnTo>
                    <a:pt x="90360" y="6743"/>
                  </a:lnTo>
                  <a:lnTo>
                    <a:pt x="90360" y="23342"/>
                  </a:lnTo>
                  <a:lnTo>
                    <a:pt x="97078" y="30187"/>
                  </a:lnTo>
                  <a:lnTo>
                    <a:pt x="113741" y="30187"/>
                  </a:lnTo>
                  <a:lnTo>
                    <a:pt x="120472" y="23342"/>
                  </a:lnTo>
                  <a:lnTo>
                    <a:pt x="120472" y="15087"/>
                  </a:lnTo>
                  <a:lnTo>
                    <a:pt x="120472" y="6743"/>
                  </a:lnTo>
                  <a:close/>
                </a:path>
                <a:path w="963929" h="193675">
                  <a:moveTo>
                    <a:pt x="162636" y="6743"/>
                  </a:moveTo>
                  <a:lnTo>
                    <a:pt x="155917" y="0"/>
                  </a:lnTo>
                  <a:lnTo>
                    <a:pt x="139242" y="0"/>
                  </a:lnTo>
                  <a:lnTo>
                    <a:pt x="132524" y="6743"/>
                  </a:lnTo>
                  <a:lnTo>
                    <a:pt x="132524" y="23342"/>
                  </a:lnTo>
                  <a:lnTo>
                    <a:pt x="139242" y="30187"/>
                  </a:lnTo>
                  <a:lnTo>
                    <a:pt x="155917" y="30187"/>
                  </a:lnTo>
                  <a:lnTo>
                    <a:pt x="162636" y="23342"/>
                  </a:lnTo>
                  <a:lnTo>
                    <a:pt x="162636" y="15087"/>
                  </a:lnTo>
                  <a:lnTo>
                    <a:pt x="162636" y="6743"/>
                  </a:lnTo>
                  <a:close/>
                </a:path>
                <a:path w="963929" h="193675">
                  <a:moveTo>
                    <a:pt x="204800" y="6743"/>
                  </a:moveTo>
                  <a:lnTo>
                    <a:pt x="198081" y="0"/>
                  </a:lnTo>
                  <a:lnTo>
                    <a:pt x="181406" y="0"/>
                  </a:lnTo>
                  <a:lnTo>
                    <a:pt x="174688" y="6743"/>
                  </a:lnTo>
                  <a:lnTo>
                    <a:pt x="174688" y="23342"/>
                  </a:lnTo>
                  <a:lnTo>
                    <a:pt x="181406" y="30187"/>
                  </a:lnTo>
                  <a:lnTo>
                    <a:pt x="198081" y="30187"/>
                  </a:lnTo>
                  <a:lnTo>
                    <a:pt x="204800" y="23342"/>
                  </a:lnTo>
                  <a:lnTo>
                    <a:pt x="204800" y="15087"/>
                  </a:lnTo>
                  <a:lnTo>
                    <a:pt x="204800" y="6743"/>
                  </a:lnTo>
                  <a:close/>
                </a:path>
                <a:path w="963929" h="193675">
                  <a:moveTo>
                    <a:pt x="252996" y="6743"/>
                  </a:moveTo>
                  <a:lnTo>
                    <a:pt x="246265" y="0"/>
                  </a:lnTo>
                  <a:lnTo>
                    <a:pt x="229603" y="0"/>
                  </a:lnTo>
                  <a:lnTo>
                    <a:pt x="222872" y="6743"/>
                  </a:lnTo>
                  <a:lnTo>
                    <a:pt x="222872" y="23342"/>
                  </a:lnTo>
                  <a:lnTo>
                    <a:pt x="229603" y="30187"/>
                  </a:lnTo>
                  <a:lnTo>
                    <a:pt x="246265" y="30187"/>
                  </a:lnTo>
                  <a:lnTo>
                    <a:pt x="252996" y="23342"/>
                  </a:lnTo>
                  <a:lnTo>
                    <a:pt x="252996" y="15087"/>
                  </a:lnTo>
                  <a:lnTo>
                    <a:pt x="252996" y="6743"/>
                  </a:lnTo>
                  <a:close/>
                </a:path>
                <a:path w="963929" h="193675">
                  <a:moveTo>
                    <a:pt x="295160" y="6743"/>
                  </a:moveTo>
                  <a:lnTo>
                    <a:pt x="288429" y="0"/>
                  </a:lnTo>
                  <a:lnTo>
                    <a:pt x="271767" y="0"/>
                  </a:lnTo>
                  <a:lnTo>
                    <a:pt x="265036" y="6743"/>
                  </a:lnTo>
                  <a:lnTo>
                    <a:pt x="265036" y="23342"/>
                  </a:lnTo>
                  <a:lnTo>
                    <a:pt x="271767" y="30187"/>
                  </a:lnTo>
                  <a:lnTo>
                    <a:pt x="288429" y="30187"/>
                  </a:lnTo>
                  <a:lnTo>
                    <a:pt x="295160" y="23342"/>
                  </a:lnTo>
                  <a:lnTo>
                    <a:pt x="295160" y="15087"/>
                  </a:lnTo>
                  <a:lnTo>
                    <a:pt x="295160" y="6743"/>
                  </a:lnTo>
                  <a:close/>
                </a:path>
                <a:path w="963929" h="193675">
                  <a:moveTo>
                    <a:pt x="337324" y="6743"/>
                  </a:moveTo>
                  <a:lnTo>
                    <a:pt x="330593" y="0"/>
                  </a:lnTo>
                  <a:lnTo>
                    <a:pt x="313931" y="0"/>
                  </a:lnTo>
                  <a:lnTo>
                    <a:pt x="307200" y="6743"/>
                  </a:lnTo>
                  <a:lnTo>
                    <a:pt x="307200" y="23342"/>
                  </a:lnTo>
                  <a:lnTo>
                    <a:pt x="313931" y="30187"/>
                  </a:lnTo>
                  <a:lnTo>
                    <a:pt x="330593" y="30187"/>
                  </a:lnTo>
                  <a:lnTo>
                    <a:pt x="337324" y="23342"/>
                  </a:lnTo>
                  <a:lnTo>
                    <a:pt x="337324" y="15087"/>
                  </a:lnTo>
                  <a:lnTo>
                    <a:pt x="337324" y="6743"/>
                  </a:lnTo>
                  <a:close/>
                </a:path>
                <a:path w="963929" h="193675">
                  <a:moveTo>
                    <a:pt x="385508" y="6743"/>
                  </a:moveTo>
                  <a:lnTo>
                    <a:pt x="378790" y="0"/>
                  </a:lnTo>
                  <a:lnTo>
                    <a:pt x="362115" y="0"/>
                  </a:lnTo>
                  <a:lnTo>
                    <a:pt x="355396" y="6743"/>
                  </a:lnTo>
                  <a:lnTo>
                    <a:pt x="355396" y="23342"/>
                  </a:lnTo>
                  <a:lnTo>
                    <a:pt x="362115" y="30187"/>
                  </a:lnTo>
                  <a:lnTo>
                    <a:pt x="378790" y="30187"/>
                  </a:lnTo>
                  <a:lnTo>
                    <a:pt x="385508" y="23342"/>
                  </a:lnTo>
                  <a:lnTo>
                    <a:pt x="385508" y="15087"/>
                  </a:lnTo>
                  <a:lnTo>
                    <a:pt x="385508" y="6743"/>
                  </a:lnTo>
                  <a:close/>
                </a:path>
                <a:path w="963929" h="193675">
                  <a:moveTo>
                    <a:pt x="427672" y="6743"/>
                  </a:moveTo>
                  <a:lnTo>
                    <a:pt x="420954" y="0"/>
                  </a:lnTo>
                  <a:lnTo>
                    <a:pt x="404291" y="0"/>
                  </a:lnTo>
                  <a:lnTo>
                    <a:pt x="397560" y="6743"/>
                  </a:lnTo>
                  <a:lnTo>
                    <a:pt x="397560" y="23342"/>
                  </a:lnTo>
                  <a:lnTo>
                    <a:pt x="404291" y="30187"/>
                  </a:lnTo>
                  <a:lnTo>
                    <a:pt x="420954" y="30187"/>
                  </a:lnTo>
                  <a:lnTo>
                    <a:pt x="427672" y="23342"/>
                  </a:lnTo>
                  <a:lnTo>
                    <a:pt x="427672" y="15087"/>
                  </a:lnTo>
                  <a:lnTo>
                    <a:pt x="427672" y="6743"/>
                  </a:lnTo>
                  <a:close/>
                </a:path>
                <a:path w="963929" h="193675">
                  <a:moveTo>
                    <a:pt x="475869" y="6743"/>
                  </a:moveTo>
                  <a:lnTo>
                    <a:pt x="469138" y="0"/>
                  </a:lnTo>
                  <a:lnTo>
                    <a:pt x="452475" y="0"/>
                  </a:lnTo>
                  <a:lnTo>
                    <a:pt x="445744" y="6743"/>
                  </a:lnTo>
                  <a:lnTo>
                    <a:pt x="445744" y="23342"/>
                  </a:lnTo>
                  <a:lnTo>
                    <a:pt x="452475" y="30187"/>
                  </a:lnTo>
                  <a:lnTo>
                    <a:pt x="469138" y="30187"/>
                  </a:lnTo>
                  <a:lnTo>
                    <a:pt x="475869" y="23342"/>
                  </a:lnTo>
                  <a:lnTo>
                    <a:pt x="475869" y="15087"/>
                  </a:lnTo>
                  <a:lnTo>
                    <a:pt x="475869" y="6743"/>
                  </a:lnTo>
                  <a:close/>
                </a:path>
                <a:path w="963929" h="193675">
                  <a:moveTo>
                    <a:pt x="831253" y="6743"/>
                  </a:moveTo>
                  <a:lnTo>
                    <a:pt x="824534" y="0"/>
                  </a:lnTo>
                  <a:lnTo>
                    <a:pt x="807872" y="0"/>
                  </a:lnTo>
                  <a:lnTo>
                    <a:pt x="807161" y="711"/>
                  </a:lnTo>
                  <a:lnTo>
                    <a:pt x="806462" y="0"/>
                  </a:lnTo>
                  <a:lnTo>
                    <a:pt x="789800" y="0"/>
                  </a:lnTo>
                  <a:lnTo>
                    <a:pt x="783069" y="6743"/>
                  </a:lnTo>
                  <a:lnTo>
                    <a:pt x="776338" y="0"/>
                  </a:lnTo>
                  <a:lnTo>
                    <a:pt x="759675" y="0"/>
                  </a:lnTo>
                  <a:lnTo>
                    <a:pt x="752957" y="6743"/>
                  </a:lnTo>
                  <a:lnTo>
                    <a:pt x="746226" y="0"/>
                  </a:lnTo>
                  <a:lnTo>
                    <a:pt x="729564" y="0"/>
                  </a:lnTo>
                  <a:lnTo>
                    <a:pt x="722833" y="6743"/>
                  </a:lnTo>
                  <a:lnTo>
                    <a:pt x="716102" y="0"/>
                  </a:lnTo>
                  <a:lnTo>
                    <a:pt x="699439" y="0"/>
                  </a:lnTo>
                  <a:lnTo>
                    <a:pt x="692721" y="6743"/>
                  </a:lnTo>
                  <a:lnTo>
                    <a:pt x="685990" y="0"/>
                  </a:lnTo>
                  <a:lnTo>
                    <a:pt x="669328" y="0"/>
                  </a:lnTo>
                  <a:lnTo>
                    <a:pt x="665607" y="3733"/>
                  </a:lnTo>
                  <a:lnTo>
                    <a:pt x="661898" y="0"/>
                  </a:lnTo>
                  <a:lnTo>
                    <a:pt x="645236" y="0"/>
                  </a:lnTo>
                  <a:lnTo>
                    <a:pt x="638505" y="6743"/>
                  </a:lnTo>
                  <a:lnTo>
                    <a:pt x="631774" y="0"/>
                  </a:lnTo>
                  <a:lnTo>
                    <a:pt x="615111" y="0"/>
                  </a:lnTo>
                  <a:lnTo>
                    <a:pt x="608380" y="6743"/>
                  </a:lnTo>
                  <a:lnTo>
                    <a:pt x="601662" y="0"/>
                  </a:lnTo>
                  <a:lnTo>
                    <a:pt x="585000" y="0"/>
                  </a:lnTo>
                  <a:lnTo>
                    <a:pt x="578269" y="6743"/>
                  </a:lnTo>
                  <a:lnTo>
                    <a:pt x="571538" y="0"/>
                  </a:lnTo>
                  <a:lnTo>
                    <a:pt x="554875" y="0"/>
                  </a:lnTo>
                  <a:lnTo>
                    <a:pt x="548144" y="6743"/>
                  </a:lnTo>
                  <a:lnTo>
                    <a:pt x="541426" y="0"/>
                  </a:lnTo>
                  <a:lnTo>
                    <a:pt x="524764" y="0"/>
                  </a:lnTo>
                  <a:lnTo>
                    <a:pt x="518033" y="6743"/>
                  </a:lnTo>
                  <a:lnTo>
                    <a:pt x="511302" y="0"/>
                  </a:lnTo>
                  <a:lnTo>
                    <a:pt x="494639" y="0"/>
                  </a:lnTo>
                  <a:lnTo>
                    <a:pt x="487908" y="6743"/>
                  </a:lnTo>
                  <a:lnTo>
                    <a:pt x="487908" y="23342"/>
                  </a:lnTo>
                  <a:lnTo>
                    <a:pt x="494639" y="30187"/>
                  </a:lnTo>
                  <a:lnTo>
                    <a:pt x="511302" y="30187"/>
                  </a:lnTo>
                  <a:lnTo>
                    <a:pt x="518033" y="23342"/>
                  </a:lnTo>
                  <a:lnTo>
                    <a:pt x="524764" y="30187"/>
                  </a:lnTo>
                  <a:lnTo>
                    <a:pt x="541426" y="30187"/>
                  </a:lnTo>
                  <a:lnTo>
                    <a:pt x="548144" y="23342"/>
                  </a:lnTo>
                  <a:lnTo>
                    <a:pt x="554875" y="30187"/>
                  </a:lnTo>
                  <a:lnTo>
                    <a:pt x="571538" y="30187"/>
                  </a:lnTo>
                  <a:lnTo>
                    <a:pt x="578269" y="23342"/>
                  </a:lnTo>
                  <a:lnTo>
                    <a:pt x="585000" y="30187"/>
                  </a:lnTo>
                  <a:lnTo>
                    <a:pt x="601662" y="30187"/>
                  </a:lnTo>
                  <a:lnTo>
                    <a:pt x="608380" y="23342"/>
                  </a:lnTo>
                  <a:lnTo>
                    <a:pt x="615111" y="30187"/>
                  </a:lnTo>
                  <a:lnTo>
                    <a:pt x="631774" y="30187"/>
                  </a:lnTo>
                  <a:lnTo>
                    <a:pt x="638505" y="23342"/>
                  </a:lnTo>
                  <a:lnTo>
                    <a:pt x="645236" y="30187"/>
                  </a:lnTo>
                  <a:lnTo>
                    <a:pt x="661898" y="30187"/>
                  </a:lnTo>
                  <a:lnTo>
                    <a:pt x="665607" y="26416"/>
                  </a:lnTo>
                  <a:lnTo>
                    <a:pt x="669328" y="30187"/>
                  </a:lnTo>
                  <a:lnTo>
                    <a:pt x="685990" y="30187"/>
                  </a:lnTo>
                  <a:lnTo>
                    <a:pt x="692721" y="23342"/>
                  </a:lnTo>
                  <a:lnTo>
                    <a:pt x="699439" y="30187"/>
                  </a:lnTo>
                  <a:lnTo>
                    <a:pt x="716102" y="30187"/>
                  </a:lnTo>
                  <a:lnTo>
                    <a:pt x="722833" y="23342"/>
                  </a:lnTo>
                  <a:lnTo>
                    <a:pt x="729564" y="30187"/>
                  </a:lnTo>
                  <a:lnTo>
                    <a:pt x="746226" y="30187"/>
                  </a:lnTo>
                  <a:lnTo>
                    <a:pt x="752957" y="23342"/>
                  </a:lnTo>
                  <a:lnTo>
                    <a:pt x="759675" y="30187"/>
                  </a:lnTo>
                  <a:lnTo>
                    <a:pt x="776338" y="30187"/>
                  </a:lnTo>
                  <a:lnTo>
                    <a:pt x="783069" y="23342"/>
                  </a:lnTo>
                  <a:lnTo>
                    <a:pt x="789800" y="30187"/>
                  </a:lnTo>
                  <a:lnTo>
                    <a:pt x="806462" y="30187"/>
                  </a:lnTo>
                  <a:lnTo>
                    <a:pt x="807161" y="29476"/>
                  </a:lnTo>
                  <a:lnTo>
                    <a:pt x="807872" y="30187"/>
                  </a:lnTo>
                  <a:lnTo>
                    <a:pt x="824534" y="30187"/>
                  </a:lnTo>
                  <a:lnTo>
                    <a:pt x="831253" y="23342"/>
                  </a:lnTo>
                  <a:lnTo>
                    <a:pt x="831253" y="15087"/>
                  </a:lnTo>
                  <a:lnTo>
                    <a:pt x="831253" y="6743"/>
                  </a:lnTo>
                  <a:close/>
                </a:path>
                <a:path w="963929" h="193675">
                  <a:moveTo>
                    <a:pt x="855357" y="169773"/>
                  </a:moveTo>
                  <a:lnTo>
                    <a:pt x="848626" y="163029"/>
                  </a:lnTo>
                  <a:lnTo>
                    <a:pt x="831964" y="163029"/>
                  </a:lnTo>
                  <a:lnTo>
                    <a:pt x="825233" y="169773"/>
                  </a:lnTo>
                  <a:lnTo>
                    <a:pt x="825233" y="186372"/>
                  </a:lnTo>
                  <a:lnTo>
                    <a:pt x="831964" y="193217"/>
                  </a:lnTo>
                  <a:lnTo>
                    <a:pt x="848626" y="193217"/>
                  </a:lnTo>
                  <a:lnTo>
                    <a:pt x="855357" y="186372"/>
                  </a:lnTo>
                  <a:lnTo>
                    <a:pt x="855357" y="178117"/>
                  </a:lnTo>
                  <a:lnTo>
                    <a:pt x="855357" y="169773"/>
                  </a:lnTo>
                  <a:close/>
                </a:path>
                <a:path w="963929" h="193675">
                  <a:moveTo>
                    <a:pt x="873429" y="6743"/>
                  </a:moveTo>
                  <a:lnTo>
                    <a:pt x="866698" y="0"/>
                  </a:lnTo>
                  <a:lnTo>
                    <a:pt x="850036" y="0"/>
                  </a:lnTo>
                  <a:lnTo>
                    <a:pt x="843305" y="6743"/>
                  </a:lnTo>
                  <a:lnTo>
                    <a:pt x="843305" y="23342"/>
                  </a:lnTo>
                  <a:lnTo>
                    <a:pt x="850036" y="30187"/>
                  </a:lnTo>
                  <a:lnTo>
                    <a:pt x="866698" y="30187"/>
                  </a:lnTo>
                  <a:lnTo>
                    <a:pt x="873429" y="23342"/>
                  </a:lnTo>
                  <a:lnTo>
                    <a:pt x="873429" y="15087"/>
                  </a:lnTo>
                  <a:lnTo>
                    <a:pt x="873429" y="6743"/>
                  </a:lnTo>
                  <a:close/>
                </a:path>
                <a:path w="963929" h="193675">
                  <a:moveTo>
                    <a:pt x="903541" y="169773"/>
                  </a:moveTo>
                  <a:lnTo>
                    <a:pt x="896810" y="163029"/>
                  </a:lnTo>
                  <a:lnTo>
                    <a:pt x="880148" y="163029"/>
                  </a:lnTo>
                  <a:lnTo>
                    <a:pt x="873429" y="169773"/>
                  </a:lnTo>
                  <a:lnTo>
                    <a:pt x="873429" y="186372"/>
                  </a:lnTo>
                  <a:lnTo>
                    <a:pt x="880148" y="193217"/>
                  </a:lnTo>
                  <a:lnTo>
                    <a:pt x="896810" y="193217"/>
                  </a:lnTo>
                  <a:lnTo>
                    <a:pt x="903541" y="186372"/>
                  </a:lnTo>
                  <a:lnTo>
                    <a:pt x="903541" y="178117"/>
                  </a:lnTo>
                  <a:lnTo>
                    <a:pt x="903541" y="169773"/>
                  </a:lnTo>
                  <a:close/>
                </a:path>
                <a:path w="963929" h="193675">
                  <a:moveTo>
                    <a:pt x="915593" y="6743"/>
                  </a:moveTo>
                  <a:lnTo>
                    <a:pt x="908862" y="0"/>
                  </a:lnTo>
                  <a:lnTo>
                    <a:pt x="892200" y="0"/>
                  </a:lnTo>
                  <a:lnTo>
                    <a:pt x="885469" y="6743"/>
                  </a:lnTo>
                  <a:lnTo>
                    <a:pt x="885469" y="23342"/>
                  </a:lnTo>
                  <a:lnTo>
                    <a:pt x="892200" y="30187"/>
                  </a:lnTo>
                  <a:lnTo>
                    <a:pt x="908862" y="30187"/>
                  </a:lnTo>
                  <a:lnTo>
                    <a:pt x="915593" y="23342"/>
                  </a:lnTo>
                  <a:lnTo>
                    <a:pt x="915593" y="15087"/>
                  </a:lnTo>
                  <a:lnTo>
                    <a:pt x="915593" y="6743"/>
                  </a:lnTo>
                  <a:close/>
                </a:path>
                <a:path w="963929" h="193675">
                  <a:moveTo>
                    <a:pt x="945705" y="169773"/>
                  </a:moveTo>
                  <a:lnTo>
                    <a:pt x="938987" y="163029"/>
                  </a:lnTo>
                  <a:lnTo>
                    <a:pt x="922312" y="163029"/>
                  </a:lnTo>
                  <a:lnTo>
                    <a:pt x="915593" y="169773"/>
                  </a:lnTo>
                  <a:lnTo>
                    <a:pt x="915593" y="186372"/>
                  </a:lnTo>
                  <a:lnTo>
                    <a:pt x="922312" y="193217"/>
                  </a:lnTo>
                  <a:lnTo>
                    <a:pt x="938987" y="193217"/>
                  </a:lnTo>
                  <a:lnTo>
                    <a:pt x="945705" y="186372"/>
                  </a:lnTo>
                  <a:lnTo>
                    <a:pt x="945705" y="178117"/>
                  </a:lnTo>
                  <a:lnTo>
                    <a:pt x="945705" y="169773"/>
                  </a:lnTo>
                  <a:close/>
                </a:path>
                <a:path w="963929" h="193675">
                  <a:moveTo>
                    <a:pt x="963777" y="6743"/>
                  </a:moveTo>
                  <a:lnTo>
                    <a:pt x="957046" y="0"/>
                  </a:lnTo>
                  <a:lnTo>
                    <a:pt x="940384" y="0"/>
                  </a:lnTo>
                  <a:lnTo>
                    <a:pt x="933665" y="6743"/>
                  </a:lnTo>
                  <a:lnTo>
                    <a:pt x="933665" y="23342"/>
                  </a:lnTo>
                  <a:lnTo>
                    <a:pt x="940384" y="30187"/>
                  </a:lnTo>
                  <a:lnTo>
                    <a:pt x="957046" y="30187"/>
                  </a:lnTo>
                  <a:lnTo>
                    <a:pt x="963777" y="23342"/>
                  </a:lnTo>
                  <a:lnTo>
                    <a:pt x="963777" y="15087"/>
                  </a:lnTo>
                  <a:lnTo>
                    <a:pt x="963777" y="6743"/>
                  </a:lnTo>
                  <a:close/>
                </a:path>
              </a:pathLst>
            </a:custGeom>
            <a:solidFill>
              <a:srgbClr val="1F487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2" name="object 72"/>
            <p:cNvSpPr/>
            <p:nvPr/>
          </p:nvSpPr>
          <p:spPr>
            <a:xfrm>
              <a:off x="10017266" y="2348128"/>
              <a:ext cx="1831339" cy="882015"/>
            </a:xfrm>
            <a:custGeom>
              <a:avLst/>
              <a:gdLst/>
              <a:ahLst/>
              <a:cxnLst/>
              <a:rect l="l" t="t" r="r" b="b"/>
              <a:pathLst>
                <a:path w="1831340" h="882014">
                  <a:moveTo>
                    <a:pt x="1831177" y="0"/>
                  </a:moveTo>
                  <a:lnTo>
                    <a:pt x="0" y="0"/>
                  </a:lnTo>
                  <a:lnTo>
                    <a:pt x="0" y="881573"/>
                  </a:lnTo>
                  <a:lnTo>
                    <a:pt x="1831177" y="881573"/>
                  </a:lnTo>
                  <a:lnTo>
                    <a:pt x="1831177"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3" name="object 73"/>
            <p:cNvSpPr/>
            <p:nvPr/>
          </p:nvSpPr>
          <p:spPr>
            <a:xfrm>
              <a:off x="10219057" y="2459834"/>
              <a:ext cx="30480" cy="658495"/>
            </a:xfrm>
            <a:custGeom>
              <a:avLst/>
              <a:gdLst/>
              <a:ahLst/>
              <a:cxnLst/>
              <a:rect l="l" t="t" r="r" b="b"/>
              <a:pathLst>
                <a:path w="30479" h="658494">
                  <a:moveTo>
                    <a:pt x="30118" y="658160"/>
                  </a:moveTo>
                  <a:lnTo>
                    <a:pt x="30118" y="0"/>
                  </a:lnTo>
                </a:path>
                <a:path w="30479" h="658494">
                  <a:moveTo>
                    <a:pt x="0" y="658160"/>
                  </a:moveTo>
                  <a:lnTo>
                    <a:pt x="30118" y="658160"/>
                  </a:lnTo>
                </a:path>
                <a:path w="30479" h="658494">
                  <a:moveTo>
                    <a:pt x="0" y="332099"/>
                  </a:moveTo>
                  <a:lnTo>
                    <a:pt x="30118" y="332099"/>
                  </a:lnTo>
                </a:path>
                <a:path w="30479" h="658494">
                  <a:moveTo>
                    <a:pt x="0" y="0"/>
                  </a:moveTo>
                  <a:lnTo>
                    <a:pt x="30118" y="0"/>
                  </a:lnTo>
                </a:path>
              </a:pathLst>
            </a:custGeom>
            <a:ln w="6036">
              <a:solidFill>
                <a:srgbClr val="85858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4" name="object 74"/>
            <p:cNvSpPr/>
            <p:nvPr/>
          </p:nvSpPr>
          <p:spPr>
            <a:xfrm>
              <a:off x="10249175" y="2791933"/>
              <a:ext cx="1488440" cy="0"/>
            </a:xfrm>
            <a:custGeom>
              <a:avLst/>
              <a:gdLst/>
              <a:ahLst/>
              <a:cxnLst/>
              <a:rect l="l" t="t" r="r" b="b"/>
              <a:pathLst>
                <a:path w="1488440">
                  <a:moveTo>
                    <a:pt x="0" y="0"/>
                  </a:moveTo>
                  <a:lnTo>
                    <a:pt x="1027025" y="0"/>
                  </a:lnTo>
                </a:path>
                <a:path w="1488440">
                  <a:moveTo>
                    <a:pt x="1370371" y="0"/>
                  </a:moveTo>
                  <a:lnTo>
                    <a:pt x="1487832" y="0"/>
                  </a:lnTo>
                </a:path>
              </a:pathLst>
            </a:custGeom>
            <a:ln w="6044">
              <a:solidFill>
                <a:srgbClr val="85858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5" name="object 75"/>
            <p:cNvSpPr/>
            <p:nvPr/>
          </p:nvSpPr>
          <p:spPr>
            <a:xfrm>
              <a:off x="11276190" y="2758731"/>
              <a:ext cx="343535" cy="60960"/>
            </a:xfrm>
            <a:custGeom>
              <a:avLst/>
              <a:gdLst/>
              <a:ahLst/>
              <a:cxnLst/>
              <a:rect l="l" t="t" r="r" b="b"/>
              <a:pathLst>
                <a:path w="343534" h="60960">
                  <a:moveTo>
                    <a:pt x="343344" y="0"/>
                  </a:moveTo>
                  <a:lnTo>
                    <a:pt x="343344" y="0"/>
                  </a:lnTo>
                  <a:lnTo>
                    <a:pt x="0" y="0"/>
                  </a:lnTo>
                  <a:lnTo>
                    <a:pt x="0" y="60375"/>
                  </a:lnTo>
                  <a:lnTo>
                    <a:pt x="343344" y="60375"/>
                  </a:lnTo>
                  <a:lnTo>
                    <a:pt x="343344" y="0"/>
                  </a:lnTo>
                  <a:close/>
                </a:path>
              </a:pathLst>
            </a:custGeom>
            <a:solidFill>
              <a:srgbClr val="871BC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6" name="object 76"/>
            <p:cNvSpPr/>
            <p:nvPr/>
          </p:nvSpPr>
          <p:spPr>
            <a:xfrm>
              <a:off x="7752388" y="3253854"/>
              <a:ext cx="1831339" cy="882015"/>
            </a:xfrm>
            <a:custGeom>
              <a:avLst/>
              <a:gdLst/>
              <a:ahLst/>
              <a:cxnLst/>
              <a:rect l="l" t="t" r="r" b="b"/>
              <a:pathLst>
                <a:path w="1831340" h="882014">
                  <a:moveTo>
                    <a:pt x="1831177" y="0"/>
                  </a:moveTo>
                  <a:lnTo>
                    <a:pt x="0" y="0"/>
                  </a:lnTo>
                  <a:lnTo>
                    <a:pt x="0" y="881573"/>
                  </a:lnTo>
                  <a:lnTo>
                    <a:pt x="1831177" y="881573"/>
                  </a:lnTo>
                  <a:lnTo>
                    <a:pt x="1831177"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7" name="object 77"/>
            <p:cNvSpPr/>
            <p:nvPr/>
          </p:nvSpPr>
          <p:spPr>
            <a:xfrm>
              <a:off x="7960202" y="3365560"/>
              <a:ext cx="1511935" cy="658495"/>
            </a:xfrm>
            <a:custGeom>
              <a:avLst/>
              <a:gdLst/>
              <a:ahLst/>
              <a:cxnLst/>
              <a:rect l="l" t="t" r="r" b="b"/>
              <a:pathLst>
                <a:path w="1511934" h="658495">
                  <a:moveTo>
                    <a:pt x="30118" y="658160"/>
                  </a:moveTo>
                  <a:lnTo>
                    <a:pt x="1511926" y="658160"/>
                  </a:lnTo>
                </a:path>
                <a:path w="1511934" h="658495">
                  <a:moveTo>
                    <a:pt x="30118" y="495130"/>
                  </a:moveTo>
                  <a:lnTo>
                    <a:pt x="1511926" y="495130"/>
                  </a:lnTo>
                </a:path>
                <a:path w="1511934" h="658495">
                  <a:moveTo>
                    <a:pt x="30118" y="163030"/>
                  </a:moveTo>
                  <a:lnTo>
                    <a:pt x="1511926" y="163030"/>
                  </a:lnTo>
                </a:path>
                <a:path w="1511934" h="658495">
                  <a:moveTo>
                    <a:pt x="30118" y="0"/>
                  </a:moveTo>
                  <a:lnTo>
                    <a:pt x="1511926" y="0"/>
                  </a:lnTo>
                </a:path>
                <a:path w="1511934" h="658495">
                  <a:moveTo>
                    <a:pt x="30118" y="658160"/>
                  </a:moveTo>
                  <a:lnTo>
                    <a:pt x="30118" y="0"/>
                  </a:lnTo>
                </a:path>
                <a:path w="1511934" h="658495">
                  <a:moveTo>
                    <a:pt x="0" y="658160"/>
                  </a:moveTo>
                  <a:lnTo>
                    <a:pt x="30118" y="658160"/>
                  </a:lnTo>
                </a:path>
                <a:path w="1511934" h="658495">
                  <a:moveTo>
                    <a:pt x="0" y="495130"/>
                  </a:moveTo>
                  <a:lnTo>
                    <a:pt x="30118" y="495130"/>
                  </a:lnTo>
                </a:path>
                <a:path w="1511934" h="658495">
                  <a:moveTo>
                    <a:pt x="0" y="332099"/>
                  </a:moveTo>
                  <a:lnTo>
                    <a:pt x="30118" y="332099"/>
                  </a:lnTo>
                </a:path>
                <a:path w="1511934" h="658495">
                  <a:moveTo>
                    <a:pt x="0" y="163030"/>
                  </a:moveTo>
                  <a:lnTo>
                    <a:pt x="30118" y="163030"/>
                  </a:lnTo>
                </a:path>
                <a:path w="1511934" h="658495">
                  <a:moveTo>
                    <a:pt x="0" y="0"/>
                  </a:moveTo>
                  <a:lnTo>
                    <a:pt x="30118" y="0"/>
                  </a:lnTo>
                </a:path>
                <a:path w="1511934" h="658495">
                  <a:moveTo>
                    <a:pt x="30118" y="332099"/>
                  </a:moveTo>
                  <a:lnTo>
                    <a:pt x="1511926" y="332099"/>
                  </a:lnTo>
                </a:path>
              </a:pathLst>
            </a:custGeom>
            <a:ln w="6036">
              <a:solidFill>
                <a:srgbClr val="85858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8" name="object 78"/>
            <p:cNvSpPr/>
            <p:nvPr/>
          </p:nvSpPr>
          <p:spPr>
            <a:xfrm>
              <a:off x="7987297" y="3676535"/>
              <a:ext cx="1144905" cy="356870"/>
            </a:xfrm>
            <a:custGeom>
              <a:avLst/>
              <a:gdLst/>
              <a:ahLst/>
              <a:cxnLst/>
              <a:rect l="l" t="t" r="r" b="b"/>
              <a:pathLst>
                <a:path w="1144904" h="356870">
                  <a:moveTo>
                    <a:pt x="445757" y="6743"/>
                  </a:moveTo>
                  <a:lnTo>
                    <a:pt x="439026" y="0"/>
                  </a:lnTo>
                  <a:lnTo>
                    <a:pt x="426974" y="0"/>
                  </a:lnTo>
                  <a:lnTo>
                    <a:pt x="422363" y="0"/>
                  </a:lnTo>
                  <a:lnTo>
                    <a:pt x="410311" y="0"/>
                  </a:lnTo>
                  <a:lnTo>
                    <a:pt x="409613" y="711"/>
                  </a:lnTo>
                  <a:lnTo>
                    <a:pt x="408914" y="0"/>
                  </a:lnTo>
                  <a:lnTo>
                    <a:pt x="396862" y="0"/>
                  </a:lnTo>
                  <a:lnTo>
                    <a:pt x="392239" y="0"/>
                  </a:lnTo>
                  <a:lnTo>
                    <a:pt x="380199" y="0"/>
                  </a:lnTo>
                  <a:lnTo>
                    <a:pt x="379488" y="711"/>
                  </a:lnTo>
                  <a:lnTo>
                    <a:pt x="378790" y="0"/>
                  </a:lnTo>
                  <a:lnTo>
                    <a:pt x="366737" y="0"/>
                  </a:lnTo>
                  <a:lnTo>
                    <a:pt x="362127" y="0"/>
                  </a:lnTo>
                  <a:lnTo>
                    <a:pt x="350075" y="0"/>
                  </a:lnTo>
                  <a:lnTo>
                    <a:pt x="349377" y="711"/>
                  </a:lnTo>
                  <a:lnTo>
                    <a:pt x="348678" y="0"/>
                  </a:lnTo>
                  <a:lnTo>
                    <a:pt x="336626" y="0"/>
                  </a:lnTo>
                  <a:lnTo>
                    <a:pt x="332003" y="0"/>
                  </a:lnTo>
                  <a:lnTo>
                    <a:pt x="319963" y="0"/>
                  </a:lnTo>
                  <a:lnTo>
                    <a:pt x="319252" y="711"/>
                  </a:lnTo>
                  <a:lnTo>
                    <a:pt x="318554" y="0"/>
                  </a:lnTo>
                  <a:lnTo>
                    <a:pt x="306501" y="0"/>
                  </a:lnTo>
                  <a:lnTo>
                    <a:pt x="301891" y="0"/>
                  </a:lnTo>
                  <a:lnTo>
                    <a:pt x="294462" y="0"/>
                  </a:lnTo>
                  <a:lnTo>
                    <a:pt x="289839" y="0"/>
                  </a:lnTo>
                  <a:lnTo>
                    <a:pt x="277799" y="0"/>
                  </a:lnTo>
                  <a:lnTo>
                    <a:pt x="277088" y="711"/>
                  </a:lnTo>
                  <a:lnTo>
                    <a:pt x="276390" y="0"/>
                  </a:lnTo>
                  <a:lnTo>
                    <a:pt x="264337" y="0"/>
                  </a:lnTo>
                  <a:lnTo>
                    <a:pt x="259727" y="0"/>
                  </a:lnTo>
                  <a:lnTo>
                    <a:pt x="247675" y="0"/>
                  </a:lnTo>
                  <a:lnTo>
                    <a:pt x="246964" y="711"/>
                  </a:lnTo>
                  <a:lnTo>
                    <a:pt x="246265" y="0"/>
                  </a:lnTo>
                  <a:lnTo>
                    <a:pt x="234226" y="0"/>
                  </a:lnTo>
                  <a:lnTo>
                    <a:pt x="229603" y="0"/>
                  </a:lnTo>
                  <a:lnTo>
                    <a:pt x="217563" y="0"/>
                  </a:lnTo>
                  <a:lnTo>
                    <a:pt x="216852" y="711"/>
                  </a:lnTo>
                  <a:lnTo>
                    <a:pt x="216154" y="0"/>
                  </a:lnTo>
                  <a:lnTo>
                    <a:pt x="204101" y="0"/>
                  </a:lnTo>
                  <a:lnTo>
                    <a:pt x="199491" y="0"/>
                  </a:lnTo>
                  <a:lnTo>
                    <a:pt x="187439" y="0"/>
                  </a:lnTo>
                  <a:lnTo>
                    <a:pt x="186728" y="711"/>
                  </a:lnTo>
                  <a:lnTo>
                    <a:pt x="186029" y="0"/>
                  </a:lnTo>
                  <a:lnTo>
                    <a:pt x="173990" y="0"/>
                  </a:lnTo>
                  <a:lnTo>
                    <a:pt x="169367" y="0"/>
                  </a:lnTo>
                  <a:lnTo>
                    <a:pt x="157327" y="0"/>
                  </a:lnTo>
                  <a:lnTo>
                    <a:pt x="156616" y="711"/>
                  </a:lnTo>
                  <a:lnTo>
                    <a:pt x="155917" y="0"/>
                  </a:lnTo>
                  <a:lnTo>
                    <a:pt x="143865" y="0"/>
                  </a:lnTo>
                  <a:lnTo>
                    <a:pt x="139255" y="0"/>
                  </a:lnTo>
                  <a:lnTo>
                    <a:pt x="131826" y="0"/>
                  </a:lnTo>
                  <a:lnTo>
                    <a:pt x="127203" y="0"/>
                  </a:lnTo>
                  <a:lnTo>
                    <a:pt x="115163" y="0"/>
                  </a:lnTo>
                  <a:lnTo>
                    <a:pt x="114452" y="711"/>
                  </a:lnTo>
                  <a:lnTo>
                    <a:pt x="113753" y="0"/>
                  </a:lnTo>
                  <a:lnTo>
                    <a:pt x="101701" y="0"/>
                  </a:lnTo>
                  <a:lnTo>
                    <a:pt x="97091" y="0"/>
                  </a:lnTo>
                  <a:lnTo>
                    <a:pt x="85039" y="0"/>
                  </a:lnTo>
                  <a:lnTo>
                    <a:pt x="84328" y="711"/>
                  </a:lnTo>
                  <a:lnTo>
                    <a:pt x="83629" y="0"/>
                  </a:lnTo>
                  <a:lnTo>
                    <a:pt x="71589" y="0"/>
                  </a:lnTo>
                  <a:lnTo>
                    <a:pt x="66967" y="0"/>
                  </a:lnTo>
                  <a:lnTo>
                    <a:pt x="54927" y="0"/>
                  </a:lnTo>
                  <a:lnTo>
                    <a:pt x="54216" y="711"/>
                  </a:lnTo>
                  <a:lnTo>
                    <a:pt x="53517" y="0"/>
                  </a:lnTo>
                  <a:lnTo>
                    <a:pt x="41465" y="0"/>
                  </a:lnTo>
                  <a:lnTo>
                    <a:pt x="36855" y="0"/>
                  </a:lnTo>
                  <a:lnTo>
                    <a:pt x="24803" y="0"/>
                  </a:lnTo>
                  <a:lnTo>
                    <a:pt x="24091" y="711"/>
                  </a:lnTo>
                  <a:lnTo>
                    <a:pt x="23393" y="0"/>
                  </a:lnTo>
                  <a:lnTo>
                    <a:pt x="6731" y="0"/>
                  </a:lnTo>
                  <a:lnTo>
                    <a:pt x="0" y="6743"/>
                  </a:lnTo>
                  <a:lnTo>
                    <a:pt x="0" y="23342"/>
                  </a:lnTo>
                  <a:lnTo>
                    <a:pt x="6731" y="30187"/>
                  </a:lnTo>
                  <a:lnTo>
                    <a:pt x="23393" y="30187"/>
                  </a:lnTo>
                  <a:lnTo>
                    <a:pt x="24091" y="29476"/>
                  </a:lnTo>
                  <a:lnTo>
                    <a:pt x="24803" y="30187"/>
                  </a:lnTo>
                  <a:lnTo>
                    <a:pt x="36855" y="30187"/>
                  </a:lnTo>
                  <a:lnTo>
                    <a:pt x="41465" y="30187"/>
                  </a:lnTo>
                  <a:lnTo>
                    <a:pt x="53517" y="30187"/>
                  </a:lnTo>
                  <a:lnTo>
                    <a:pt x="54216" y="29476"/>
                  </a:lnTo>
                  <a:lnTo>
                    <a:pt x="54927" y="30187"/>
                  </a:lnTo>
                  <a:lnTo>
                    <a:pt x="66967" y="30187"/>
                  </a:lnTo>
                  <a:lnTo>
                    <a:pt x="71589" y="30187"/>
                  </a:lnTo>
                  <a:lnTo>
                    <a:pt x="83629" y="30187"/>
                  </a:lnTo>
                  <a:lnTo>
                    <a:pt x="84328" y="29476"/>
                  </a:lnTo>
                  <a:lnTo>
                    <a:pt x="85039" y="30187"/>
                  </a:lnTo>
                  <a:lnTo>
                    <a:pt x="97091" y="30187"/>
                  </a:lnTo>
                  <a:lnTo>
                    <a:pt x="101701" y="30187"/>
                  </a:lnTo>
                  <a:lnTo>
                    <a:pt x="113753" y="30187"/>
                  </a:lnTo>
                  <a:lnTo>
                    <a:pt x="114452" y="29476"/>
                  </a:lnTo>
                  <a:lnTo>
                    <a:pt x="115163" y="30187"/>
                  </a:lnTo>
                  <a:lnTo>
                    <a:pt x="127203" y="30187"/>
                  </a:lnTo>
                  <a:lnTo>
                    <a:pt x="131826" y="30187"/>
                  </a:lnTo>
                  <a:lnTo>
                    <a:pt x="139255" y="30187"/>
                  </a:lnTo>
                  <a:lnTo>
                    <a:pt x="143865" y="30187"/>
                  </a:lnTo>
                  <a:lnTo>
                    <a:pt x="155917" y="30187"/>
                  </a:lnTo>
                  <a:lnTo>
                    <a:pt x="156616" y="29476"/>
                  </a:lnTo>
                  <a:lnTo>
                    <a:pt x="157327" y="30187"/>
                  </a:lnTo>
                  <a:lnTo>
                    <a:pt x="169367" y="30187"/>
                  </a:lnTo>
                  <a:lnTo>
                    <a:pt x="173990" y="30187"/>
                  </a:lnTo>
                  <a:lnTo>
                    <a:pt x="186029" y="30187"/>
                  </a:lnTo>
                  <a:lnTo>
                    <a:pt x="186728" y="29476"/>
                  </a:lnTo>
                  <a:lnTo>
                    <a:pt x="187439" y="30187"/>
                  </a:lnTo>
                  <a:lnTo>
                    <a:pt x="199491" y="30187"/>
                  </a:lnTo>
                  <a:lnTo>
                    <a:pt x="204101" y="30187"/>
                  </a:lnTo>
                  <a:lnTo>
                    <a:pt x="216154" y="30187"/>
                  </a:lnTo>
                  <a:lnTo>
                    <a:pt x="216852" y="29476"/>
                  </a:lnTo>
                  <a:lnTo>
                    <a:pt x="217563" y="30187"/>
                  </a:lnTo>
                  <a:lnTo>
                    <a:pt x="229603" y="30187"/>
                  </a:lnTo>
                  <a:lnTo>
                    <a:pt x="234226" y="30187"/>
                  </a:lnTo>
                  <a:lnTo>
                    <a:pt x="246265" y="30187"/>
                  </a:lnTo>
                  <a:lnTo>
                    <a:pt x="246964" y="29476"/>
                  </a:lnTo>
                  <a:lnTo>
                    <a:pt x="247675" y="30187"/>
                  </a:lnTo>
                  <a:lnTo>
                    <a:pt x="259727" y="30187"/>
                  </a:lnTo>
                  <a:lnTo>
                    <a:pt x="264337" y="30187"/>
                  </a:lnTo>
                  <a:lnTo>
                    <a:pt x="276390" y="30187"/>
                  </a:lnTo>
                  <a:lnTo>
                    <a:pt x="277088" y="29476"/>
                  </a:lnTo>
                  <a:lnTo>
                    <a:pt x="277799" y="30187"/>
                  </a:lnTo>
                  <a:lnTo>
                    <a:pt x="289839" y="30187"/>
                  </a:lnTo>
                  <a:lnTo>
                    <a:pt x="294462" y="30187"/>
                  </a:lnTo>
                  <a:lnTo>
                    <a:pt x="301891" y="30187"/>
                  </a:lnTo>
                  <a:lnTo>
                    <a:pt x="306501" y="30187"/>
                  </a:lnTo>
                  <a:lnTo>
                    <a:pt x="318554" y="30187"/>
                  </a:lnTo>
                  <a:lnTo>
                    <a:pt x="319252" y="29476"/>
                  </a:lnTo>
                  <a:lnTo>
                    <a:pt x="319963" y="30187"/>
                  </a:lnTo>
                  <a:lnTo>
                    <a:pt x="332003" y="30187"/>
                  </a:lnTo>
                  <a:lnTo>
                    <a:pt x="336626" y="30187"/>
                  </a:lnTo>
                  <a:lnTo>
                    <a:pt x="348678" y="30187"/>
                  </a:lnTo>
                  <a:lnTo>
                    <a:pt x="349377" y="29476"/>
                  </a:lnTo>
                  <a:lnTo>
                    <a:pt x="350075" y="30187"/>
                  </a:lnTo>
                  <a:lnTo>
                    <a:pt x="362127" y="30187"/>
                  </a:lnTo>
                  <a:lnTo>
                    <a:pt x="366737" y="30187"/>
                  </a:lnTo>
                  <a:lnTo>
                    <a:pt x="378790" y="30187"/>
                  </a:lnTo>
                  <a:lnTo>
                    <a:pt x="379488" y="29476"/>
                  </a:lnTo>
                  <a:lnTo>
                    <a:pt x="380199" y="30187"/>
                  </a:lnTo>
                  <a:lnTo>
                    <a:pt x="392239" y="30187"/>
                  </a:lnTo>
                  <a:lnTo>
                    <a:pt x="396862" y="30187"/>
                  </a:lnTo>
                  <a:lnTo>
                    <a:pt x="408914" y="30187"/>
                  </a:lnTo>
                  <a:lnTo>
                    <a:pt x="409613" y="29476"/>
                  </a:lnTo>
                  <a:lnTo>
                    <a:pt x="410311" y="30187"/>
                  </a:lnTo>
                  <a:lnTo>
                    <a:pt x="422363" y="30187"/>
                  </a:lnTo>
                  <a:lnTo>
                    <a:pt x="426974" y="30187"/>
                  </a:lnTo>
                  <a:lnTo>
                    <a:pt x="439026" y="30187"/>
                  </a:lnTo>
                  <a:lnTo>
                    <a:pt x="445757" y="23342"/>
                  </a:lnTo>
                  <a:lnTo>
                    <a:pt x="445757" y="15087"/>
                  </a:lnTo>
                  <a:lnTo>
                    <a:pt x="445757" y="6743"/>
                  </a:lnTo>
                  <a:close/>
                </a:path>
                <a:path w="1144904" h="356870">
                  <a:moveTo>
                    <a:pt x="1054138" y="6743"/>
                  </a:moveTo>
                  <a:lnTo>
                    <a:pt x="1047407" y="0"/>
                  </a:lnTo>
                  <a:lnTo>
                    <a:pt x="1030744" y="0"/>
                  </a:lnTo>
                  <a:lnTo>
                    <a:pt x="1030033" y="711"/>
                  </a:lnTo>
                  <a:lnTo>
                    <a:pt x="1029335" y="0"/>
                  </a:lnTo>
                  <a:lnTo>
                    <a:pt x="988580" y="0"/>
                  </a:lnTo>
                  <a:lnTo>
                    <a:pt x="987869" y="711"/>
                  </a:lnTo>
                  <a:lnTo>
                    <a:pt x="987171" y="0"/>
                  </a:lnTo>
                  <a:lnTo>
                    <a:pt x="975131" y="0"/>
                  </a:lnTo>
                  <a:lnTo>
                    <a:pt x="970508" y="0"/>
                  </a:lnTo>
                  <a:lnTo>
                    <a:pt x="958469" y="0"/>
                  </a:lnTo>
                  <a:lnTo>
                    <a:pt x="957757" y="711"/>
                  </a:lnTo>
                  <a:lnTo>
                    <a:pt x="957059" y="0"/>
                  </a:lnTo>
                  <a:lnTo>
                    <a:pt x="945007" y="0"/>
                  </a:lnTo>
                  <a:lnTo>
                    <a:pt x="940396" y="0"/>
                  </a:lnTo>
                  <a:lnTo>
                    <a:pt x="928344" y="0"/>
                  </a:lnTo>
                  <a:lnTo>
                    <a:pt x="927633" y="711"/>
                  </a:lnTo>
                  <a:lnTo>
                    <a:pt x="926934" y="0"/>
                  </a:lnTo>
                  <a:lnTo>
                    <a:pt x="914895" y="0"/>
                  </a:lnTo>
                  <a:lnTo>
                    <a:pt x="910272" y="0"/>
                  </a:lnTo>
                  <a:lnTo>
                    <a:pt x="898232" y="0"/>
                  </a:lnTo>
                  <a:lnTo>
                    <a:pt x="897521" y="711"/>
                  </a:lnTo>
                  <a:lnTo>
                    <a:pt x="896823" y="0"/>
                  </a:lnTo>
                  <a:lnTo>
                    <a:pt x="884770" y="0"/>
                  </a:lnTo>
                  <a:lnTo>
                    <a:pt x="880160" y="0"/>
                  </a:lnTo>
                  <a:lnTo>
                    <a:pt x="868108" y="0"/>
                  </a:lnTo>
                  <a:lnTo>
                    <a:pt x="867397" y="711"/>
                  </a:lnTo>
                  <a:lnTo>
                    <a:pt x="866698" y="0"/>
                  </a:lnTo>
                  <a:lnTo>
                    <a:pt x="854659" y="0"/>
                  </a:lnTo>
                  <a:lnTo>
                    <a:pt x="850036" y="0"/>
                  </a:lnTo>
                  <a:lnTo>
                    <a:pt x="842606" y="0"/>
                  </a:lnTo>
                  <a:lnTo>
                    <a:pt x="837996" y="0"/>
                  </a:lnTo>
                  <a:lnTo>
                    <a:pt x="825944" y="0"/>
                  </a:lnTo>
                  <a:lnTo>
                    <a:pt x="825233" y="711"/>
                  </a:lnTo>
                  <a:lnTo>
                    <a:pt x="824534" y="0"/>
                  </a:lnTo>
                  <a:lnTo>
                    <a:pt x="812495" y="0"/>
                  </a:lnTo>
                  <a:lnTo>
                    <a:pt x="807872" y="0"/>
                  </a:lnTo>
                  <a:lnTo>
                    <a:pt x="795820" y="0"/>
                  </a:lnTo>
                  <a:lnTo>
                    <a:pt x="795121" y="711"/>
                  </a:lnTo>
                  <a:lnTo>
                    <a:pt x="794423" y="0"/>
                  </a:lnTo>
                  <a:lnTo>
                    <a:pt x="782370" y="0"/>
                  </a:lnTo>
                  <a:lnTo>
                    <a:pt x="777760" y="0"/>
                  </a:lnTo>
                  <a:lnTo>
                    <a:pt x="765708" y="0"/>
                  </a:lnTo>
                  <a:lnTo>
                    <a:pt x="764997" y="711"/>
                  </a:lnTo>
                  <a:lnTo>
                    <a:pt x="764298" y="0"/>
                  </a:lnTo>
                  <a:lnTo>
                    <a:pt x="752259" y="0"/>
                  </a:lnTo>
                  <a:lnTo>
                    <a:pt x="747636" y="0"/>
                  </a:lnTo>
                  <a:lnTo>
                    <a:pt x="735584" y="0"/>
                  </a:lnTo>
                  <a:lnTo>
                    <a:pt x="734885" y="711"/>
                  </a:lnTo>
                  <a:lnTo>
                    <a:pt x="734187" y="0"/>
                  </a:lnTo>
                  <a:lnTo>
                    <a:pt x="722134" y="0"/>
                  </a:lnTo>
                  <a:lnTo>
                    <a:pt x="717524" y="0"/>
                  </a:lnTo>
                  <a:lnTo>
                    <a:pt x="705472" y="0"/>
                  </a:lnTo>
                  <a:lnTo>
                    <a:pt x="704761" y="711"/>
                  </a:lnTo>
                  <a:lnTo>
                    <a:pt x="704062" y="0"/>
                  </a:lnTo>
                  <a:lnTo>
                    <a:pt x="692023" y="0"/>
                  </a:lnTo>
                  <a:lnTo>
                    <a:pt x="687400" y="0"/>
                  </a:lnTo>
                  <a:lnTo>
                    <a:pt x="675347" y="0"/>
                  </a:lnTo>
                  <a:lnTo>
                    <a:pt x="674649" y="711"/>
                  </a:lnTo>
                  <a:lnTo>
                    <a:pt x="673950" y="0"/>
                  </a:lnTo>
                  <a:lnTo>
                    <a:pt x="633183" y="0"/>
                  </a:lnTo>
                  <a:lnTo>
                    <a:pt x="632485" y="711"/>
                  </a:lnTo>
                  <a:lnTo>
                    <a:pt x="631786" y="0"/>
                  </a:lnTo>
                  <a:lnTo>
                    <a:pt x="619734" y="0"/>
                  </a:lnTo>
                  <a:lnTo>
                    <a:pt x="615111" y="0"/>
                  </a:lnTo>
                  <a:lnTo>
                    <a:pt x="603072" y="0"/>
                  </a:lnTo>
                  <a:lnTo>
                    <a:pt x="602361" y="711"/>
                  </a:lnTo>
                  <a:lnTo>
                    <a:pt x="601662" y="0"/>
                  </a:lnTo>
                  <a:lnTo>
                    <a:pt x="589622" y="0"/>
                  </a:lnTo>
                  <a:lnTo>
                    <a:pt x="585000" y="0"/>
                  </a:lnTo>
                  <a:lnTo>
                    <a:pt x="572947" y="0"/>
                  </a:lnTo>
                  <a:lnTo>
                    <a:pt x="572249" y="711"/>
                  </a:lnTo>
                  <a:lnTo>
                    <a:pt x="571550" y="0"/>
                  </a:lnTo>
                  <a:lnTo>
                    <a:pt x="559498" y="0"/>
                  </a:lnTo>
                  <a:lnTo>
                    <a:pt x="554875" y="0"/>
                  </a:lnTo>
                  <a:lnTo>
                    <a:pt x="542836" y="0"/>
                  </a:lnTo>
                  <a:lnTo>
                    <a:pt x="542124" y="711"/>
                  </a:lnTo>
                  <a:lnTo>
                    <a:pt x="541426" y="0"/>
                  </a:lnTo>
                  <a:lnTo>
                    <a:pt x="529386" y="0"/>
                  </a:lnTo>
                  <a:lnTo>
                    <a:pt x="524764" y="0"/>
                  </a:lnTo>
                  <a:lnTo>
                    <a:pt x="512711" y="0"/>
                  </a:lnTo>
                  <a:lnTo>
                    <a:pt x="505993" y="6743"/>
                  </a:lnTo>
                  <a:lnTo>
                    <a:pt x="505993" y="23342"/>
                  </a:lnTo>
                  <a:lnTo>
                    <a:pt x="512711" y="30187"/>
                  </a:lnTo>
                  <a:lnTo>
                    <a:pt x="524764" y="30187"/>
                  </a:lnTo>
                  <a:lnTo>
                    <a:pt x="529386" y="30187"/>
                  </a:lnTo>
                  <a:lnTo>
                    <a:pt x="541426" y="30187"/>
                  </a:lnTo>
                  <a:lnTo>
                    <a:pt x="542124" y="29476"/>
                  </a:lnTo>
                  <a:lnTo>
                    <a:pt x="542836" y="30187"/>
                  </a:lnTo>
                  <a:lnTo>
                    <a:pt x="554875" y="30187"/>
                  </a:lnTo>
                  <a:lnTo>
                    <a:pt x="559498" y="30187"/>
                  </a:lnTo>
                  <a:lnTo>
                    <a:pt x="571550" y="30187"/>
                  </a:lnTo>
                  <a:lnTo>
                    <a:pt x="572249" y="29476"/>
                  </a:lnTo>
                  <a:lnTo>
                    <a:pt x="572947" y="30187"/>
                  </a:lnTo>
                  <a:lnTo>
                    <a:pt x="585000" y="30187"/>
                  </a:lnTo>
                  <a:lnTo>
                    <a:pt x="589622" y="30187"/>
                  </a:lnTo>
                  <a:lnTo>
                    <a:pt x="601662" y="30187"/>
                  </a:lnTo>
                  <a:lnTo>
                    <a:pt x="602361" y="29476"/>
                  </a:lnTo>
                  <a:lnTo>
                    <a:pt x="603072" y="30187"/>
                  </a:lnTo>
                  <a:lnTo>
                    <a:pt x="615111" y="30187"/>
                  </a:lnTo>
                  <a:lnTo>
                    <a:pt x="619734" y="30187"/>
                  </a:lnTo>
                  <a:lnTo>
                    <a:pt x="631786" y="30187"/>
                  </a:lnTo>
                  <a:lnTo>
                    <a:pt x="632485" y="29476"/>
                  </a:lnTo>
                  <a:lnTo>
                    <a:pt x="633183" y="30187"/>
                  </a:lnTo>
                  <a:lnTo>
                    <a:pt x="645236" y="30187"/>
                  </a:lnTo>
                  <a:lnTo>
                    <a:pt x="649859" y="30187"/>
                  </a:lnTo>
                  <a:lnTo>
                    <a:pt x="657288" y="30187"/>
                  </a:lnTo>
                  <a:lnTo>
                    <a:pt x="661898" y="30187"/>
                  </a:lnTo>
                  <a:lnTo>
                    <a:pt x="673950" y="30187"/>
                  </a:lnTo>
                  <a:lnTo>
                    <a:pt x="674649" y="29476"/>
                  </a:lnTo>
                  <a:lnTo>
                    <a:pt x="675347" y="30187"/>
                  </a:lnTo>
                  <a:lnTo>
                    <a:pt x="687400" y="30187"/>
                  </a:lnTo>
                  <a:lnTo>
                    <a:pt x="692023" y="30187"/>
                  </a:lnTo>
                  <a:lnTo>
                    <a:pt x="704062" y="30187"/>
                  </a:lnTo>
                  <a:lnTo>
                    <a:pt x="704761" y="29476"/>
                  </a:lnTo>
                  <a:lnTo>
                    <a:pt x="705472" y="30187"/>
                  </a:lnTo>
                  <a:lnTo>
                    <a:pt x="717524" y="30187"/>
                  </a:lnTo>
                  <a:lnTo>
                    <a:pt x="722134" y="30187"/>
                  </a:lnTo>
                  <a:lnTo>
                    <a:pt x="734187" y="30187"/>
                  </a:lnTo>
                  <a:lnTo>
                    <a:pt x="734885" y="29476"/>
                  </a:lnTo>
                  <a:lnTo>
                    <a:pt x="735584" y="30187"/>
                  </a:lnTo>
                  <a:lnTo>
                    <a:pt x="747636" y="30187"/>
                  </a:lnTo>
                  <a:lnTo>
                    <a:pt x="752259" y="30187"/>
                  </a:lnTo>
                  <a:lnTo>
                    <a:pt x="764298" y="30187"/>
                  </a:lnTo>
                  <a:lnTo>
                    <a:pt x="764997" y="29476"/>
                  </a:lnTo>
                  <a:lnTo>
                    <a:pt x="765708" y="30187"/>
                  </a:lnTo>
                  <a:lnTo>
                    <a:pt x="777760" y="30187"/>
                  </a:lnTo>
                  <a:lnTo>
                    <a:pt x="782370" y="30187"/>
                  </a:lnTo>
                  <a:lnTo>
                    <a:pt x="794423" y="30187"/>
                  </a:lnTo>
                  <a:lnTo>
                    <a:pt x="795121" y="29476"/>
                  </a:lnTo>
                  <a:lnTo>
                    <a:pt x="795820" y="30187"/>
                  </a:lnTo>
                  <a:lnTo>
                    <a:pt x="807872" y="30187"/>
                  </a:lnTo>
                  <a:lnTo>
                    <a:pt x="812495" y="30187"/>
                  </a:lnTo>
                  <a:lnTo>
                    <a:pt x="824534" y="30187"/>
                  </a:lnTo>
                  <a:lnTo>
                    <a:pt x="825233" y="29476"/>
                  </a:lnTo>
                  <a:lnTo>
                    <a:pt x="825944" y="30187"/>
                  </a:lnTo>
                  <a:lnTo>
                    <a:pt x="866698" y="30187"/>
                  </a:lnTo>
                  <a:lnTo>
                    <a:pt x="867397" y="29476"/>
                  </a:lnTo>
                  <a:lnTo>
                    <a:pt x="868108" y="30187"/>
                  </a:lnTo>
                  <a:lnTo>
                    <a:pt x="880160" y="30187"/>
                  </a:lnTo>
                  <a:lnTo>
                    <a:pt x="884770" y="30187"/>
                  </a:lnTo>
                  <a:lnTo>
                    <a:pt x="896823" y="30187"/>
                  </a:lnTo>
                  <a:lnTo>
                    <a:pt x="897521" y="29476"/>
                  </a:lnTo>
                  <a:lnTo>
                    <a:pt x="898232" y="30187"/>
                  </a:lnTo>
                  <a:lnTo>
                    <a:pt x="910272" y="30187"/>
                  </a:lnTo>
                  <a:lnTo>
                    <a:pt x="914895" y="30187"/>
                  </a:lnTo>
                  <a:lnTo>
                    <a:pt x="926934" y="30187"/>
                  </a:lnTo>
                  <a:lnTo>
                    <a:pt x="927633" y="29476"/>
                  </a:lnTo>
                  <a:lnTo>
                    <a:pt x="928344" y="30187"/>
                  </a:lnTo>
                  <a:lnTo>
                    <a:pt x="940396" y="30187"/>
                  </a:lnTo>
                  <a:lnTo>
                    <a:pt x="945007" y="30187"/>
                  </a:lnTo>
                  <a:lnTo>
                    <a:pt x="957059" y="30187"/>
                  </a:lnTo>
                  <a:lnTo>
                    <a:pt x="957757" y="29476"/>
                  </a:lnTo>
                  <a:lnTo>
                    <a:pt x="958469" y="30187"/>
                  </a:lnTo>
                  <a:lnTo>
                    <a:pt x="970508" y="30187"/>
                  </a:lnTo>
                  <a:lnTo>
                    <a:pt x="975131" y="30187"/>
                  </a:lnTo>
                  <a:lnTo>
                    <a:pt x="987171" y="30187"/>
                  </a:lnTo>
                  <a:lnTo>
                    <a:pt x="987869" y="29476"/>
                  </a:lnTo>
                  <a:lnTo>
                    <a:pt x="988580" y="30187"/>
                  </a:lnTo>
                  <a:lnTo>
                    <a:pt x="1000633" y="30187"/>
                  </a:lnTo>
                  <a:lnTo>
                    <a:pt x="1005243" y="30187"/>
                  </a:lnTo>
                  <a:lnTo>
                    <a:pt x="1012672" y="30187"/>
                  </a:lnTo>
                  <a:lnTo>
                    <a:pt x="1017295" y="30187"/>
                  </a:lnTo>
                  <a:lnTo>
                    <a:pt x="1029335" y="30187"/>
                  </a:lnTo>
                  <a:lnTo>
                    <a:pt x="1030033" y="29476"/>
                  </a:lnTo>
                  <a:lnTo>
                    <a:pt x="1030744" y="30187"/>
                  </a:lnTo>
                  <a:lnTo>
                    <a:pt x="1047407" y="30187"/>
                  </a:lnTo>
                  <a:lnTo>
                    <a:pt x="1054138" y="23342"/>
                  </a:lnTo>
                  <a:lnTo>
                    <a:pt x="1054138" y="15087"/>
                  </a:lnTo>
                  <a:lnTo>
                    <a:pt x="1054138" y="6743"/>
                  </a:lnTo>
                  <a:close/>
                </a:path>
                <a:path w="1144904" h="356870">
                  <a:moveTo>
                    <a:pt x="1144498" y="332803"/>
                  </a:moveTo>
                  <a:lnTo>
                    <a:pt x="1137767" y="326059"/>
                  </a:lnTo>
                  <a:lnTo>
                    <a:pt x="1121105" y="326059"/>
                  </a:lnTo>
                  <a:lnTo>
                    <a:pt x="1120394" y="326771"/>
                  </a:lnTo>
                  <a:lnTo>
                    <a:pt x="1119695" y="326059"/>
                  </a:lnTo>
                  <a:lnTo>
                    <a:pt x="1107643" y="326059"/>
                  </a:lnTo>
                  <a:lnTo>
                    <a:pt x="1103033" y="326059"/>
                  </a:lnTo>
                  <a:lnTo>
                    <a:pt x="1090980" y="326059"/>
                  </a:lnTo>
                  <a:lnTo>
                    <a:pt x="1090269" y="326771"/>
                  </a:lnTo>
                  <a:lnTo>
                    <a:pt x="1089571" y="326059"/>
                  </a:lnTo>
                  <a:lnTo>
                    <a:pt x="1077531" y="326059"/>
                  </a:lnTo>
                  <a:lnTo>
                    <a:pt x="1072908" y="326059"/>
                  </a:lnTo>
                  <a:lnTo>
                    <a:pt x="1060869" y="326059"/>
                  </a:lnTo>
                  <a:lnTo>
                    <a:pt x="1060157" y="326771"/>
                  </a:lnTo>
                  <a:lnTo>
                    <a:pt x="1059459" y="326059"/>
                  </a:lnTo>
                  <a:lnTo>
                    <a:pt x="1042797" y="326059"/>
                  </a:lnTo>
                  <a:lnTo>
                    <a:pt x="1036066" y="332803"/>
                  </a:lnTo>
                  <a:lnTo>
                    <a:pt x="1036066" y="349402"/>
                  </a:lnTo>
                  <a:lnTo>
                    <a:pt x="1042797" y="356247"/>
                  </a:lnTo>
                  <a:lnTo>
                    <a:pt x="1059459" y="356247"/>
                  </a:lnTo>
                  <a:lnTo>
                    <a:pt x="1060157" y="355536"/>
                  </a:lnTo>
                  <a:lnTo>
                    <a:pt x="1060869" y="356247"/>
                  </a:lnTo>
                  <a:lnTo>
                    <a:pt x="1072908" y="356247"/>
                  </a:lnTo>
                  <a:lnTo>
                    <a:pt x="1077531" y="356247"/>
                  </a:lnTo>
                  <a:lnTo>
                    <a:pt x="1089571" y="356247"/>
                  </a:lnTo>
                  <a:lnTo>
                    <a:pt x="1090269" y="355536"/>
                  </a:lnTo>
                  <a:lnTo>
                    <a:pt x="1090980" y="356247"/>
                  </a:lnTo>
                  <a:lnTo>
                    <a:pt x="1103033" y="356247"/>
                  </a:lnTo>
                  <a:lnTo>
                    <a:pt x="1107643" y="356247"/>
                  </a:lnTo>
                  <a:lnTo>
                    <a:pt x="1119695" y="356247"/>
                  </a:lnTo>
                  <a:lnTo>
                    <a:pt x="1120394" y="355536"/>
                  </a:lnTo>
                  <a:lnTo>
                    <a:pt x="1121105" y="356247"/>
                  </a:lnTo>
                  <a:lnTo>
                    <a:pt x="1137767" y="356247"/>
                  </a:lnTo>
                  <a:lnTo>
                    <a:pt x="1144498" y="349402"/>
                  </a:lnTo>
                  <a:lnTo>
                    <a:pt x="1144498" y="341147"/>
                  </a:lnTo>
                  <a:lnTo>
                    <a:pt x="1144498" y="332803"/>
                  </a:lnTo>
                  <a:close/>
                </a:path>
              </a:pathLst>
            </a:custGeom>
            <a:solidFill>
              <a:srgbClr val="94373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9" name="object 79"/>
            <p:cNvSpPr/>
            <p:nvPr/>
          </p:nvSpPr>
          <p:spPr>
            <a:xfrm>
              <a:off x="9101670" y="3676535"/>
              <a:ext cx="386080" cy="356870"/>
            </a:xfrm>
            <a:custGeom>
              <a:avLst/>
              <a:gdLst/>
              <a:ahLst/>
              <a:cxnLst/>
              <a:rect l="l" t="t" r="r" b="b"/>
              <a:pathLst>
                <a:path w="386079" h="356870">
                  <a:moveTo>
                    <a:pt x="234924" y="332803"/>
                  </a:moveTo>
                  <a:lnTo>
                    <a:pt x="228193" y="326059"/>
                  </a:lnTo>
                  <a:lnTo>
                    <a:pt x="216141" y="326059"/>
                  </a:lnTo>
                  <a:lnTo>
                    <a:pt x="211531" y="326059"/>
                  </a:lnTo>
                  <a:lnTo>
                    <a:pt x="199478" y="326059"/>
                  </a:lnTo>
                  <a:lnTo>
                    <a:pt x="198780" y="326771"/>
                  </a:lnTo>
                  <a:lnTo>
                    <a:pt x="198081" y="326059"/>
                  </a:lnTo>
                  <a:lnTo>
                    <a:pt x="186029" y="326059"/>
                  </a:lnTo>
                  <a:lnTo>
                    <a:pt x="181406" y="326059"/>
                  </a:lnTo>
                  <a:lnTo>
                    <a:pt x="169367" y="326059"/>
                  </a:lnTo>
                  <a:lnTo>
                    <a:pt x="168656" y="326771"/>
                  </a:lnTo>
                  <a:lnTo>
                    <a:pt x="167957" y="326059"/>
                  </a:lnTo>
                  <a:lnTo>
                    <a:pt x="155905" y="326059"/>
                  </a:lnTo>
                  <a:lnTo>
                    <a:pt x="151295" y="326059"/>
                  </a:lnTo>
                  <a:lnTo>
                    <a:pt x="139242" y="326059"/>
                  </a:lnTo>
                  <a:lnTo>
                    <a:pt x="138544" y="326771"/>
                  </a:lnTo>
                  <a:lnTo>
                    <a:pt x="137845" y="326059"/>
                  </a:lnTo>
                  <a:lnTo>
                    <a:pt x="125793" y="326059"/>
                  </a:lnTo>
                  <a:lnTo>
                    <a:pt x="121170" y="326059"/>
                  </a:lnTo>
                  <a:lnTo>
                    <a:pt x="109131" y="326059"/>
                  </a:lnTo>
                  <a:lnTo>
                    <a:pt x="108419" y="326771"/>
                  </a:lnTo>
                  <a:lnTo>
                    <a:pt x="107721" y="326059"/>
                  </a:lnTo>
                  <a:lnTo>
                    <a:pt x="95669" y="326059"/>
                  </a:lnTo>
                  <a:lnTo>
                    <a:pt x="91059" y="326059"/>
                  </a:lnTo>
                  <a:lnTo>
                    <a:pt x="83629" y="326059"/>
                  </a:lnTo>
                  <a:lnTo>
                    <a:pt x="79006" y="326059"/>
                  </a:lnTo>
                  <a:lnTo>
                    <a:pt x="66967" y="326059"/>
                  </a:lnTo>
                  <a:lnTo>
                    <a:pt x="66255" y="326771"/>
                  </a:lnTo>
                  <a:lnTo>
                    <a:pt x="65557" y="326059"/>
                  </a:lnTo>
                  <a:lnTo>
                    <a:pt x="53505" y="326059"/>
                  </a:lnTo>
                  <a:lnTo>
                    <a:pt x="48895" y="326059"/>
                  </a:lnTo>
                  <a:lnTo>
                    <a:pt x="36842" y="326059"/>
                  </a:lnTo>
                  <a:lnTo>
                    <a:pt x="36131" y="326771"/>
                  </a:lnTo>
                  <a:lnTo>
                    <a:pt x="35433" y="326059"/>
                  </a:lnTo>
                  <a:lnTo>
                    <a:pt x="23393" y="326059"/>
                  </a:lnTo>
                  <a:lnTo>
                    <a:pt x="18770" y="326059"/>
                  </a:lnTo>
                  <a:lnTo>
                    <a:pt x="6731" y="326059"/>
                  </a:lnTo>
                  <a:lnTo>
                    <a:pt x="0" y="332803"/>
                  </a:lnTo>
                  <a:lnTo>
                    <a:pt x="0" y="349402"/>
                  </a:lnTo>
                  <a:lnTo>
                    <a:pt x="6731" y="356247"/>
                  </a:lnTo>
                  <a:lnTo>
                    <a:pt x="18770" y="356247"/>
                  </a:lnTo>
                  <a:lnTo>
                    <a:pt x="23393" y="356247"/>
                  </a:lnTo>
                  <a:lnTo>
                    <a:pt x="35433" y="356247"/>
                  </a:lnTo>
                  <a:lnTo>
                    <a:pt x="36131" y="355536"/>
                  </a:lnTo>
                  <a:lnTo>
                    <a:pt x="36842" y="356247"/>
                  </a:lnTo>
                  <a:lnTo>
                    <a:pt x="48895" y="356247"/>
                  </a:lnTo>
                  <a:lnTo>
                    <a:pt x="53505" y="356247"/>
                  </a:lnTo>
                  <a:lnTo>
                    <a:pt x="65557" y="356247"/>
                  </a:lnTo>
                  <a:lnTo>
                    <a:pt x="66255" y="355536"/>
                  </a:lnTo>
                  <a:lnTo>
                    <a:pt x="66967" y="356247"/>
                  </a:lnTo>
                  <a:lnTo>
                    <a:pt x="79006" y="356247"/>
                  </a:lnTo>
                  <a:lnTo>
                    <a:pt x="83629" y="356247"/>
                  </a:lnTo>
                  <a:lnTo>
                    <a:pt x="91059" y="356247"/>
                  </a:lnTo>
                  <a:lnTo>
                    <a:pt x="95669" y="356247"/>
                  </a:lnTo>
                  <a:lnTo>
                    <a:pt x="107721" y="356247"/>
                  </a:lnTo>
                  <a:lnTo>
                    <a:pt x="108419" y="355536"/>
                  </a:lnTo>
                  <a:lnTo>
                    <a:pt x="109131" y="356247"/>
                  </a:lnTo>
                  <a:lnTo>
                    <a:pt x="121170" y="356247"/>
                  </a:lnTo>
                  <a:lnTo>
                    <a:pt x="125793" y="356247"/>
                  </a:lnTo>
                  <a:lnTo>
                    <a:pt x="137845" y="356247"/>
                  </a:lnTo>
                  <a:lnTo>
                    <a:pt x="138544" y="355536"/>
                  </a:lnTo>
                  <a:lnTo>
                    <a:pt x="139242" y="356247"/>
                  </a:lnTo>
                  <a:lnTo>
                    <a:pt x="151295" y="356247"/>
                  </a:lnTo>
                  <a:lnTo>
                    <a:pt x="155905" y="356247"/>
                  </a:lnTo>
                  <a:lnTo>
                    <a:pt x="167957" y="356247"/>
                  </a:lnTo>
                  <a:lnTo>
                    <a:pt x="168656" y="355536"/>
                  </a:lnTo>
                  <a:lnTo>
                    <a:pt x="169367" y="356247"/>
                  </a:lnTo>
                  <a:lnTo>
                    <a:pt x="181406" y="356247"/>
                  </a:lnTo>
                  <a:lnTo>
                    <a:pt x="186029" y="356247"/>
                  </a:lnTo>
                  <a:lnTo>
                    <a:pt x="198081" y="356247"/>
                  </a:lnTo>
                  <a:lnTo>
                    <a:pt x="198780" y="355536"/>
                  </a:lnTo>
                  <a:lnTo>
                    <a:pt x="199478" y="356247"/>
                  </a:lnTo>
                  <a:lnTo>
                    <a:pt x="211531" y="356247"/>
                  </a:lnTo>
                  <a:lnTo>
                    <a:pt x="216141" y="356247"/>
                  </a:lnTo>
                  <a:lnTo>
                    <a:pt x="228193" y="356247"/>
                  </a:lnTo>
                  <a:lnTo>
                    <a:pt x="234924" y="349402"/>
                  </a:lnTo>
                  <a:lnTo>
                    <a:pt x="234924" y="341147"/>
                  </a:lnTo>
                  <a:lnTo>
                    <a:pt x="234924" y="332803"/>
                  </a:lnTo>
                  <a:close/>
                </a:path>
                <a:path w="386079" h="356870">
                  <a:moveTo>
                    <a:pt x="385508" y="6743"/>
                  </a:moveTo>
                  <a:lnTo>
                    <a:pt x="378790" y="0"/>
                  </a:lnTo>
                  <a:lnTo>
                    <a:pt x="362115" y="0"/>
                  </a:lnTo>
                  <a:lnTo>
                    <a:pt x="361416" y="711"/>
                  </a:lnTo>
                  <a:lnTo>
                    <a:pt x="360718" y="0"/>
                  </a:lnTo>
                  <a:lnTo>
                    <a:pt x="348665" y="0"/>
                  </a:lnTo>
                  <a:lnTo>
                    <a:pt x="344043" y="0"/>
                  </a:lnTo>
                  <a:lnTo>
                    <a:pt x="332003" y="0"/>
                  </a:lnTo>
                  <a:lnTo>
                    <a:pt x="331292" y="711"/>
                  </a:lnTo>
                  <a:lnTo>
                    <a:pt x="330593" y="0"/>
                  </a:lnTo>
                  <a:lnTo>
                    <a:pt x="318554" y="0"/>
                  </a:lnTo>
                  <a:lnTo>
                    <a:pt x="313931" y="0"/>
                  </a:lnTo>
                  <a:lnTo>
                    <a:pt x="301879" y="0"/>
                  </a:lnTo>
                  <a:lnTo>
                    <a:pt x="301180" y="711"/>
                  </a:lnTo>
                  <a:lnTo>
                    <a:pt x="300482" y="0"/>
                  </a:lnTo>
                  <a:lnTo>
                    <a:pt x="288429" y="0"/>
                  </a:lnTo>
                  <a:lnTo>
                    <a:pt x="283806" y="0"/>
                  </a:lnTo>
                  <a:lnTo>
                    <a:pt x="271767" y="0"/>
                  </a:lnTo>
                  <a:lnTo>
                    <a:pt x="271056" y="711"/>
                  </a:lnTo>
                  <a:lnTo>
                    <a:pt x="270357" y="0"/>
                  </a:lnTo>
                  <a:lnTo>
                    <a:pt x="258318" y="0"/>
                  </a:lnTo>
                  <a:lnTo>
                    <a:pt x="253695" y="0"/>
                  </a:lnTo>
                  <a:lnTo>
                    <a:pt x="246265" y="0"/>
                  </a:lnTo>
                  <a:lnTo>
                    <a:pt x="241642" y="0"/>
                  </a:lnTo>
                  <a:lnTo>
                    <a:pt x="229603" y="0"/>
                  </a:lnTo>
                  <a:lnTo>
                    <a:pt x="222872" y="6743"/>
                  </a:lnTo>
                  <a:lnTo>
                    <a:pt x="222872" y="23342"/>
                  </a:lnTo>
                  <a:lnTo>
                    <a:pt x="229603" y="30187"/>
                  </a:lnTo>
                  <a:lnTo>
                    <a:pt x="241642" y="30187"/>
                  </a:lnTo>
                  <a:lnTo>
                    <a:pt x="246265" y="30187"/>
                  </a:lnTo>
                  <a:lnTo>
                    <a:pt x="253695" y="30187"/>
                  </a:lnTo>
                  <a:lnTo>
                    <a:pt x="258318" y="30187"/>
                  </a:lnTo>
                  <a:lnTo>
                    <a:pt x="270357" y="30187"/>
                  </a:lnTo>
                  <a:lnTo>
                    <a:pt x="271056" y="29476"/>
                  </a:lnTo>
                  <a:lnTo>
                    <a:pt x="271767" y="30187"/>
                  </a:lnTo>
                  <a:lnTo>
                    <a:pt x="283806" y="30187"/>
                  </a:lnTo>
                  <a:lnTo>
                    <a:pt x="288429" y="30187"/>
                  </a:lnTo>
                  <a:lnTo>
                    <a:pt x="300482" y="30187"/>
                  </a:lnTo>
                  <a:lnTo>
                    <a:pt x="301180" y="29476"/>
                  </a:lnTo>
                  <a:lnTo>
                    <a:pt x="301879" y="30187"/>
                  </a:lnTo>
                  <a:lnTo>
                    <a:pt x="313931" y="30187"/>
                  </a:lnTo>
                  <a:lnTo>
                    <a:pt x="318554" y="30187"/>
                  </a:lnTo>
                  <a:lnTo>
                    <a:pt x="330593" y="30187"/>
                  </a:lnTo>
                  <a:lnTo>
                    <a:pt x="331292" y="29476"/>
                  </a:lnTo>
                  <a:lnTo>
                    <a:pt x="332003" y="30187"/>
                  </a:lnTo>
                  <a:lnTo>
                    <a:pt x="344043" y="30187"/>
                  </a:lnTo>
                  <a:lnTo>
                    <a:pt x="348665" y="30187"/>
                  </a:lnTo>
                  <a:lnTo>
                    <a:pt x="360718" y="30187"/>
                  </a:lnTo>
                  <a:lnTo>
                    <a:pt x="361416" y="29476"/>
                  </a:lnTo>
                  <a:lnTo>
                    <a:pt x="362115" y="30187"/>
                  </a:lnTo>
                  <a:lnTo>
                    <a:pt x="378790" y="30187"/>
                  </a:lnTo>
                  <a:lnTo>
                    <a:pt x="385508" y="23342"/>
                  </a:lnTo>
                  <a:lnTo>
                    <a:pt x="385508" y="15087"/>
                  </a:lnTo>
                  <a:lnTo>
                    <a:pt x="385508" y="6743"/>
                  </a:lnTo>
                  <a:close/>
                </a:path>
              </a:pathLst>
            </a:custGeom>
            <a:solidFill>
              <a:srgbClr val="94373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80" name="object 80"/>
            <p:cNvSpPr/>
            <p:nvPr/>
          </p:nvSpPr>
          <p:spPr>
            <a:xfrm>
              <a:off x="7752388" y="4159529"/>
              <a:ext cx="1831339" cy="882015"/>
            </a:xfrm>
            <a:custGeom>
              <a:avLst/>
              <a:gdLst/>
              <a:ahLst/>
              <a:cxnLst/>
              <a:rect l="l" t="t" r="r" b="b"/>
              <a:pathLst>
                <a:path w="1831340" h="882014">
                  <a:moveTo>
                    <a:pt x="1831177" y="0"/>
                  </a:moveTo>
                  <a:lnTo>
                    <a:pt x="0" y="0"/>
                  </a:lnTo>
                  <a:lnTo>
                    <a:pt x="0" y="881573"/>
                  </a:lnTo>
                  <a:lnTo>
                    <a:pt x="1831177" y="881573"/>
                  </a:lnTo>
                  <a:lnTo>
                    <a:pt x="1831177"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81" name="object 81"/>
            <p:cNvSpPr/>
            <p:nvPr/>
          </p:nvSpPr>
          <p:spPr>
            <a:xfrm>
              <a:off x="7960202" y="4271286"/>
              <a:ext cx="1511935" cy="658495"/>
            </a:xfrm>
            <a:custGeom>
              <a:avLst/>
              <a:gdLst/>
              <a:ahLst/>
              <a:cxnLst/>
              <a:rect l="l" t="t" r="r" b="b"/>
              <a:pathLst>
                <a:path w="1511934" h="658495">
                  <a:moveTo>
                    <a:pt x="30118" y="658160"/>
                  </a:moveTo>
                  <a:lnTo>
                    <a:pt x="1511926" y="658160"/>
                  </a:lnTo>
                </a:path>
                <a:path w="1511934" h="658495">
                  <a:moveTo>
                    <a:pt x="30118" y="495130"/>
                  </a:moveTo>
                  <a:lnTo>
                    <a:pt x="1511926" y="495130"/>
                  </a:lnTo>
                </a:path>
                <a:path w="1511934" h="658495">
                  <a:moveTo>
                    <a:pt x="30118" y="163030"/>
                  </a:moveTo>
                  <a:lnTo>
                    <a:pt x="1511926" y="163030"/>
                  </a:lnTo>
                </a:path>
                <a:path w="1511934" h="658495">
                  <a:moveTo>
                    <a:pt x="30118" y="0"/>
                  </a:moveTo>
                  <a:lnTo>
                    <a:pt x="1511926" y="0"/>
                  </a:lnTo>
                </a:path>
                <a:path w="1511934" h="658495">
                  <a:moveTo>
                    <a:pt x="30118" y="658160"/>
                  </a:moveTo>
                  <a:lnTo>
                    <a:pt x="30118" y="0"/>
                  </a:lnTo>
                </a:path>
                <a:path w="1511934" h="658495">
                  <a:moveTo>
                    <a:pt x="0" y="658160"/>
                  </a:moveTo>
                  <a:lnTo>
                    <a:pt x="30118" y="658160"/>
                  </a:lnTo>
                </a:path>
                <a:path w="1511934" h="658495">
                  <a:moveTo>
                    <a:pt x="0" y="495130"/>
                  </a:moveTo>
                  <a:lnTo>
                    <a:pt x="30118" y="495130"/>
                  </a:lnTo>
                </a:path>
                <a:path w="1511934" h="658495">
                  <a:moveTo>
                    <a:pt x="0" y="332099"/>
                  </a:moveTo>
                  <a:lnTo>
                    <a:pt x="30118" y="332099"/>
                  </a:lnTo>
                </a:path>
                <a:path w="1511934" h="658495">
                  <a:moveTo>
                    <a:pt x="0" y="163030"/>
                  </a:moveTo>
                  <a:lnTo>
                    <a:pt x="30118" y="163030"/>
                  </a:lnTo>
                </a:path>
                <a:path w="1511934" h="658495">
                  <a:moveTo>
                    <a:pt x="0" y="0"/>
                  </a:moveTo>
                  <a:lnTo>
                    <a:pt x="30118" y="0"/>
                  </a:lnTo>
                </a:path>
                <a:path w="1511934" h="658495">
                  <a:moveTo>
                    <a:pt x="30118" y="332099"/>
                  </a:moveTo>
                  <a:lnTo>
                    <a:pt x="1511926" y="332099"/>
                  </a:lnTo>
                </a:path>
              </a:pathLst>
            </a:custGeom>
            <a:ln w="6036">
              <a:solidFill>
                <a:srgbClr val="85858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82" name="object 82"/>
            <p:cNvSpPr/>
            <p:nvPr/>
          </p:nvSpPr>
          <p:spPr>
            <a:xfrm>
              <a:off x="7987308" y="4760378"/>
              <a:ext cx="433705" cy="0"/>
            </a:xfrm>
            <a:custGeom>
              <a:avLst/>
              <a:gdLst/>
              <a:ahLst/>
              <a:cxnLst/>
              <a:rect l="l" t="t" r="r" b="b"/>
              <a:pathLst>
                <a:path w="433704">
                  <a:moveTo>
                    <a:pt x="0" y="0"/>
                  </a:moveTo>
                  <a:lnTo>
                    <a:pt x="433700" y="0"/>
                  </a:lnTo>
                </a:path>
              </a:pathLst>
            </a:custGeom>
            <a:ln w="30190">
              <a:solidFill>
                <a:srgbClr val="1F487C"/>
              </a:solidFill>
              <a:prstDash val="sys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83" name="object 83"/>
            <p:cNvSpPr/>
            <p:nvPr/>
          </p:nvSpPr>
          <p:spPr>
            <a:xfrm>
              <a:off x="8005379" y="4597347"/>
              <a:ext cx="427990" cy="0"/>
            </a:xfrm>
            <a:custGeom>
              <a:avLst/>
              <a:gdLst/>
              <a:ahLst/>
              <a:cxnLst/>
              <a:rect l="l" t="t" r="r" b="b"/>
              <a:pathLst>
                <a:path w="427990">
                  <a:moveTo>
                    <a:pt x="0" y="0"/>
                  </a:moveTo>
                  <a:lnTo>
                    <a:pt x="427676" y="0"/>
                  </a:lnTo>
                </a:path>
              </a:pathLst>
            </a:custGeom>
            <a:ln w="30190">
              <a:solidFill>
                <a:srgbClr val="1F487C"/>
              </a:solidFill>
              <a:prstDash val="sys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84" name="object 84"/>
            <p:cNvSpPr/>
            <p:nvPr/>
          </p:nvSpPr>
          <p:spPr>
            <a:xfrm>
              <a:off x="8017421" y="4419231"/>
              <a:ext cx="386080" cy="30480"/>
            </a:xfrm>
            <a:custGeom>
              <a:avLst/>
              <a:gdLst/>
              <a:ahLst/>
              <a:cxnLst/>
              <a:rect l="l" t="t" r="r" b="b"/>
              <a:pathLst>
                <a:path w="386079" h="30479">
                  <a:moveTo>
                    <a:pt x="30111" y="6743"/>
                  </a:moveTo>
                  <a:lnTo>
                    <a:pt x="23393" y="0"/>
                  </a:lnTo>
                  <a:lnTo>
                    <a:pt x="6731" y="0"/>
                  </a:lnTo>
                  <a:lnTo>
                    <a:pt x="0" y="6743"/>
                  </a:lnTo>
                  <a:lnTo>
                    <a:pt x="0" y="23342"/>
                  </a:lnTo>
                  <a:lnTo>
                    <a:pt x="6731" y="30187"/>
                  </a:lnTo>
                  <a:lnTo>
                    <a:pt x="23393" y="30187"/>
                  </a:lnTo>
                  <a:lnTo>
                    <a:pt x="30111" y="23342"/>
                  </a:lnTo>
                  <a:lnTo>
                    <a:pt x="30111" y="15087"/>
                  </a:lnTo>
                  <a:lnTo>
                    <a:pt x="30111" y="6743"/>
                  </a:lnTo>
                  <a:close/>
                </a:path>
                <a:path w="386079" h="30479">
                  <a:moveTo>
                    <a:pt x="78308" y="6743"/>
                  </a:moveTo>
                  <a:lnTo>
                    <a:pt x="71577" y="0"/>
                  </a:lnTo>
                  <a:lnTo>
                    <a:pt x="54914" y="0"/>
                  </a:lnTo>
                  <a:lnTo>
                    <a:pt x="48183" y="6743"/>
                  </a:lnTo>
                  <a:lnTo>
                    <a:pt x="48183" y="23342"/>
                  </a:lnTo>
                  <a:lnTo>
                    <a:pt x="54914" y="30187"/>
                  </a:lnTo>
                  <a:lnTo>
                    <a:pt x="71577" y="30187"/>
                  </a:lnTo>
                  <a:lnTo>
                    <a:pt x="78308" y="23342"/>
                  </a:lnTo>
                  <a:lnTo>
                    <a:pt x="78308" y="15087"/>
                  </a:lnTo>
                  <a:lnTo>
                    <a:pt x="78308" y="6743"/>
                  </a:lnTo>
                  <a:close/>
                </a:path>
                <a:path w="386079" h="30479">
                  <a:moveTo>
                    <a:pt x="120472" y="6743"/>
                  </a:moveTo>
                  <a:lnTo>
                    <a:pt x="113741" y="0"/>
                  </a:lnTo>
                  <a:lnTo>
                    <a:pt x="97078" y="0"/>
                  </a:lnTo>
                  <a:lnTo>
                    <a:pt x="90347" y="6743"/>
                  </a:lnTo>
                  <a:lnTo>
                    <a:pt x="90347" y="23342"/>
                  </a:lnTo>
                  <a:lnTo>
                    <a:pt x="97078" y="30187"/>
                  </a:lnTo>
                  <a:lnTo>
                    <a:pt x="113741" y="30187"/>
                  </a:lnTo>
                  <a:lnTo>
                    <a:pt x="120472" y="23342"/>
                  </a:lnTo>
                  <a:lnTo>
                    <a:pt x="120472" y="15087"/>
                  </a:lnTo>
                  <a:lnTo>
                    <a:pt x="120472" y="6743"/>
                  </a:lnTo>
                  <a:close/>
                </a:path>
                <a:path w="386079" h="30479">
                  <a:moveTo>
                    <a:pt x="162636" y="6743"/>
                  </a:moveTo>
                  <a:lnTo>
                    <a:pt x="155905" y="0"/>
                  </a:lnTo>
                  <a:lnTo>
                    <a:pt x="139242" y="0"/>
                  </a:lnTo>
                  <a:lnTo>
                    <a:pt x="132524" y="6743"/>
                  </a:lnTo>
                  <a:lnTo>
                    <a:pt x="132524" y="23342"/>
                  </a:lnTo>
                  <a:lnTo>
                    <a:pt x="139242" y="30187"/>
                  </a:lnTo>
                  <a:lnTo>
                    <a:pt x="155905" y="30187"/>
                  </a:lnTo>
                  <a:lnTo>
                    <a:pt x="162636" y="23342"/>
                  </a:lnTo>
                  <a:lnTo>
                    <a:pt x="162636" y="15087"/>
                  </a:lnTo>
                  <a:lnTo>
                    <a:pt x="162636" y="6743"/>
                  </a:lnTo>
                  <a:close/>
                </a:path>
                <a:path w="386079" h="30479">
                  <a:moveTo>
                    <a:pt x="210832" y="6743"/>
                  </a:moveTo>
                  <a:lnTo>
                    <a:pt x="204101" y="0"/>
                  </a:lnTo>
                  <a:lnTo>
                    <a:pt x="187439" y="0"/>
                  </a:lnTo>
                  <a:lnTo>
                    <a:pt x="180708" y="6743"/>
                  </a:lnTo>
                  <a:lnTo>
                    <a:pt x="180708" y="23342"/>
                  </a:lnTo>
                  <a:lnTo>
                    <a:pt x="187439" y="30187"/>
                  </a:lnTo>
                  <a:lnTo>
                    <a:pt x="204101" y="30187"/>
                  </a:lnTo>
                  <a:lnTo>
                    <a:pt x="210832" y="23342"/>
                  </a:lnTo>
                  <a:lnTo>
                    <a:pt x="210832" y="15087"/>
                  </a:lnTo>
                  <a:lnTo>
                    <a:pt x="210832" y="6743"/>
                  </a:lnTo>
                  <a:close/>
                </a:path>
                <a:path w="386079" h="30479">
                  <a:moveTo>
                    <a:pt x="252996" y="6743"/>
                  </a:moveTo>
                  <a:lnTo>
                    <a:pt x="246265" y="0"/>
                  </a:lnTo>
                  <a:lnTo>
                    <a:pt x="229603" y="0"/>
                  </a:lnTo>
                  <a:lnTo>
                    <a:pt x="222872" y="6743"/>
                  </a:lnTo>
                  <a:lnTo>
                    <a:pt x="222872" y="23342"/>
                  </a:lnTo>
                  <a:lnTo>
                    <a:pt x="229603" y="30187"/>
                  </a:lnTo>
                  <a:lnTo>
                    <a:pt x="246265" y="30187"/>
                  </a:lnTo>
                  <a:lnTo>
                    <a:pt x="252996" y="23342"/>
                  </a:lnTo>
                  <a:lnTo>
                    <a:pt x="252996" y="15087"/>
                  </a:lnTo>
                  <a:lnTo>
                    <a:pt x="252996" y="6743"/>
                  </a:lnTo>
                  <a:close/>
                </a:path>
                <a:path w="386079" h="30479">
                  <a:moveTo>
                    <a:pt x="295160" y="6743"/>
                  </a:moveTo>
                  <a:lnTo>
                    <a:pt x="288429" y="0"/>
                  </a:lnTo>
                  <a:lnTo>
                    <a:pt x="271767" y="0"/>
                  </a:lnTo>
                  <a:lnTo>
                    <a:pt x="265036" y="6743"/>
                  </a:lnTo>
                  <a:lnTo>
                    <a:pt x="265036" y="23342"/>
                  </a:lnTo>
                  <a:lnTo>
                    <a:pt x="271767" y="30187"/>
                  </a:lnTo>
                  <a:lnTo>
                    <a:pt x="288429" y="30187"/>
                  </a:lnTo>
                  <a:lnTo>
                    <a:pt x="295160" y="23342"/>
                  </a:lnTo>
                  <a:lnTo>
                    <a:pt x="295160" y="15087"/>
                  </a:lnTo>
                  <a:lnTo>
                    <a:pt x="295160" y="6743"/>
                  </a:lnTo>
                  <a:close/>
                </a:path>
                <a:path w="386079" h="30479">
                  <a:moveTo>
                    <a:pt x="343344" y="6743"/>
                  </a:moveTo>
                  <a:lnTo>
                    <a:pt x="336613" y="0"/>
                  </a:lnTo>
                  <a:lnTo>
                    <a:pt x="319951" y="0"/>
                  </a:lnTo>
                  <a:lnTo>
                    <a:pt x="313232" y="6743"/>
                  </a:lnTo>
                  <a:lnTo>
                    <a:pt x="313232" y="23342"/>
                  </a:lnTo>
                  <a:lnTo>
                    <a:pt x="319951" y="30187"/>
                  </a:lnTo>
                  <a:lnTo>
                    <a:pt x="336613" y="30187"/>
                  </a:lnTo>
                  <a:lnTo>
                    <a:pt x="343344" y="23342"/>
                  </a:lnTo>
                  <a:lnTo>
                    <a:pt x="343344" y="15087"/>
                  </a:lnTo>
                  <a:lnTo>
                    <a:pt x="343344" y="6743"/>
                  </a:lnTo>
                  <a:close/>
                </a:path>
                <a:path w="386079" h="30479">
                  <a:moveTo>
                    <a:pt x="385508" y="6743"/>
                  </a:moveTo>
                  <a:lnTo>
                    <a:pt x="378790" y="0"/>
                  </a:lnTo>
                  <a:lnTo>
                    <a:pt x="362115" y="0"/>
                  </a:lnTo>
                  <a:lnTo>
                    <a:pt x="355396" y="6743"/>
                  </a:lnTo>
                  <a:lnTo>
                    <a:pt x="355396" y="23342"/>
                  </a:lnTo>
                  <a:lnTo>
                    <a:pt x="362115" y="30187"/>
                  </a:lnTo>
                  <a:lnTo>
                    <a:pt x="378790" y="30187"/>
                  </a:lnTo>
                  <a:lnTo>
                    <a:pt x="385508" y="23342"/>
                  </a:lnTo>
                  <a:lnTo>
                    <a:pt x="385508" y="15087"/>
                  </a:lnTo>
                  <a:lnTo>
                    <a:pt x="385508" y="6743"/>
                  </a:lnTo>
                  <a:close/>
                </a:path>
              </a:pathLst>
            </a:custGeom>
            <a:solidFill>
              <a:srgbClr val="1F487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85" name="object 85"/>
            <p:cNvSpPr/>
            <p:nvPr/>
          </p:nvSpPr>
          <p:spPr>
            <a:xfrm>
              <a:off x="8493292" y="4760378"/>
              <a:ext cx="518159" cy="0"/>
            </a:xfrm>
            <a:custGeom>
              <a:avLst/>
              <a:gdLst/>
              <a:ahLst/>
              <a:cxnLst/>
              <a:rect l="l" t="t" r="r" b="b"/>
              <a:pathLst>
                <a:path w="518159">
                  <a:moveTo>
                    <a:pt x="0" y="0"/>
                  </a:moveTo>
                  <a:lnTo>
                    <a:pt x="518030" y="0"/>
                  </a:lnTo>
                </a:path>
              </a:pathLst>
            </a:custGeom>
            <a:ln w="30190">
              <a:solidFill>
                <a:srgbClr val="1F487C"/>
              </a:solidFill>
              <a:prstDash val="sys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86" name="object 86"/>
            <p:cNvSpPr/>
            <p:nvPr/>
          </p:nvSpPr>
          <p:spPr>
            <a:xfrm>
              <a:off x="8505339" y="4582252"/>
              <a:ext cx="30480" cy="30480"/>
            </a:xfrm>
            <a:custGeom>
              <a:avLst/>
              <a:gdLst/>
              <a:ahLst/>
              <a:cxnLst/>
              <a:rect l="l" t="t" r="r" b="b"/>
              <a:pathLst>
                <a:path w="30479" h="30479">
                  <a:moveTo>
                    <a:pt x="23391" y="0"/>
                  </a:moveTo>
                  <a:lnTo>
                    <a:pt x="6726" y="0"/>
                  </a:lnTo>
                  <a:lnTo>
                    <a:pt x="0" y="6742"/>
                  </a:lnTo>
                  <a:lnTo>
                    <a:pt x="0" y="23347"/>
                  </a:lnTo>
                  <a:lnTo>
                    <a:pt x="6726" y="30190"/>
                  </a:lnTo>
                  <a:lnTo>
                    <a:pt x="23391" y="30190"/>
                  </a:lnTo>
                  <a:lnTo>
                    <a:pt x="30118" y="23347"/>
                  </a:lnTo>
                  <a:lnTo>
                    <a:pt x="30118" y="15095"/>
                  </a:lnTo>
                  <a:lnTo>
                    <a:pt x="30118" y="6742"/>
                  </a:lnTo>
                  <a:lnTo>
                    <a:pt x="23391" y="0"/>
                  </a:lnTo>
                  <a:close/>
                </a:path>
              </a:pathLst>
            </a:custGeom>
            <a:solidFill>
              <a:srgbClr val="1F487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87" name="object 87"/>
            <p:cNvSpPr/>
            <p:nvPr/>
          </p:nvSpPr>
          <p:spPr>
            <a:xfrm>
              <a:off x="8523410" y="4434316"/>
              <a:ext cx="518159" cy="0"/>
            </a:xfrm>
            <a:custGeom>
              <a:avLst/>
              <a:gdLst/>
              <a:ahLst/>
              <a:cxnLst/>
              <a:rect l="l" t="t" r="r" b="b"/>
              <a:pathLst>
                <a:path w="518159">
                  <a:moveTo>
                    <a:pt x="0" y="0"/>
                  </a:moveTo>
                  <a:lnTo>
                    <a:pt x="518030" y="0"/>
                  </a:lnTo>
                </a:path>
              </a:pathLst>
            </a:custGeom>
            <a:ln w="30190">
              <a:solidFill>
                <a:srgbClr val="1F487C"/>
              </a:solidFill>
              <a:prstDash val="sys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88" name="object 88"/>
            <p:cNvSpPr/>
            <p:nvPr/>
          </p:nvSpPr>
          <p:spPr>
            <a:xfrm>
              <a:off x="8553526" y="4419231"/>
              <a:ext cx="934085" cy="356870"/>
            </a:xfrm>
            <a:custGeom>
              <a:avLst/>
              <a:gdLst/>
              <a:ahLst/>
              <a:cxnLst/>
              <a:rect l="l" t="t" r="r" b="b"/>
              <a:pathLst>
                <a:path w="934084" h="356870">
                  <a:moveTo>
                    <a:pt x="30111" y="169773"/>
                  </a:moveTo>
                  <a:lnTo>
                    <a:pt x="23393" y="163029"/>
                  </a:lnTo>
                  <a:lnTo>
                    <a:pt x="6718" y="163029"/>
                  </a:lnTo>
                  <a:lnTo>
                    <a:pt x="0" y="169773"/>
                  </a:lnTo>
                  <a:lnTo>
                    <a:pt x="0" y="186372"/>
                  </a:lnTo>
                  <a:lnTo>
                    <a:pt x="6718" y="193217"/>
                  </a:lnTo>
                  <a:lnTo>
                    <a:pt x="23393" y="193217"/>
                  </a:lnTo>
                  <a:lnTo>
                    <a:pt x="30111" y="186372"/>
                  </a:lnTo>
                  <a:lnTo>
                    <a:pt x="30111" y="178117"/>
                  </a:lnTo>
                  <a:lnTo>
                    <a:pt x="30111" y="169773"/>
                  </a:lnTo>
                  <a:close/>
                </a:path>
                <a:path w="934084" h="356870">
                  <a:moveTo>
                    <a:pt x="72275" y="169773"/>
                  </a:moveTo>
                  <a:lnTo>
                    <a:pt x="65557" y="163029"/>
                  </a:lnTo>
                  <a:lnTo>
                    <a:pt x="48882" y="163029"/>
                  </a:lnTo>
                  <a:lnTo>
                    <a:pt x="42164" y="169773"/>
                  </a:lnTo>
                  <a:lnTo>
                    <a:pt x="42164" y="186372"/>
                  </a:lnTo>
                  <a:lnTo>
                    <a:pt x="48882" y="193217"/>
                  </a:lnTo>
                  <a:lnTo>
                    <a:pt x="65557" y="193217"/>
                  </a:lnTo>
                  <a:lnTo>
                    <a:pt x="72275" y="186372"/>
                  </a:lnTo>
                  <a:lnTo>
                    <a:pt x="72275" y="178117"/>
                  </a:lnTo>
                  <a:lnTo>
                    <a:pt x="72275" y="169773"/>
                  </a:lnTo>
                  <a:close/>
                </a:path>
                <a:path w="934084" h="356870">
                  <a:moveTo>
                    <a:pt x="114439" y="169773"/>
                  </a:moveTo>
                  <a:lnTo>
                    <a:pt x="107721" y="163029"/>
                  </a:lnTo>
                  <a:lnTo>
                    <a:pt x="91059" y="163029"/>
                  </a:lnTo>
                  <a:lnTo>
                    <a:pt x="84328" y="169773"/>
                  </a:lnTo>
                  <a:lnTo>
                    <a:pt x="84328" y="186372"/>
                  </a:lnTo>
                  <a:lnTo>
                    <a:pt x="91059" y="193217"/>
                  </a:lnTo>
                  <a:lnTo>
                    <a:pt x="107721" y="193217"/>
                  </a:lnTo>
                  <a:lnTo>
                    <a:pt x="114439" y="186372"/>
                  </a:lnTo>
                  <a:lnTo>
                    <a:pt x="114439" y="178117"/>
                  </a:lnTo>
                  <a:lnTo>
                    <a:pt x="114439" y="169773"/>
                  </a:lnTo>
                  <a:close/>
                </a:path>
                <a:path w="934084" h="356870">
                  <a:moveTo>
                    <a:pt x="162636" y="169773"/>
                  </a:moveTo>
                  <a:lnTo>
                    <a:pt x="155905" y="163029"/>
                  </a:lnTo>
                  <a:lnTo>
                    <a:pt x="139242" y="163029"/>
                  </a:lnTo>
                  <a:lnTo>
                    <a:pt x="132511" y="169773"/>
                  </a:lnTo>
                  <a:lnTo>
                    <a:pt x="132511" y="186372"/>
                  </a:lnTo>
                  <a:lnTo>
                    <a:pt x="139242" y="193217"/>
                  </a:lnTo>
                  <a:lnTo>
                    <a:pt x="155905" y="193217"/>
                  </a:lnTo>
                  <a:lnTo>
                    <a:pt x="162636" y="186372"/>
                  </a:lnTo>
                  <a:lnTo>
                    <a:pt x="162636" y="178117"/>
                  </a:lnTo>
                  <a:lnTo>
                    <a:pt x="162636" y="169773"/>
                  </a:lnTo>
                  <a:close/>
                </a:path>
                <a:path w="934084" h="356870">
                  <a:moveTo>
                    <a:pt x="204800" y="169773"/>
                  </a:moveTo>
                  <a:lnTo>
                    <a:pt x="198069" y="163029"/>
                  </a:lnTo>
                  <a:lnTo>
                    <a:pt x="181406" y="163029"/>
                  </a:lnTo>
                  <a:lnTo>
                    <a:pt x="174675" y="169773"/>
                  </a:lnTo>
                  <a:lnTo>
                    <a:pt x="174675" y="186372"/>
                  </a:lnTo>
                  <a:lnTo>
                    <a:pt x="181406" y="193217"/>
                  </a:lnTo>
                  <a:lnTo>
                    <a:pt x="198069" y="193217"/>
                  </a:lnTo>
                  <a:lnTo>
                    <a:pt x="204800" y="186372"/>
                  </a:lnTo>
                  <a:lnTo>
                    <a:pt x="204800" y="178117"/>
                  </a:lnTo>
                  <a:lnTo>
                    <a:pt x="204800" y="169773"/>
                  </a:lnTo>
                  <a:close/>
                </a:path>
                <a:path w="934084" h="356870">
                  <a:moveTo>
                    <a:pt x="252984" y="169773"/>
                  </a:moveTo>
                  <a:lnTo>
                    <a:pt x="246265" y="163029"/>
                  </a:lnTo>
                  <a:lnTo>
                    <a:pt x="229590" y="163029"/>
                  </a:lnTo>
                  <a:lnTo>
                    <a:pt x="222872" y="169773"/>
                  </a:lnTo>
                  <a:lnTo>
                    <a:pt x="222872" y="186372"/>
                  </a:lnTo>
                  <a:lnTo>
                    <a:pt x="229590" y="193217"/>
                  </a:lnTo>
                  <a:lnTo>
                    <a:pt x="246265" y="193217"/>
                  </a:lnTo>
                  <a:lnTo>
                    <a:pt x="252984" y="186372"/>
                  </a:lnTo>
                  <a:lnTo>
                    <a:pt x="252984" y="178117"/>
                  </a:lnTo>
                  <a:lnTo>
                    <a:pt x="252984" y="169773"/>
                  </a:lnTo>
                  <a:close/>
                </a:path>
                <a:path w="934084" h="356870">
                  <a:moveTo>
                    <a:pt x="295148" y="169773"/>
                  </a:moveTo>
                  <a:lnTo>
                    <a:pt x="288429" y="163029"/>
                  </a:lnTo>
                  <a:lnTo>
                    <a:pt x="271767" y="163029"/>
                  </a:lnTo>
                  <a:lnTo>
                    <a:pt x="265036" y="169773"/>
                  </a:lnTo>
                  <a:lnTo>
                    <a:pt x="265036" y="186372"/>
                  </a:lnTo>
                  <a:lnTo>
                    <a:pt x="271767" y="193217"/>
                  </a:lnTo>
                  <a:lnTo>
                    <a:pt x="288429" y="193217"/>
                  </a:lnTo>
                  <a:lnTo>
                    <a:pt x="295148" y="186372"/>
                  </a:lnTo>
                  <a:lnTo>
                    <a:pt x="295148" y="178117"/>
                  </a:lnTo>
                  <a:lnTo>
                    <a:pt x="295148" y="169773"/>
                  </a:lnTo>
                  <a:close/>
                </a:path>
                <a:path w="934084" h="356870">
                  <a:moveTo>
                    <a:pt x="337324" y="169773"/>
                  </a:moveTo>
                  <a:lnTo>
                    <a:pt x="330593" y="163029"/>
                  </a:lnTo>
                  <a:lnTo>
                    <a:pt x="313931" y="163029"/>
                  </a:lnTo>
                  <a:lnTo>
                    <a:pt x="307200" y="169773"/>
                  </a:lnTo>
                  <a:lnTo>
                    <a:pt x="307200" y="186372"/>
                  </a:lnTo>
                  <a:lnTo>
                    <a:pt x="313931" y="193217"/>
                  </a:lnTo>
                  <a:lnTo>
                    <a:pt x="330593" y="193217"/>
                  </a:lnTo>
                  <a:lnTo>
                    <a:pt x="337324" y="186372"/>
                  </a:lnTo>
                  <a:lnTo>
                    <a:pt x="337324" y="178117"/>
                  </a:lnTo>
                  <a:lnTo>
                    <a:pt x="337324" y="169773"/>
                  </a:lnTo>
                  <a:close/>
                </a:path>
                <a:path w="934084" h="356870">
                  <a:moveTo>
                    <a:pt x="385508" y="169773"/>
                  </a:moveTo>
                  <a:lnTo>
                    <a:pt x="378777" y="163029"/>
                  </a:lnTo>
                  <a:lnTo>
                    <a:pt x="362115" y="163029"/>
                  </a:lnTo>
                  <a:lnTo>
                    <a:pt x="355384" y="169773"/>
                  </a:lnTo>
                  <a:lnTo>
                    <a:pt x="355384" y="186372"/>
                  </a:lnTo>
                  <a:lnTo>
                    <a:pt x="362115" y="193217"/>
                  </a:lnTo>
                  <a:lnTo>
                    <a:pt x="378777" y="193217"/>
                  </a:lnTo>
                  <a:lnTo>
                    <a:pt x="385508" y="186372"/>
                  </a:lnTo>
                  <a:lnTo>
                    <a:pt x="385508" y="178117"/>
                  </a:lnTo>
                  <a:lnTo>
                    <a:pt x="385508" y="169773"/>
                  </a:lnTo>
                  <a:close/>
                </a:path>
                <a:path w="934084" h="356870">
                  <a:moveTo>
                    <a:pt x="427672" y="169773"/>
                  </a:moveTo>
                  <a:lnTo>
                    <a:pt x="420941" y="163029"/>
                  </a:lnTo>
                  <a:lnTo>
                    <a:pt x="404279" y="163029"/>
                  </a:lnTo>
                  <a:lnTo>
                    <a:pt x="397560" y="169773"/>
                  </a:lnTo>
                  <a:lnTo>
                    <a:pt x="397560" y="186372"/>
                  </a:lnTo>
                  <a:lnTo>
                    <a:pt x="404279" y="193217"/>
                  </a:lnTo>
                  <a:lnTo>
                    <a:pt x="420941" y="193217"/>
                  </a:lnTo>
                  <a:lnTo>
                    <a:pt x="427672" y="186372"/>
                  </a:lnTo>
                  <a:lnTo>
                    <a:pt x="427672" y="178117"/>
                  </a:lnTo>
                  <a:lnTo>
                    <a:pt x="427672" y="169773"/>
                  </a:lnTo>
                  <a:close/>
                </a:path>
                <a:path w="934084" h="356870">
                  <a:moveTo>
                    <a:pt x="783069" y="169773"/>
                  </a:moveTo>
                  <a:lnTo>
                    <a:pt x="776338" y="163029"/>
                  </a:lnTo>
                  <a:lnTo>
                    <a:pt x="764286" y="163029"/>
                  </a:lnTo>
                  <a:lnTo>
                    <a:pt x="759675" y="163029"/>
                  </a:lnTo>
                  <a:lnTo>
                    <a:pt x="747623" y="163029"/>
                  </a:lnTo>
                  <a:lnTo>
                    <a:pt x="746925" y="163741"/>
                  </a:lnTo>
                  <a:lnTo>
                    <a:pt x="746226" y="163029"/>
                  </a:lnTo>
                  <a:lnTo>
                    <a:pt x="734174" y="163029"/>
                  </a:lnTo>
                  <a:lnTo>
                    <a:pt x="729551" y="163029"/>
                  </a:lnTo>
                  <a:lnTo>
                    <a:pt x="717511" y="163029"/>
                  </a:lnTo>
                  <a:lnTo>
                    <a:pt x="716800" y="163741"/>
                  </a:lnTo>
                  <a:lnTo>
                    <a:pt x="716102" y="163029"/>
                  </a:lnTo>
                  <a:lnTo>
                    <a:pt x="704049" y="163029"/>
                  </a:lnTo>
                  <a:lnTo>
                    <a:pt x="699439" y="163029"/>
                  </a:lnTo>
                  <a:lnTo>
                    <a:pt x="687387" y="163029"/>
                  </a:lnTo>
                  <a:lnTo>
                    <a:pt x="686689" y="163741"/>
                  </a:lnTo>
                  <a:lnTo>
                    <a:pt x="685990" y="163029"/>
                  </a:lnTo>
                  <a:lnTo>
                    <a:pt x="673938" y="163029"/>
                  </a:lnTo>
                  <a:lnTo>
                    <a:pt x="669315" y="163029"/>
                  </a:lnTo>
                  <a:lnTo>
                    <a:pt x="657275" y="163029"/>
                  </a:lnTo>
                  <a:lnTo>
                    <a:pt x="656564" y="163741"/>
                  </a:lnTo>
                  <a:lnTo>
                    <a:pt x="655866" y="163029"/>
                  </a:lnTo>
                  <a:lnTo>
                    <a:pt x="643813" y="163029"/>
                  </a:lnTo>
                  <a:lnTo>
                    <a:pt x="639203" y="163029"/>
                  </a:lnTo>
                  <a:lnTo>
                    <a:pt x="631774" y="163029"/>
                  </a:lnTo>
                  <a:lnTo>
                    <a:pt x="627151" y="163029"/>
                  </a:lnTo>
                  <a:lnTo>
                    <a:pt x="615111" y="163029"/>
                  </a:lnTo>
                  <a:lnTo>
                    <a:pt x="614400" y="163741"/>
                  </a:lnTo>
                  <a:lnTo>
                    <a:pt x="613702" y="163029"/>
                  </a:lnTo>
                  <a:lnTo>
                    <a:pt x="601649" y="163029"/>
                  </a:lnTo>
                  <a:lnTo>
                    <a:pt x="597039" y="163029"/>
                  </a:lnTo>
                  <a:lnTo>
                    <a:pt x="584987" y="163029"/>
                  </a:lnTo>
                  <a:lnTo>
                    <a:pt x="584276" y="163741"/>
                  </a:lnTo>
                  <a:lnTo>
                    <a:pt x="583577" y="163029"/>
                  </a:lnTo>
                  <a:lnTo>
                    <a:pt x="571538" y="163029"/>
                  </a:lnTo>
                  <a:lnTo>
                    <a:pt x="566915" y="163029"/>
                  </a:lnTo>
                  <a:lnTo>
                    <a:pt x="554875" y="163029"/>
                  </a:lnTo>
                  <a:lnTo>
                    <a:pt x="554164" y="163741"/>
                  </a:lnTo>
                  <a:lnTo>
                    <a:pt x="553466" y="163029"/>
                  </a:lnTo>
                  <a:lnTo>
                    <a:pt x="541413" y="163029"/>
                  </a:lnTo>
                  <a:lnTo>
                    <a:pt x="536803" y="163029"/>
                  </a:lnTo>
                  <a:lnTo>
                    <a:pt x="524751" y="163029"/>
                  </a:lnTo>
                  <a:lnTo>
                    <a:pt x="524040" y="163741"/>
                  </a:lnTo>
                  <a:lnTo>
                    <a:pt x="523341" y="163029"/>
                  </a:lnTo>
                  <a:lnTo>
                    <a:pt x="511302" y="163029"/>
                  </a:lnTo>
                  <a:lnTo>
                    <a:pt x="506679" y="163029"/>
                  </a:lnTo>
                  <a:lnTo>
                    <a:pt x="494639" y="163029"/>
                  </a:lnTo>
                  <a:lnTo>
                    <a:pt x="493928" y="163741"/>
                  </a:lnTo>
                  <a:lnTo>
                    <a:pt x="493229" y="163029"/>
                  </a:lnTo>
                  <a:lnTo>
                    <a:pt x="476567" y="163029"/>
                  </a:lnTo>
                  <a:lnTo>
                    <a:pt x="469836" y="169773"/>
                  </a:lnTo>
                  <a:lnTo>
                    <a:pt x="463105" y="163029"/>
                  </a:lnTo>
                  <a:lnTo>
                    <a:pt x="446443" y="163029"/>
                  </a:lnTo>
                  <a:lnTo>
                    <a:pt x="439724" y="169773"/>
                  </a:lnTo>
                  <a:lnTo>
                    <a:pt x="439724" y="186372"/>
                  </a:lnTo>
                  <a:lnTo>
                    <a:pt x="446443" y="193217"/>
                  </a:lnTo>
                  <a:lnTo>
                    <a:pt x="463105" y="193217"/>
                  </a:lnTo>
                  <a:lnTo>
                    <a:pt x="469836" y="186372"/>
                  </a:lnTo>
                  <a:lnTo>
                    <a:pt x="476567" y="193217"/>
                  </a:lnTo>
                  <a:lnTo>
                    <a:pt x="493229" y="193217"/>
                  </a:lnTo>
                  <a:lnTo>
                    <a:pt x="493928" y="192506"/>
                  </a:lnTo>
                  <a:lnTo>
                    <a:pt x="494639" y="193217"/>
                  </a:lnTo>
                  <a:lnTo>
                    <a:pt x="506679" y="193217"/>
                  </a:lnTo>
                  <a:lnTo>
                    <a:pt x="511302" y="193217"/>
                  </a:lnTo>
                  <a:lnTo>
                    <a:pt x="523341" y="193217"/>
                  </a:lnTo>
                  <a:lnTo>
                    <a:pt x="524040" y="192506"/>
                  </a:lnTo>
                  <a:lnTo>
                    <a:pt x="524751" y="193217"/>
                  </a:lnTo>
                  <a:lnTo>
                    <a:pt x="536803" y="193217"/>
                  </a:lnTo>
                  <a:lnTo>
                    <a:pt x="541413" y="193217"/>
                  </a:lnTo>
                  <a:lnTo>
                    <a:pt x="553466" y="193217"/>
                  </a:lnTo>
                  <a:lnTo>
                    <a:pt x="554164" y="192506"/>
                  </a:lnTo>
                  <a:lnTo>
                    <a:pt x="554875" y="193217"/>
                  </a:lnTo>
                  <a:lnTo>
                    <a:pt x="566915" y="193217"/>
                  </a:lnTo>
                  <a:lnTo>
                    <a:pt x="571538" y="193217"/>
                  </a:lnTo>
                  <a:lnTo>
                    <a:pt x="583577" y="193217"/>
                  </a:lnTo>
                  <a:lnTo>
                    <a:pt x="584276" y="192506"/>
                  </a:lnTo>
                  <a:lnTo>
                    <a:pt x="584987" y="193217"/>
                  </a:lnTo>
                  <a:lnTo>
                    <a:pt x="597039" y="193217"/>
                  </a:lnTo>
                  <a:lnTo>
                    <a:pt x="601649" y="193217"/>
                  </a:lnTo>
                  <a:lnTo>
                    <a:pt x="613702" y="193217"/>
                  </a:lnTo>
                  <a:lnTo>
                    <a:pt x="614400" y="192506"/>
                  </a:lnTo>
                  <a:lnTo>
                    <a:pt x="615111" y="193217"/>
                  </a:lnTo>
                  <a:lnTo>
                    <a:pt x="655866" y="193217"/>
                  </a:lnTo>
                  <a:lnTo>
                    <a:pt x="656564" y="192506"/>
                  </a:lnTo>
                  <a:lnTo>
                    <a:pt x="657275" y="193217"/>
                  </a:lnTo>
                  <a:lnTo>
                    <a:pt x="669315" y="193217"/>
                  </a:lnTo>
                  <a:lnTo>
                    <a:pt x="673938" y="193217"/>
                  </a:lnTo>
                  <a:lnTo>
                    <a:pt x="685990" y="193217"/>
                  </a:lnTo>
                  <a:lnTo>
                    <a:pt x="686689" y="192506"/>
                  </a:lnTo>
                  <a:lnTo>
                    <a:pt x="687387" y="193217"/>
                  </a:lnTo>
                  <a:lnTo>
                    <a:pt x="699439" y="193217"/>
                  </a:lnTo>
                  <a:lnTo>
                    <a:pt x="704049" y="193217"/>
                  </a:lnTo>
                  <a:lnTo>
                    <a:pt x="716102" y="193217"/>
                  </a:lnTo>
                  <a:lnTo>
                    <a:pt x="716800" y="192506"/>
                  </a:lnTo>
                  <a:lnTo>
                    <a:pt x="717511" y="193217"/>
                  </a:lnTo>
                  <a:lnTo>
                    <a:pt x="729551" y="193217"/>
                  </a:lnTo>
                  <a:lnTo>
                    <a:pt x="734174" y="193217"/>
                  </a:lnTo>
                  <a:lnTo>
                    <a:pt x="746226" y="193217"/>
                  </a:lnTo>
                  <a:lnTo>
                    <a:pt x="746925" y="192506"/>
                  </a:lnTo>
                  <a:lnTo>
                    <a:pt x="747623" y="193217"/>
                  </a:lnTo>
                  <a:lnTo>
                    <a:pt x="759675" y="193217"/>
                  </a:lnTo>
                  <a:lnTo>
                    <a:pt x="764286" y="193217"/>
                  </a:lnTo>
                  <a:lnTo>
                    <a:pt x="776338" y="193217"/>
                  </a:lnTo>
                  <a:lnTo>
                    <a:pt x="783069" y="186372"/>
                  </a:lnTo>
                  <a:lnTo>
                    <a:pt x="783069" y="178117"/>
                  </a:lnTo>
                  <a:lnTo>
                    <a:pt x="783069" y="169773"/>
                  </a:lnTo>
                  <a:close/>
                </a:path>
                <a:path w="934084" h="356870">
                  <a:moveTo>
                    <a:pt x="801141" y="6743"/>
                  </a:moveTo>
                  <a:lnTo>
                    <a:pt x="794410" y="0"/>
                  </a:lnTo>
                  <a:lnTo>
                    <a:pt x="777748" y="0"/>
                  </a:lnTo>
                  <a:lnTo>
                    <a:pt x="771017" y="6743"/>
                  </a:lnTo>
                  <a:lnTo>
                    <a:pt x="771017" y="23342"/>
                  </a:lnTo>
                  <a:lnTo>
                    <a:pt x="777748" y="30187"/>
                  </a:lnTo>
                  <a:lnTo>
                    <a:pt x="794410" y="30187"/>
                  </a:lnTo>
                  <a:lnTo>
                    <a:pt x="801141" y="23342"/>
                  </a:lnTo>
                  <a:lnTo>
                    <a:pt x="801141" y="15087"/>
                  </a:lnTo>
                  <a:lnTo>
                    <a:pt x="801141" y="6743"/>
                  </a:lnTo>
                  <a:close/>
                </a:path>
                <a:path w="934084" h="356870">
                  <a:moveTo>
                    <a:pt x="813181" y="332803"/>
                  </a:moveTo>
                  <a:lnTo>
                    <a:pt x="806462" y="326059"/>
                  </a:lnTo>
                  <a:lnTo>
                    <a:pt x="789787" y="326059"/>
                  </a:lnTo>
                  <a:lnTo>
                    <a:pt x="783069" y="332803"/>
                  </a:lnTo>
                  <a:lnTo>
                    <a:pt x="783069" y="349402"/>
                  </a:lnTo>
                  <a:lnTo>
                    <a:pt x="789787" y="356247"/>
                  </a:lnTo>
                  <a:lnTo>
                    <a:pt x="806462" y="356247"/>
                  </a:lnTo>
                  <a:lnTo>
                    <a:pt x="813181" y="349402"/>
                  </a:lnTo>
                  <a:lnTo>
                    <a:pt x="813181" y="341147"/>
                  </a:lnTo>
                  <a:lnTo>
                    <a:pt x="813181" y="332803"/>
                  </a:lnTo>
                  <a:close/>
                </a:path>
                <a:path w="934084" h="356870">
                  <a:moveTo>
                    <a:pt x="825233" y="169773"/>
                  </a:moveTo>
                  <a:lnTo>
                    <a:pt x="818502" y="163029"/>
                  </a:lnTo>
                  <a:lnTo>
                    <a:pt x="801839" y="163029"/>
                  </a:lnTo>
                  <a:lnTo>
                    <a:pt x="795108" y="169773"/>
                  </a:lnTo>
                  <a:lnTo>
                    <a:pt x="795108" y="186372"/>
                  </a:lnTo>
                  <a:lnTo>
                    <a:pt x="801839" y="193217"/>
                  </a:lnTo>
                  <a:lnTo>
                    <a:pt x="818502" y="193217"/>
                  </a:lnTo>
                  <a:lnTo>
                    <a:pt x="825233" y="186372"/>
                  </a:lnTo>
                  <a:lnTo>
                    <a:pt x="825233" y="178117"/>
                  </a:lnTo>
                  <a:lnTo>
                    <a:pt x="825233" y="169773"/>
                  </a:lnTo>
                  <a:close/>
                </a:path>
                <a:path w="934084" h="356870">
                  <a:moveTo>
                    <a:pt x="843305" y="6743"/>
                  </a:moveTo>
                  <a:lnTo>
                    <a:pt x="836574" y="0"/>
                  </a:lnTo>
                  <a:lnTo>
                    <a:pt x="819912" y="0"/>
                  </a:lnTo>
                  <a:lnTo>
                    <a:pt x="813181" y="6743"/>
                  </a:lnTo>
                  <a:lnTo>
                    <a:pt x="813181" y="23342"/>
                  </a:lnTo>
                  <a:lnTo>
                    <a:pt x="819912" y="30187"/>
                  </a:lnTo>
                  <a:lnTo>
                    <a:pt x="836574" y="30187"/>
                  </a:lnTo>
                  <a:lnTo>
                    <a:pt x="843305" y="23342"/>
                  </a:lnTo>
                  <a:lnTo>
                    <a:pt x="843305" y="15087"/>
                  </a:lnTo>
                  <a:lnTo>
                    <a:pt x="843305" y="6743"/>
                  </a:lnTo>
                  <a:close/>
                </a:path>
                <a:path w="934084" h="356870">
                  <a:moveTo>
                    <a:pt x="855345" y="332803"/>
                  </a:moveTo>
                  <a:lnTo>
                    <a:pt x="848626" y="326059"/>
                  </a:lnTo>
                  <a:lnTo>
                    <a:pt x="831951" y="326059"/>
                  </a:lnTo>
                  <a:lnTo>
                    <a:pt x="825233" y="332803"/>
                  </a:lnTo>
                  <a:lnTo>
                    <a:pt x="825233" y="349402"/>
                  </a:lnTo>
                  <a:lnTo>
                    <a:pt x="831951" y="356247"/>
                  </a:lnTo>
                  <a:lnTo>
                    <a:pt x="848626" y="356247"/>
                  </a:lnTo>
                  <a:lnTo>
                    <a:pt x="855345" y="349402"/>
                  </a:lnTo>
                  <a:lnTo>
                    <a:pt x="855345" y="341147"/>
                  </a:lnTo>
                  <a:lnTo>
                    <a:pt x="855345" y="332803"/>
                  </a:lnTo>
                  <a:close/>
                </a:path>
                <a:path w="934084" h="356870">
                  <a:moveTo>
                    <a:pt x="873417" y="169773"/>
                  </a:moveTo>
                  <a:lnTo>
                    <a:pt x="866698" y="163029"/>
                  </a:lnTo>
                  <a:lnTo>
                    <a:pt x="850023" y="163029"/>
                  </a:lnTo>
                  <a:lnTo>
                    <a:pt x="843305" y="169773"/>
                  </a:lnTo>
                  <a:lnTo>
                    <a:pt x="843305" y="186372"/>
                  </a:lnTo>
                  <a:lnTo>
                    <a:pt x="850023" y="193217"/>
                  </a:lnTo>
                  <a:lnTo>
                    <a:pt x="866698" y="193217"/>
                  </a:lnTo>
                  <a:lnTo>
                    <a:pt x="873417" y="186372"/>
                  </a:lnTo>
                  <a:lnTo>
                    <a:pt x="873417" y="178117"/>
                  </a:lnTo>
                  <a:lnTo>
                    <a:pt x="873417" y="169773"/>
                  </a:lnTo>
                  <a:close/>
                </a:path>
                <a:path w="934084" h="356870">
                  <a:moveTo>
                    <a:pt x="885469" y="6743"/>
                  </a:moveTo>
                  <a:lnTo>
                    <a:pt x="878738" y="0"/>
                  </a:lnTo>
                  <a:lnTo>
                    <a:pt x="862076" y="0"/>
                  </a:lnTo>
                  <a:lnTo>
                    <a:pt x="855345" y="6743"/>
                  </a:lnTo>
                  <a:lnTo>
                    <a:pt x="855345" y="23342"/>
                  </a:lnTo>
                  <a:lnTo>
                    <a:pt x="862076" y="30187"/>
                  </a:lnTo>
                  <a:lnTo>
                    <a:pt x="878738" y="30187"/>
                  </a:lnTo>
                  <a:lnTo>
                    <a:pt x="885469" y="23342"/>
                  </a:lnTo>
                  <a:lnTo>
                    <a:pt x="885469" y="15087"/>
                  </a:lnTo>
                  <a:lnTo>
                    <a:pt x="885469" y="6743"/>
                  </a:lnTo>
                  <a:close/>
                </a:path>
                <a:path w="934084" h="356870">
                  <a:moveTo>
                    <a:pt x="903541" y="332803"/>
                  </a:moveTo>
                  <a:lnTo>
                    <a:pt x="896810" y="326059"/>
                  </a:lnTo>
                  <a:lnTo>
                    <a:pt x="880148" y="326059"/>
                  </a:lnTo>
                  <a:lnTo>
                    <a:pt x="873417" y="332803"/>
                  </a:lnTo>
                  <a:lnTo>
                    <a:pt x="873417" y="349402"/>
                  </a:lnTo>
                  <a:lnTo>
                    <a:pt x="880148" y="356247"/>
                  </a:lnTo>
                  <a:lnTo>
                    <a:pt x="896810" y="356247"/>
                  </a:lnTo>
                  <a:lnTo>
                    <a:pt x="903541" y="349402"/>
                  </a:lnTo>
                  <a:lnTo>
                    <a:pt x="903541" y="341147"/>
                  </a:lnTo>
                  <a:lnTo>
                    <a:pt x="903541" y="332803"/>
                  </a:lnTo>
                  <a:close/>
                </a:path>
                <a:path w="934084" h="356870">
                  <a:moveTo>
                    <a:pt x="915581" y="169773"/>
                  </a:moveTo>
                  <a:lnTo>
                    <a:pt x="908862" y="163029"/>
                  </a:lnTo>
                  <a:lnTo>
                    <a:pt x="892187" y="163029"/>
                  </a:lnTo>
                  <a:lnTo>
                    <a:pt x="885469" y="169773"/>
                  </a:lnTo>
                  <a:lnTo>
                    <a:pt x="885469" y="186372"/>
                  </a:lnTo>
                  <a:lnTo>
                    <a:pt x="892187" y="193217"/>
                  </a:lnTo>
                  <a:lnTo>
                    <a:pt x="908862" y="193217"/>
                  </a:lnTo>
                  <a:lnTo>
                    <a:pt x="915581" y="186372"/>
                  </a:lnTo>
                  <a:lnTo>
                    <a:pt x="915581" y="178117"/>
                  </a:lnTo>
                  <a:lnTo>
                    <a:pt x="915581" y="169773"/>
                  </a:lnTo>
                  <a:close/>
                </a:path>
                <a:path w="934084" h="356870">
                  <a:moveTo>
                    <a:pt x="933653" y="6743"/>
                  </a:moveTo>
                  <a:lnTo>
                    <a:pt x="926934" y="0"/>
                  </a:lnTo>
                  <a:lnTo>
                    <a:pt x="910259" y="0"/>
                  </a:lnTo>
                  <a:lnTo>
                    <a:pt x="903541" y="6743"/>
                  </a:lnTo>
                  <a:lnTo>
                    <a:pt x="903541" y="23342"/>
                  </a:lnTo>
                  <a:lnTo>
                    <a:pt x="910259" y="30187"/>
                  </a:lnTo>
                  <a:lnTo>
                    <a:pt x="926934" y="30187"/>
                  </a:lnTo>
                  <a:lnTo>
                    <a:pt x="933653" y="23342"/>
                  </a:lnTo>
                  <a:lnTo>
                    <a:pt x="933653" y="15087"/>
                  </a:lnTo>
                  <a:lnTo>
                    <a:pt x="933653" y="6743"/>
                  </a:lnTo>
                  <a:close/>
                </a:path>
              </a:pathLst>
            </a:custGeom>
            <a:solidFill>
              <a:srgbClr val="1F487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grpSp>
        <p:nvGrpSpPr>
          <p:cNvPr id="89" name="object 89"/>
          <p:cNvGrpSpPr/>
          <p:nvPr/>
        </p:nvGrpSpPr>
        <p:grpSpPr>
          <a:xfrm>
            <a:off x="7752388" y="2348128"/>
            <a:ext cx="1831339" cy="882015"/>
            <a:chOff x="7752388" y="2348128"/>
            <a:chExt cx="1831339" cy="882015"/>
          </a:xfrm>
        </p:grpSpPr>
        <p:sp>
          <p:nvSpPr>
            <p:cNvPr id="90" name="object 90"/>
            <p:cNvSpPr/>
            <p:nvPr/>
          </p:nvSpPr>
          <p:spPr>
            <a:xfrm>
              <a:off x="7752388" y="2348128"/>
              <a:ext cx="1831339" cy="882015"/>
            </a:xfrm>
            <a:custGeom>
              <a:avLst/>
              <a:gdLst/>
              <a:ahLst/>
              <a:cxnLst/>
              <a:rect l="l" t="t" r="r" b="b"/>
              <a:pathLst>
                <a:path w="1831340" h="882014">
                  <a:moveTo>
                    <a:pt x="1831177" y="0"/>
                  </a:moveTo>
                  <a:lnTo>
                    <a:pt x="0" y="0"/>
                  </a:lnTo>
                  <a:lnTo>
                    <a:pt x="0" y="881573"/>
                  </a:lnTo>
                  <a:lnTo>
                    <a:pt x="1831177" y="881573"/>
                  </a:lnTo>
                  <a:lnTo>
                    <a:pt x="1831177"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91" name="object 91"/>
            <p:cNvSpPr/>
            <p:nvPr/>
          </p:nvSpPr>
          <p:spPr>
            <a:xfrm>
              <a:off x="7954179" y="2459834"/>
              <a:ext cx="30480" cy="658495"/>
            </a:xfrm>
            <a:custGeom>
              <a:avLst/>
              <a:gdLst/>
              <a:ahLst/>
              <a:cxnLst/>
              <a:rect l="l" t="t" r="r" b="b"/>
              <a:pathLst>
                <a:path w="30479" h="658494">
                  <a:moveTo>
                    <a:pt x="30118" y="658160"/>
                  </a:moveTo>
                  <a:lnTo>
                    <a:pt x="30118" y="0"/>
                  </a:lnTo>
                </a:path>
                <a:path w="30479" h="658494">
                  <a:moveTo>
                    <a:pt x="0" y="658160"/>
                  </a:moveTo>
                  <a:lnTo>
                    <a:pt x="30118" y="658160"/>
                  </a:lnTo>
                </a:path>
                <a:path w="30479" h="658494">
                  <a:moveTo>
                    <a:pt x="0" y="332099"/>
                  </a:moveTo>
                  <a:lnTo>
                    <a:pt x="30118" y="332099"/>
                  </a:lnTo>
                </a:path>
                <a:path w="30479" h="658494">
                  <a:moveTo>
                    <a:pt x="0" y="0"/>
                  </a:moveTo>
                  <a:lnTo>
                    <a:pt x="30118" y="0"/>
                  </a:lnTo>
                </a:path>
              </a:pathLst>
            </a:custGeom>
            <a:ln w="6036">
              <a:solidFill>
                <a:srgbClr val="85858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92" name="object 92"/>
            <p:cNvSpPr/>
            <p:nvPr/>
          </p:nvSpPr>
          <p:spPr>
            <a:xfrm>
              <a:off x="7984297" y="2791933"/>
              <a:ext cx="1488440" cy="0"/>
            </a:xfrm>
            <a:custGeom>
              <a:avLst/>
              <a:gdLst/>
              <a:ahLst/>
              <a:cxnLst/>
              <a:rect l="l" t="t" r="r" b="b"/>
              <a:pathLst>
                <a:path w="1488440">
                  <a:moveTo>
                    <a:pt x="0" y="0"/>
                  </a:moveTo>
                  <a:lnTo>
                    <a:pt x="1027025" y="0"/>
                  </a:lnTo>
                </a:path>
                <a:path w="1488440">
                  <a:moveTo>
                    <a:pt x="1370371" y="0"/>
                  </a:moveTo>
                  <a:lnTo>
                    <a:pt x="1487832" y="0"/>
                  </a:lnTo>
                </a:path>
              </a:pathLst>
            </a:custGeom>
            <a:ln w="6044">
              <a:solidFill>
                <a:srgbClr val="85858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93" name="object 93"/>
            <p:cNvSpPr/>
            <p:nvPr/>
          </p:nvSpPr>
          <p:spPr>
            <a:xfrm>
              <a:off x="9011323" y="2758731"/>
              <a:ext cx="343535" cy="60960"/>
            </a:xfrm>
            <a:custGeom>
              <a:avLst/>
              <a:gdLst/>
              <a:ahLst/>
              <a:cxnLst/>
              <a:rect l="l" t="t" r="r" b="b"/>
              <a:pathLst>
                <a:path w="343534" h="60960">
                  <a:moveTo>
                    <a:pt x="343344" y="0"/>
                  </a:moveTo>
                  <a:lnTo>
                    <a:pt x="343344" y="0"/>
                  </a:lnTo>
                  <a:lnTo>
                    <a:pt x="0" y="0"/>
                  </a:lnTo>
                  <a:lnTo>
                    <a:pt x="0" y="60375"/>
                  </a:lnTo>
                  <a:lnTo>
                    <a:pt x="343344" y="60375"/>
                  </a:lnTo>
                  <a:lnTo>
                    <a:pt x="343344" y="0"/>
                  </a:lnTo>
                  <a:close/>
                </a:path>
              </a:pathLst>
            </a:custGeom>
            <a:solidFill>
              <a:srgbClr val="92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pic>
        <p:nvPicPr>
          <p:cNvPr id="94" name="object 94"/>
          <p:cNvPicPr/>
          <p:nvPr/>
        </p:nvPicPr>
        <p:blipFill>
          <a:blip r:embed="rId6" cstate="print"/>
          <a:stretch>
            <a:fillRect/>
          </a:stretch>
        </p:blipFill>
        <p:spPr>
          <a:xfrm>
            <a:off x="7987309" y="1973761"/>
            <a:ext cx="1283029" cy="229450"/>
          </a:xfrm>
          <a:prstGeom prst="rect">
            <a:avLst/>
          </a:prstGeom>
        </p:spPr>
      </p:pic>
      <p:graphicFrame>
        <p:nvGraphicFramePr>
          <p:cNvPr id="95" name="object 95"/>
          <p:cNvGraphicFramePr>
            <a:graphicFrameLocks noGrp="1"/>
          </p:cNvGraphicFramePr>
          <p:nvPr/>
        </p:nvGraphicFramePr>
        <p:xfrm>
          <a:off x="0" y="886890"/>
          <a:ext cx="12195169" cy="5200012"/>
        </p:xfrm>
        <a:graphic>
          <a:graphicData uri="http://schemas.openxmlformats.org/drawingml/2006/table">
            <a:tbl>
              <a:tblPr firstRow="1" bandRow="1">
                <a:tableStyleId>{2D5ABB26-0587-4C30-8999-92F81FD0307C}</a:tableStyleId>
              </a:tblPr>
              <a:tblGrid>
                <a:gridCol w="521334">
                  <a:extLst>
                    <a:ext uri="{9D8B030D-6E8A-4147-A177-3AD203B41FA5}">
                      <a16:colId xmlns:a16="http://schemas.microsoft.com/office/drawing/2014/main" val="20000"/>
                    </a:ext>
                  </a:extLst>
                </a:gridCol>
                <a:gridCol w="180340">
                  <a:extLst>
                    <a:ext uri="{9D8B030D-6E8A-4147-A177-3AD203B41FA5}">
                      <a16:colId xmlns:a16="http://schemas.microsoft.com/office/drawing/2014/main" val="20001"/>
                    </a:ext>
                  </a:extLst>
                </a:gridCol>
                <a:gridCol w="1831339">
                  <a:extLst>
                    <a:ext uri="{9D8B030D-6E8A-4147-A177-3AD203B41FA5}">
                      <a16:colId xmlns:a16="http://schemas.microsoft.com/office/drawing/2014/main" val="20002"/>
                    </a:ext>
                  </a:extLst>
                </a:gridCol>
                <a:gridCol w="320675">
                  <a:extLst>
                    <a:ext uri="{9D8B030D-6E8A-4147-A177-3AD203B41FA5}">
                      <a16:colId xmlns:a16="http://schemas.microsoft.com/office/drawing/2014/main" val="20003"/>
                    </a:ext>
                  </a:extLst>
                </a:gridCol>
                <a:gridCol w="209550">
                  <a:extLst>
                    <a:ext uri="{9D8B030D-6E8A-4147-A177-3AD203B41FA5}">
                      <a16:colId xmlns:a16="http://schemas.microsoft.com/office/drawing/2014/main" val="20004"/>
                    </a:ext>
                  </a:extLst>
                </a:gridCol>
                <a:gridCol w="1831339">
                  <a:extLst>
                    <a:ext uri="{9D8B030D-6E8A-4147-A177-3AD203B41FA5}">
                      <a16:colId xmlns:a16="http://schemas.microsoft.com/office/drawing/2014/main" val="20005"/>
                    </a:ext>
                  </a:extLst>
                </a:gridCol>
                <a:gridCol w="292100">
                  <a:extLst>
                    <a:ext uri="{9D8B030D-6E8A-4147-A177-3AD203B41FA5}">
                      <a16:colId xmlns:a16="http://schemas.microsoft.com/office/drawing/2014/main" val="20006"/>
                    </a:ext>
                  </a:extLst>
                </a:gridCol>
                <a:gridCol w="233045">
                  <a:extLst>
                    <a:ext uri="{9D8B030D-6E8A-4147-A177-3AD203B41FA5}">
                      <a16:colId xmlns:a16="http://schemas.microsoft.com/office/drawing/2014/main" val="20007"/>
                    </a:ext>
                  </a:extLst>
                </a:gridCol>
                <a:gridCol w="1831975">
                  <a:extLst>
                    <a:ext uri="{9D8B030D-6E8A-4147-A177-3AD203B41FA5}">
                      <a16:colId xmlns:a16="http://schemas.microsoft.com/office/drawing/2014/main" val="20008"/>
                    </a:ext>
                  </a:extLst>
                </a:gridCol>
                <a:gridCol w="269875">
                  <a:extLst>
                    <a:ext uri="{9D8B030D-6E8A-4147-A177-3AD203B41FA5}">
                      <a16:colId xmlns:a16="http://schemas.microsoft.com/office/drawing/2014/main" val="20009"/>
                    </a:ext>
                  </a:extLst>
                </a:gridCol>
                <a:gridCol w="232409">
                  <a:extLst>
                    <a:ext uri="{9D8B030D-6E8A-4147-A177-3AD203B41FA5}">
                      <a16:colId xmlns:a16="http://schemas.microsoft.com/office/drawing/2014/main" val="20010"/>
                    </a:ext>
                  </a:extLst>
                </a:gridCol>
                <a:gridCol w="1832609">
                  <a:extLst>
                    <a:ext uri="{9D8B030D-6E8A-4147-A177-3AD203B41FA5}">
                      <a16:colId xmlns:a16="http://schemas.microsoft.com/office/drawing/2014/main" val="20011"/>
                    </a:ext>
                  </a:extLst>
                </a:gridCol>
                <a:gridCol w="271779">
                  <a:extLst>
                    <a:ext uri="{9D8B030D-6E8A-4147-A177-3AD203B41FA5}">
                      <a16:colId xmlns:a16="http://schemas.microsoft.com/office/drawing/2014/main" val="20012"/>
                    </a:ext>
                  </a:extLst>
                </a:gridCol>
                <a:gridCol w="165100">
                  <a:extLst>
                    <a:ext uri="{9D8B030D-6E8A-4147-A177-3AD203B41FA5}">
                      <a16:colId xmlns:a16="http://schemas.microsoft.com/office/drawing/2014/main" val="20013"/>
                    </a:ext>
                  </a:extLst>
                </a:gridCol>
                <a:gridCol w="1832610">
                  <a:extLst>
                    <a:ext uri="{9D8B030D-6E8A-4147-A177-3AD203B41FA5}">
                      <a16:colId xmlns:a16="http://schemas.microsoft.com/office/drawing/2014/main" val="20014"/>
                    </a:ext>
                  </a:extLst>
                </a:gridCol>
                <a:gridCol w="339090">
                  <a:extLst>
                    <a:ext uri="{9D8B030D-6E8A-4147-A177-3AD203B41FA5}">
                      <a16:colId xmlns:a16="http://schemas.microsoft.com/office/drawing/2014/main" val="20015"/>
                    </a:ext>
                  </a:extLst>
                </a:gridCol>
              </a:tblGrid>
              <a:tr h="541020">
                <a:tc>
                  <a:txBody>
                    <a:bodyPr/>
                    <a:lstStyle/>
                    <a:p>
                      <a:pPr>
                        <a:lnSpc>
                          <a:spcPct val="100000"/>
                        </a:lnSpc>
                      </a:pPr>
                      <a:endParaRPr sz="1300">
                        <a:latin typeface="Times New Roman"/>
                        <a:cs typeface="Times New Roman"/>
                      </a:endParaRPr>
                    </a:p>
                  </a:txBody>
                  <a:tcPr marL="0" marR="0" marT="0" marB="0">
                    <a:lnL w="6350">
                      <a:solidFill>
                        <a:srgbClr val="000000"/>
                      </a:solidFill>
                      <a:prstDash val="solid"/>
                    </a:lnL>
                    <a:lnR w="12700">
                      <a:solidFill>
                        <a:srgbClr val="000000"/>
                      </a:solidFill>
                      <a:prstDash val="solid"/>
                    </a:lnR>
                    <a:lnT w="6350">
                      <a:solidFill>
                        <a:srgbClr val="000000"/>
                      </a:solidFill>
                      <a:prstDash val="solid"/>
                    </a:lnT>
                    <a:lnB w="12700">
                      <a:solidFill>
                        <a:srgbClr val="000000"/>
                      </a:solidFill>
                      <a:prstDash val="solid"/>
                    </a:lnB>
                  </a:tcPr>
                </a:tc>
                <a:tc gridSpan="3">
                  <a:txBody>
                    <a:bodyPr/>
                    <a:lstStyle/>
                    <a:p>
                      <a:pPr marL="554355">
                        <a:lnSpc>
                          <a:spcPct val="100000"/>
                        </a:lnSpc>
                        <a:spcBef>
                          <a:spcPts val="1290"/>
                        </a:spcBef>
                      </a:pPr>
                      <a:r>
                        <a:rPr sz="1400" dirty="0">
                          <a:latin typeface="Arial"/>
                          <a:cs typeface="Arial"/>
                        </a:rPr>
                        <a:t>Normal</a:t>
                      </a:r>
                      <a:r>
                        <a:rPr sz="1400" spc="-15" dirty="0">
                          <a:latin typeface="Arial"/>
                          <a:cs typeface="Arial"/>
                        </a:rPr>
                        <a:t> </a:t>
                      </a:r>
                      <a:r>
                        <a:rPr sz="1400" spc="-10" dirty="0">
                          <a:latin typeface="Arial"/>
                          <a:cs typeface="Arial"/>
                        </a:rPr>
                        <a:t>(CN=2)</a:t>
                      </a:r>
                      <a:endParaRPr sz="1400">
                        <a:latin typeface="Arial"/>
                        <a:cs typeface="Arial"/>
                      </a:endParaRPr>
                    </a:p>
                  </a:txBody>
                  <a:tcPr marL="0" marR="0" marT="163830" marB="0">
                    <a:lnL w="12700">
                      <a:solidFill>
                        <a:srgbClr val="000000"/>
                      </a:solidFill>
                      <a:prstDash val="solid"/>
                    </a:lnL>
                    <a:lnR w="12700">
                      <a:solidFill>
                        <a:srgbClr val="000000"/>
                      </a:solidFill>
                      <a:prstDash val="solid"/>
                    </a:lnR>
                    <a:lnT w="6350">
                      <a:solidFill>
                        <a:srgbClr val="000000"/>
                      </a:solidFill>
                      <a:prstDash val="solid"/>
                    </a:lnT>
                    <a:lnB w="12700">
                      <a:solidFill>
                        <a:srgbClr val="000000"/>
                      </a:solidFill>
                      <a:prstDash val="solid"/>
                    </a:lnB>
                  </a:tcPr>
                </a:tc>
                <a:tc hMerge="1">
                  <a:txBody>
                    <a:bodyPr/>
                    <a:lstStyle/>
                    <a:p>
                      <a:endParaRPr/>
                    </a:p>
                  </a:txBody>
                  <a:tcPr marL="0" marR="0" marT="0" marB="0"/>
                </a:tc>
                <a:tc hMerge="1">
                  <a:txBody>
                    <a:bodyPr/>
                    <a:lstStyle/>
                    <a:p>
                      <a:endParaRPr/>
                    </a:p>
                  </a:txBody>
                  <a:tcPr marL="0" marR="0" marT="0" marB="0"/>
                </a:tc>
                <a:tc gridSpan="3">
                  <a:txBody>
                    <a:bodyPr/>
                    <a:lstStyle/>
                    <a:p>
                      <a:pPr marL="656590">
                        <a:lnSpc>
                          <a:spcPct val="100000"/>
                        </a:lnSpc>
                        <a:spcBef>
                          <a:spcPts val="1290"/>
                        </a:spcBef>
                      </a:pPr>
                      <a:r>
                        <a:rPr sz="1400" dirty="0">
                          <a:latin typeface="Arial"/>
                          <a:cs typeface="Arial"/>
                        </a:rPr>
                        <a:t>Gain</a:t>
                      </a:r>
                      <a:r>
                        <a:rPr sz="1400" spc="-20" dirty="0">
                          <a:latin typeface="Arial"/>
                          <a:cs typeface="Arial"/>
                        </a:rPr>
                        <a:t> </a:t>
                      </a:r>
                      <a:r>
                        <a:rPr sz="1400" spc="-10" dirty="0">
                          <a:latin typeface="Arial"/>
                          <a:cs typeface="Arial"/>
                        </a:rPr>
                        <a:t>(CN=3)</a:t>
                      </a:r>
                      <a:endParaRPr sz="1400">
                        <a:latin typeface="Arial"/>
                        <a:cs typeface="Arial"/>
                      </a:endParaRPr>
                    </a:p>
                  </a:txBody>
                  <a:tcPr marL="0" marR="0" marT="163830" marB="0">
                    <a:lnL w="12700">
                      <a:solidFill>
                        <a:srgbClr val="000000"/>
                      </a:solidFill>
                      <a:prstDash val="solid"/>
                    </a:lnL>
                    <a:lnR w="12700">
                      <a:solidFill>
                        <a:srgbClr val="000000"/>
                      </a:solidFill>
                      <a:prstDash val="solid"/>
                    </a:lnR>
                    <a:lnT w="6350">
                      <a:solidFill>
                        <a:srgbClr val="000000"/>
                      </a:solidFill>
                      <a:prstDash val="solid"/>
                    </a:lnT>
                    <a:lnB w="12700">
                      <a:solidFill>
                        <a:srgbClr val="000000"/>
                      </a:solidFill>
                      <a:prstDash val="solid"/>
                    </a:lnB>
                  </a:tcPr>
                </a:tc>
                <a:tc hMerge="1">
                  <a:txBody>
                    <a:bodyPr/>
                    <a:lstStyle/>
                    <a:p>
                      <a:endParaRPr/>
                    </a:p>
                  </a:txBody>
                  <a:tcPr marL="0" marR="0" marT="0" marB="0"/>
                </a:tc>
                <a:tc hMerge="1">
                  <a:txBody>
                    <a:bodyPr/>
                    <a:lstStyle/>
                    <a:p>
                      <a:endParaRPr/>
                    </a:p>
                  </a:txBody>
                  <a:tcPr marL="0" marR="0" marT="0" marB="0"/>
                </a:tc>
                <a:tc gridSpan="3">
                  <a:txBody>
                    <a:bodyPr/>
                    <a:lstStyle/>
                    <a:p>
                      <a:pPr marL="132715">
                        <a:lnSpc>
                          <a:spcPct val="100000"/>
                        </a:lnSpc>
                        <a:spcBef>
                          <a:spcPts val="1290"/>
                        </a:spcBef>
                      </a:pPr>
                      <a:r>
                        <a:rPr sz="1400" dirty="0">
                          <a:latin typeface="Arial"/>
                          <a:cs typeface="Arial"/>
                        </a:rPr>
                        <a:t>Hemizygous</a:t>
                      </a:r>
                      <a:r>
                        <a:rPr sz="1400" spc="15" dirty="0">
                          <a:latin typeface="Arial"/>
                          <a:cs typeface="Arial"/>
                        </a:rPr>
                        <a:t> </a:t>
                      </a:r>
                      <a:r>
                        <a:rPr sz="1400" dirty="0">
                          <a:latin typeface="Arial"/>
                          <a:cs typeface="Arial"/>
                        </a:rPr>
                        <a:t>Loss</a:t>
                      </a:r>
                      <a:r>
                        <a:rPr sz="1400" spc="10" dirty="0">
                          <a:latin typeface="Arial"/>
                          <a:cs typeface="Arial"/>
                        </a:rPr>
                        <a:t> </a:t>
                      </a:r>
                      <a:r>
                        <a:rPr sz="1400" spc="-10" dirty="0">
                          <a:latin typeface="Arial"/>
                          <a:cs typeface="Arial"/>
                        </a:rPr>
                        <a:t>(CN=1)</a:t>
                      </a:r>
                      <a:endParaRPr sz="1400">
                        <a:latin typeface="Arial"/>
                        <a:cs typeface="Arial"/>
                      </a:endParaRPr>
                    </a:p>
                  </a:txBody>
                  <a:tcPr marL="0" marR="0" marT="163830" marB="0">
                    <a:lnL w="12700">
                      <a:solidFill>
                        <a:srgbClr val="000000"/>
                      </a:solidFill>
                      <a:prstDash val="solid"/>
                    </a:lnL>
                    <a:lnR w="12700">
                      <a:solidFill>
                        <a:srgbClr val="000000"/>
                      </a:solidFill>
                      <a:prstDash val="solid"/>
                    </a:lnR>
                    <a:lnT w="6350">
                      <a:solidFill>
                        <a:srgbClr val="000000"/>
                      </a:solidFill>
                      <a:prstDash val="solid"/>
                    </a:lnT>
                    <a:lnB w="12700">
                      <a:solidFill>
                        <a:srgbClr val="000000"/>
                      </a:solidFill>
                      <a:prstDash val="solid"/>
                    </a:lnB>
                  </a:tcPr>
                </a:tc>
                <a:tc hMerge="1">
                  <a:txBody>
                    <a:bodyPr/>
                    <a:lstStyle/>
                    <a:p>
                      <a:endParaRPr/>
                    </a:p>
                  </a:txBody>
                  <a:tcPr marL="0" marR="0" marT="0" marB="0"/>
                </a:tc>
                <a:tc hMerge="1">
                  <a:txBody>
                    <a:bodyPr/>
                    <a:lstStyle/>
                    <a:p>
                      <a:endParaRPr/>
                    </a:p>
                  </a:txBody>
                  <a:tcPr marL="0" marR="0" marT="0" marB="0"/>
                </a:tc>
                <a:tc gridSpan="3">
                  <a:txBody>
                    <a:bodyPr/>
                    <a:lstStyle/>
                    <a:p>
                      <a:pPr marL="107950">
                        <a:lnSpc>
                          <a:spcPct val="100000"/>
                        </a:lnSpc>
                        <a:spcBef>
                          <a:spcPts val="1290"/>
                        </a:spcBef>
                      </a:pPr>
                      <a:r>
                        <a:rPr sz="1400" dirty="0">
                          <a:latin typeface="Arial"/>
                          <a:cs typeface="Arial"/>
                        </a:rPr>
                        <a:t>Homozygous</a:t>
                      </a:r>
                      <a:r>
                        <a:rPr sz="1400" spc="-5" dirty="0">
                          <a:latin typeface="Arial"/>
                          <a:cs typeface="Arial"/>
                        </a:rPr>
                        <a:t> </a:t>
                      </a:r>
                      <a:r>
                        <a:rPr sz="1400" dirty="0">
                          <a:latin typeface="Arial"/>
                          <a:cs typeface="Arial"/>
                        </a:rPr>
                        <a:t>Loss</a:t>
                      </a:r>
                      <a:r>
                        <a:rPr sz="1400" spc="-10" dirty="0">
                          <a:latin typeface="Arial"/>
                          <a:cs typeface="Arial"/>
                        </a:rPr>
                        <a:t> (CN=0)</a:t>
                      </a:r>
                      <a:endParaRPr sz="1400">
                        <a:latin typeface="Arial"/>
                        <a:cs typeface="Arial"/>
                      </a:endParaRPr>
                    </a:p>
                  </a:txBody>
                  <a:tcPr marL="0" marR="0" marT="163830" marB="0">
                    <a:lnL w="12700">
                      <a:solidFill>
                        <a:srgbClr val="000000"/>
                      </a:solidFill>
                      <a:prstDash val="solid"/>
                    </a:lnL>
                    <a:lnR w="12700">
                      <a:solidFill>
                        <a:srgbClr val="000000"/>
                      </a:solidFill>
                      <a:prstDash val="solid"/>
                    </a:lnR>
                    <a:lnT w="6350">
                      <a:solidFill>
                        <a:srgbClr val="000000"/>
                      </a:solidFill>
                      <a:prstDash val="solid"/>
                    </a:lnT>
                    <a:lnB w="12700">
                      <a:solidFill>
                        <a:srgbClr val="000000"/>
                      </a:solidFill>
                      <a:prstDash val="solid"/>
                    </a:lnB>
                  </a:tcPr>
                </a:tc>
                <a:tc hMerge="1">
                  <a:txBody>
                    <a:bodyPr/>
                    <a:lstStyle/>
                    <a:p>
                      <a:endParaRPr/>
                    </a:p>
                  </a:txBody>
                  <a:tcPr marL="0" marR="0" marT="0" marB="0"/>
                </a:tc>
                <a:tc hMerge="1">
                  <a:txBody>
                    <a:bodyPr/>
                    <a:lstStyle/>
                    <a:p>
                      <a:endParaRPr/>
                    </a:p>
                  </a:txBody>
                  <a:tcPr marL="0" marR="0" marT="0" marB="0"/>
                </a:tc>
                <a:tc gridSpan="3">
                  <a:txBody>
                    <a:bodyPr/>
                    <a:lstStyle/>
                    <a:p>
                      <a:pPr marL="873760" marR="187325" indent="-675640">
                        <a:lnSpc>
                          <a:spcPct val="107700"/>
                        </a:lnSpc>
                        <a:spcBef>
                          <a:spcPts val="254"/>
                        </a:spcBef>
                      </a:pPr>
                      <a:r>
                        <a:rPr sz="1400" dirty="0">
                          <a:latin typeface="Arial"/>
                          <a:cs typeface="Arial"/>
                        </a:rPr>
                        <a:t>Region</a:t>
                      </a:r>
                      <a:r>
                        <a:rPr sz="1400" spc="-10" dirty="0">
                          <a:latin typeface="Arial"/>
                          <a:cs typeface="Arial"/>
                        </a:rPr>
                        <a:t> </a:t>
                      </a:r>
                      <a:r>
                        <a:rPr sz="1400" dirty="0">
                          <a:latin typeface="Arial"/>
                          <a:cs typeface="Arial"/>
                        </a:rPr>
                        <a:t>of</a:t>
                      </a:r>
                      <a:r>
                        <a:rPr sz="1400" spc="-40" dirty="0">
                          <a:latin typeface="Arial"/>
                          <a:cs typeface="Arial"/>
                        </a:rPr>
                        <a:t> </a:t>
                      </a:r>
                      <a:r>
                        <a:rPr sz="1400" spc="-10" dirty="0">
                          <a:latin typeface="Arial"/>
                          <a:cs typeface="Arial"/>
                        </a:rPr>
                        <a:t>Homozygosity (CN=2)</a:t>
                      </a:r>
                      <a:endParaRPr sz="1400">
                        <a:latin typeface="Arial"/>
                        <a:cs typeface="Arial"/>
                      </a:endParaRPr>
                    </a:p>
                  </a:txBody>
                  <a:tcPr marL="0" marR="0" marT="32384" marB="0">
                    <a:lnL w="12700">
                      <a:solidFill>
                        <a:srgbClr val="000000"/>
                      </a:solidFill>
                      <a:prstDash val="solid"/>
                    </a:lnL>
                    <a:lnR w="12700">
                      <a:solidFill>
                        <a:srgbClr val="000000"/>
                      </a:solidFill>
                      <a:prstDash val="solid"/>
                    </a:lnR>
                    <a:lnT w="6350">
                      <a:solidFill>
                        <a:srgbClr val="000000"/>
                      </a:solidFill>
                      <a:prstDash val="solid"/>
                    </a:lnT>
                    <a:lnB w="12700">
                      <a:solidFill>
                        <a:srgbClr val="000000"/>
                      </a:solidFill>
                      <a:prstDash val="solid"/>
                    </a:lnB>
                  </a:tcPr>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0"/>
                  </a:ext>
                </a:extLst>
              </a:tr>
              <a:tr h="906144">
                <a:tc>
                  <a:txBody>
                    <a:bodyPr/>
                    <a:lstStyle/>
                    <a:p>
                      <a:pPr>
                        <a:lnSpc>
                          <a:spcPct val="100000"/>
                        </a:lnSpc>
                        <a:spcBef>
                          <a:spcPts val="15"/>
                        </a:spcBef>
                      </a:pPr>
                      <a:endParaRPr sz="1200">
                        <a:latin typeface="Times New Roman"/>
                        <a:cs typeface="Times New Roman"/>
                      </a:endParaRPr>
                    </a:p>
                    <a:p>
                      <a:pPr marL="72390">
                        <a:lnSpc>
                          <a:spcPct val="100000"/>
                        </a:lnSpc>
                        <a:spcBef>
                          <a:spcPts val="5"/>
                        </a:spcBef>
                      </a:pPr>
                      <a:r>
                        <a:rPr sz="950" b="1" spc="-10" dirty="0">
                          <a:latin typeface="Arial"/>
                          <a:cs typeface="Arial"/>
                        </a:rPr>
                        <a:t>Chromosome</a:t>
                      </a:r>
                      <a:endParaRPr sz="950">
                        <a:latin typeface="Arial"/>
                        <a:cs typeface="Arial"/>
                      </a:endParaRPr>
                    </a:p>
                  </a:txBody>
                  <a:tcPr marL="0" marR="0" marT="1905" marB="0" vert="vert270">
                    <a:lnL w="635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gridSpan="3">
                  <a:txBody>
                    <a:bodyPr/>
                    <a:lstStyle/>
                    <a:p>
                      <a:pPr>
                        <a:lnSpc>
                          <a:spcPct val="100000"/>
                        </a:lnSpc>
                      </a:pPr>
                      <a:endParaRPr sz="1300">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hMerge="1">
                  <a:txBody>
                    <a:bodyPr/>
                    <a:lstStyle/>
                    <a:p>
                      <a:endParaRPr/>
                    </a:p>
                  </a:txBody>
                  <a:tcPr marL="0" marR="0" marT="0" marB="0"/>
                </a:tc>
                <a:tc hMerge="1">
                  <a:txBody>
                    <a:bodyPr/>
                    <a:lstStyle/>
                    <a:p>
                      <a:endParaRPr/>
                    </a:p>
                  </a:txBody>
                  <a:tcPr marL="0" marR="0" marT="0" marB="0"/>
                </a:tc>
                <a:tc gridSpan="3">
                  <a:txBody>
                    <a:bodyPr/>
                    <a:lstStyle/>
                    <a:p>
                      <a:pPr>
                        <a:lnSpc>
                          <a:spcPct val="100000"/>
                        </a:lnSpc>
                      </a:pPr>
                      <a:endParaRPr sz="1300">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hMerge="1">
                  <a:txBody>
                    <a:bodyPr/>
                    <a:lstStyle/>
                    <a:p>
                      <a:endParaRPr/>
                    </a:p>
                  </a:txBody>
                  <a:tcPr marL="0" marR="0" marT="0" marB="0"/>
                </a:tc>
                <a:tc hMerge="1">
                  <a:txBody>
                    <a:bodyPr/>
                    <a:lstStyle/>
                    <a:p>
                      <a:endParaRPr/>
                    </a:p>
                  </a:txBody>
                  <a:tcPr marL="0" marR="0" marT="0" marB="0"/>
                </a:tc>
                <a:tc gridSpan="3">
                  <a:txBody>
                    <a:bodyPr/>
                    <a:lstStyle/>
                    <a:p>
                      <a:pPr>
                        <a:lnSpc>
                          <a:spcPct val="100000"/>
                        </a:lnSpc>
                      </a:pPr>
                      <a:endParaRPr sz="1300">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hMerge="1">
                  <a:txBody>
                    <a:bodyPr/>
                    <a:lstStyle/>
                    <a:p>
                      <a:endParaRPr/>
                    </a:p>
                  </a:txBody>
                  <a:tcPr marL="0" marR="0" marT="0" marB="0"/>
                </a:tc>
                <a:tc hMerge="1">
                  <a:txBody>
                    <a:bodyPr/>
                    <a:lstStyle/>
                    <a:p>
                      <a:endParaRPr/>
                    </a:p>
                  </a:txBody>
                  <a:tcPr marL="0" marR="0" marT="0" marB="0"/>
                </a:tc>
                <a:tc gridSpan="3">
                  <a:txBody>
                    <a:bodyPr/>
                    <a:lstStyle/>
                    <a:p>
                      <a:pPr>
                        <a:lnSpc>
                          <a:spcPct val="100000"/>
                        </a:lnSpc>
                      </a:pPr>
                      <a:endParaRPr sz="1300">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hMerge="1">
                  <a:txBody>
                    <a:bodyPr/>
                    <a:lstStyle/>
                    <a:p>
                      <a:endParaRPr/>
                    </a:p>
                  </a:txBody>
                  <a:tcPr marL="0" marR="0" marT="0" marB="0"/>
                </a:tc>
                <a:tc hMerge="1">
                  <a:txBody>
                    <a:bodyPr/>
                    <a:lstStyle/>
                    <a:p>
                      <a:endParaRPr/>
                    </a:p>
                  </a:txBody>
                  <a:tcPr marL="0" marR="0" marT="0" marB="0"/>
                </a:tc>
                <a:tc gridSpan="3">
                  <a:txBody>
                    <a:bodyPr/>
                    <a:lstStyle/>
                    <a:p>
                      <a:pPr>
                        <a:lnSpc>
                          <a:spcPct val="100000"/>
                        </a:lnSpc>
                      </a:pPr>
                      <a:endParaRPr sz="1300">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1"/>
                  </a:ext>
                </a:extLst>
              </a:tr>
              <a:tr h="906144">
                <a:tc>
                  <a:txBody>
                    <a:bodyPr/>
                    <a:lstStyle/>
                    <a:p>
                      <a:pPr marL="7620" algn="ctr">
                        <a:lnSpc>
                          <a:spcPct val="100000"/>
                        </a:lnSpc>
                        <a:spcBef>
                          <a:spcPts val="780"/>
                        </a:spcBef>
                      </a:pPr>
                      <a:r>
                        <a:rPr sz="950" b="1" spc="-20" dirty="0">
                          <a:latin typeface="Arial"/>
                          <a:cs typeface="Arial"/>
                        </a:rPr>
                        <a:t>ChAS</a:t>
                      </a:r>
                      <a:endParaRPr sz="950">
                        <a:latin typeface="Arial"/>
                        <a:cs typeface="Arial"/>
                      </a:endParaRPr>
                    </a:p>
                    <a:p>
                      <a:pPr marL="13970" algn="ctr">
                        <a:lnSpc>
                          <a:spcPct val="100000"/>
                        </a:lnSpc>
                        <a:spcBef>
                          <a:spcPts val="95"/>
                        </a:spcBef>
                      </a:pPr>
                      <a:r>
                        <a:rPr sz="950" b="1" dirty="0">
                          <a:latin typeface="Arial"/>
                          <a:cs typeface="Arial"/>
                        </a:rPr>
                        <a:t>Segment</a:t>
                      </a:r>
                      <a:r>
                        <a:rPr sz="950" b="1" spc="-45" dirty="0">
                          <a:latin typeface="Arial"/>
                          <a:cs typeface="Arial"/>
                        </a:rPr>
                        <a:t> </a:t>
                      </a:r>
                      <a:r>
                        <a:rPr sz="950" b="1" spc="-20" dirty="0">
                          <a:latin typeface="Arial"/>
                          <a:cs typeface="Arial"/>
                        </a:rPr>
                        <a:t>Call</a:t>
                      </a:r>
                      <a:endParaRPr sz="950">
                        <a:latin typeface="Arial"/>
                        <a:cs typeface="Arial"/>
                      </a:endParaRPr>
                    </a:p>
                  </a:txBody>
                  <a:tcPr marL="0" marR="0" marT="99060" marB="0" vert="vert270">
                    <a:lnL w="635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nSpc>
                          <a:spcPct val="100000"/>
                        </a:lnSpc>
                      </a:pPr>
                      <a:endParaRPr sz="1300">
                        <a:latin typeface="Times New Roman"/>
                        <a:cs typeface="Times New Roman"/>
                      </a:endParaRPr>
                    </a:p>
                  </a:txBody>
                  <a:tcPr marL="0" marR="0" marT="0" marB="0">
                    <a:lnL w="12700">
                      <a:solidFill>
                        <a:srgbClr val="000000"/>
                      </a:solidFill>
                      <a:prstDash val="solid"/>
                    </a:lnL>
                    <a:lnT w="12700">
                      <a:solidFill>
                        <a:srgbClr val="000000"/>
                      </a:solidFill>
                      <a:prstDash val="solid"/>
                    </a:lnT>
                    <a:lnB w="12700">
                      <a:solidFill>
                        <a:srgbClr val="000000"/>
                      </a:solidFill>
                      <a:prstDash val="solid"/>
                    </a:lnB>
                  </a:tcPr>
                </a:tc>
                <a:tc>
                  <a:txBody>
                    <a:bodyPr/>
                    <a:lstStyle/>
                    <a:p>
                      <a:pPr>
                        <a:lnSpc>
                          <a:spcPct val="100000"/>
                        </a:lnSpc>
                      </a:pPr>
                      <a:endParaRPr sz="1300">
                        <a:latin typeface="Times New Roman"/>
                        <a:cs typeface="Times New Roman"/>
                      </a:endParaRPr>
                    </a:p>
                  </a:txBody>
                  <a:tcPr marL="0" marR="0" marT="0" marB="0">
                    <a:lnT w="12700">
                      <a:solidFill>
                        <a:srgbClr val="000000"/>
                      </a:solidFill>
                      <a:prstDash val="solid"/>
                    </a:lnT>
                    <a:lnB w="12700">
                      <a:solidFill>
                        <a:srgbClr val="000000"/>
                      </a:solidFill>
                      <a:prstDash val="solid"/>
                    </a:lnB>
                  </a:tcPr>
                </a:tc>
                <a:tc>
                  <a:txBody>
                    <a:bodyPr/>
                    <a:lstStyle/>
                    <a:p>
                      <a:pPr>
                        <a:lnSpc>
                          <a:spcPct val="100000"/>
                        </a:lnSpc>
                      </a:pPr>
                      <a:endParaRPr sz="1300">
                        <a:latin typeface="Times New Roman"/>
                        <a:cs typeface="Times New Roman"/>
                      </a:endParaRPr>
                    </a:p>
                  </a:txBody>
                  <a:tcPr marL="0" marR="0" marT="0" marB="0">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nSpc>
                          <a:spcPct val="100000"/>
                        </a:lnSpc>
                      </a:pPr>
                      <a:endParaRPr sz="1300">
                        <a:latin typeface="Times New Roman"/>
                        <a:cs typeface="Times New Roman"/>
                      </a:endParaRPr>
                    </a:p>
                  </a:txBody>
                  <a:tcPr marL="0" marR="0" marT="0" marB="0">
                    <a:lnL w="12700">
                      <a:solidFill>
                        <a:srgbClr val="000000"/>
                      </a:solidFill>
                      <a:prstDash val="solid"/>
                    </a:lnL>
                    <a:lnT w="12700">
                      <a:solidFill>
                        <a:srgbClr val="000000"/>
                      </a:solidFill>
                      <a:prstDash val="solid"/>
                    </a:lnT>
                    <a:lnB w="12700">
                      <a:solidFill>
                        <a:srgbClr val="000000"/>
                      </a:solidFill>
                      <a:prstDash val="solid"/>
                    </a:lnB>
                  </a:tcPr>
                </a:tc>
                <a:tc>
                  <a:txBody>
                    <a:bodyPr/>
                    <a:lstStyle/>
                    <a:p>
                      <a:pPr>
                        <a:lnSpc>
                          <a:spcPct val="100000"/>
                        </a:lnSpc>
                      </a:pPr>
                      <a:endParaRPr sz="1300">
                        <a:latin typeface="Times New Roman"/>
                        <a:cs typeface="Times New Roman"/>
                      </a:endParaRPr>
                    </a:p>
                  </a:txBody>
                  <a:tcPr marL="0" marR="0" marT="0" marB="0">
                    <a:lnT w="12700">
                      <a:solidFill>
                        <a:srgbClr val="000000"/>
                      </a:solidFill>
                      <a:prstDash val="solid"/>
                    </a:lnT>
                    <a:lnB w="12700">
                      <a:solidFill>
                        <a:srgbClr val="000000"/>
                      </a:solidFill>
                      <a:prstDash val="solid"/>
                    </a:lnB>
                  </a:tcPr>
                </a:tc>
                <a:tc>
                  <a:txBody>
                    <a:bodyPr/>
                    <a:lstStyle/>
                    <a:p>
                      <a:pPr>
                        <a:lnSpc>
                          <a:spcPct val="100000"/>
                        </a:lnSpc>
                      </a:pPr>
                      <a:endParaRPr sz="1300">
                        <a:latin typeface="Times New Roman"/>
                        <a:cs typeface="Times New Roman"/>
                      </a:endParaRPr>
                    </a:p>
                  </a:txBody>
                  <a:tcPr marL="0" marR="0" marT="0" marB="0">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nSpc>
                          <a:spcPct val="100000"/>
                        </a:lnSpc>
                      </a:pPr>
                      <a:endParaRPr sz="1300">
                        <a:latin typeface="Times New Roman"/>
                        <a:cs typeface="Times New Roman"/>
                      </a:endParaRPr>
                    </a:p>
                  </a:txBody>
                  <a:tcPr marL="0" marR="0" marT="0" marB="0">
                    <a:lnL w="12700">
                      <a:solidFill>
                        <a:srgbClr val="000000"/>
                      </a:solidFill>
                      <a:prstDash val="solid"/>
                    </a:lnL>
                    <a:lnT w="12700">
                      <a:solidFill>
                        <a:srgbClr val="000000"/>
                      </a:solidFill>
                      <a:prstDash val="solid"/>
                    </a:lnT>
                    <a:lnB w="12700">
                      <a:solidFill>
                        <a:srgbClr val="000000"/>
                      </a:solidFill>
                      <a:prstDash val="solid"/>
                    </a:lnB>
                  </a:tcPr>
                </a:tc>
                <a:tc>
                  <a:txBody>
                    <a:bodyPr/>
                    <a:lstStyle/>
                    <a:p>
                      <a:pPr>
                        <a:lnSpc>
                          <a:spcPct val="100000"/>
                        </a:lnSpc>
                      </a:pPr>
                      <a:endParaRPr sz="1300">
                        <a:latin typeface="Times New Roman"/>
                        <a:cs typeface="Times New Roman"/>
                      </a:endParaRPr>
                    </a:p>
                  </a:txBody>
                  <a:tcPr marL="0" marR="0" marT="0" marB="0">
                    <a:lnT w="12700">
                      <a:solidFill>
                        <a:srgbClr val="000000"/>
                      </a:solidFill>
                      <a:prstDash val="solid"/>
                    </a:lnT>
                    <a:lnB w="12700">
                      <a:solidFill>
                        <a:srgbClr val="000000"/>
                      </a:solidFill>
                      <a:prstDash val="solid"/>
                    </a:lnB>
                  </a:tcPr>
                </a:tc>
                <a:tc>
                  <a:txBody>
                    <a:bodyPr/>
                    <a:lstStyle/>
                    <a:p>
                      <a:pPr>
                        <a:lnSpc>
                          <a:spcPct val="100000"/>
                        </a:lnSpc>
                      </a:pPr>
                      <a:endParaRPr sz="1300">
                        <a:latin typeface="Times New Roman"/>
                        <a:cs typeface="Times New Roman"/>
                      </a:endParaRPr>
                    </a:p>
                  </a:txBody>
                  <a:tcPr marL="0" marR="0" marT="0" marB="0">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nSpc>
                          <a:spcPct val="100000"/>
                        </a:lnSpc>
                      </a:pPr>
                      <a:endParaRPr sz="1300">
                        <a:latin typeface="Times New Roman"/>
                        <a:cs typeface="Times New Roman"/>
                      </a:endParaRPr>
                    </a:p>
                  </a:txBody>
                  <a:tcPr marL="0" marR="0" marT="0" marB="0">
                    <a:lnL w="12700">
                      <a:solidFill>
                        <a:srgbClr val="000000"/>
                      </a:solidFill>
                      <a:prstDash val="solid"/>
                    </a:lnL>
                    <a:lnT w="12700">
                      <a:solidFill>
                        <a:srgbClr val="000000"/>
                      </a:solidFill>
                      <a:prstDash val="solid"/>
                    </a:lnT>
                    <a:lnB w="12700">
                      <a:solidFill>
                        <a:srgbClr val="000000"/>
                      </a:solidFill>
                      <a:prstDash val="solid"/>
                    </a:lnB>
                  </a:tcPr>
                </a:tc>
                <a:tc>
                  <a:txBody>
                    <a:bodyPr/>
                    <a:lstStyle/>
                    <a:p>
                      <a:pPr>
                        <a:lnSpc>
                          <a:spcPct val="100000"/>
                        </a:lnSpc>
                      </a:pPr>
                      <a:endParaRPr sz="1300">
                        <a:latin typeface="Times New Roman"/>
                        <a:cs typeface="Times New Roman"/>
                      </a:endParaRPr>
                    </a:p>
                  </a:txBody>
                  <a:tcPr marL="0" marR="0" marT="0" marB="0">
                    <a:lnT w="12700">
                      <a:solidFill>
                        <a:srgbClr val="000000"/>
                      </a:solidFill>
                      <a:prstDash val="solid"/>
                    </a:lnT>
                    <a:lnB w="12700">
                      <a:solidFill>
                        <a:srgbClr val="000000"/>
                      </a:solidFill>
                      <a:prstDash val="solid"/>
                    </a:lnB>
                  </a:tcPr>
                </a:tc>
                <a:tc>
                  <a:txBody>
                    <a:bodyPr/>
                    <a:lstStyle/>
                    <a:p>
                      <a:pPr>
                        <a:lnSpc>
                          <a:spcPct val="100000"/>
                        </a:lnSpc>
                      </a:pPr>
                      <a:endParaRPr sz="1300">
                        <a:latin typeface="Times New Roman"/>
                        <a:cs typeface="Times New Roman"/>
                      </a:endParaRPr>
                    </a:p>
                  </a:txBody>
                  <a:tcPr marL="0" marR="0" marT="0" marB="0">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nSpc>
                          <a:spcPct val="100000"/>
                        </a:lnSpc>
                      </a:pPr>
                      <a:endParaRPr sz="1300">
                        <a:latin typeface="Times New Roman"/>
                        <a:cs typeface="Times New Roman"/>
                      </a:endParaRPr>
                    </a:p>
                  </a:txBody>
                  <a:tcPr marL="0" marR="0" marT="0" marB="0">
                    <a:lnL w="12700">
                      <a:solidFill>
                        <a:srgbClr val="000000"/>
                      </a:solidFill>
                      <a:prstDash val="solid"/>
                    </a:lnL>
                    <a:lnT w="12700">
                      <a:solidFill>
                        <a:srgbClr val="000000"/>
                      </a:solidFill>
                      <a:prstDash val="solid"/>
                    </a:lnT>
                    <a:lnB w="12700">
                      <a:solidFill>
                        <a:srgbClr val="000000"/>
                      </a:solidFill>
                      <a:prstDash val="solid"/>
                    </a:lnB>
                  </a:tcPr>
                </a:tc>
                <a:tc>
                  <a:txBody>
                    <a:bodyPr/>
                    <a:lstStyle/>
                    <a:p>
                      <a:pPr>
                        <a:lnSpc>
                          <a:spcPct val="100000"/>
                        </a:lnSpc>
                      </a:pPr>
                      <a:endParaRPr sz="1300">
                        <a:latin typeface="Times New Roman"/>
                        <a:cs typeface="Times New Roman"/>
                      </a:endParaRPr>
                    </a:p>
                  </a:txBody>
                  <a:tcPr marL="0" marR="0" marT="0" marB="0">
                    <a:lnT w="12700">
                      <a:solidFill>
                        <a:srgbClr val="000000"/>
                      </a:solidFill>
                      <a:prstDash val="solid"/>
                    </a:lnT>
                    <a:lnB w="12700">
                      <a:solidFill>
                        <a:srgbClr val="000000"/>
                      </a:solidFill>
                      <a:prstDash val="solid"/>
                    </a:lnB>
                  </a:tcPr>
                </a:tc>
                <a:tc>
                  <a:txBody>
                    <a:bodyPr/>
                    <a:lstStyle/>
                    <a:p>
                      <a:pPr>
                        <a:lnSpc>
                          <a:spcPct val="100000"/>
                        </a:lnSpc>
                      </a:pPr>
                      <a:endParaRPr sz="1300">
                        <a:latin typeface="Times New Roman"/>
                        <a:cs typeface="Times New Roman"/>
                      </a:endParaRPr>
                    </a:p>
                  </a:txBody>
                  <a:tcPr marL="0" marR="0" marT="0" marB="0">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2"/>
                  </a:ext>
                </a:extLst>
              </a:tr>
              <a:tr h="906144">
                <a:tc>
                  <a:txBody>
                    <a:bodyPr/>
                    <a:lstStyle/>
                    <a:p>
                      <a:pPr>
                        <a:lnSpc>
                          <a:spcPct val="100000"/>
                        </a:lnSpc>
                        <a:spcBef>
                          <a:spcPts val="15"/>
                        </a:spcBef>
                      </a:pPr>
                      <a:endParaRPr sz="1200">
                        <a:latin typeface="Times New Roman"/>
                        <a:cs typeface="Times New Roman"/>
                      </a:endParaRPr>
                    </a:p>
                    <a:p>
                      <a:pPr marL="162560">
                        <a:lnSpc>
                          <a:spcPct val="100000"/>
                        </a:lnSpc>
                        <a:spcBef>
                          <a:spcPts val="5"/>
                        </a:spcBef>
                      </a:pPr>
                      <a:r>
                        <a:rPr sz="950" b="1" dirty="0">
                          <a:latin typeface="Arial"/>
                          <a:cs typeface="Arial"/>
                        </a:rPr>
                        <a:t>Log2</a:t>
                      </a:r>
                      <a:r>
                        <a:rPr sz="950" b="1" spc="-45" dirty="0">
                          <a:latin typeface="Arial"/>
                          <a:cs typeface="Arial"/>
                        </a:rPr>
                        <a:t> </a:t>
                      </a:r>
                      <a:r>
                        <a:rPr sz="950" b="1" spc="-10" dirty="0">
                          <a:latin typeface="Arial"/>
                          <a:cs typeface="Arial"/>
                        </a:rPr>
                        <a:t>ratio</a:t>
                      </a:r>
                      <a:endParaRPr sz="950">
                        <a:latin typeface="Arial"/>
                        <a:cs typeface="Arial"/>
                      </a:endParaRPr>
                    </a:p>
                  </a:txBody>
                  <a:tcPr marL="0" marR="0" marT="1905" marB="0" vert="vert270">
                    <a:lnL w="635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nSpc>
                          <a:spcPct val="100000"/>
                        </a:lnSpc>
                      </a:pPr>
                      <a:endParaRPr sz="1300">
                        <a:latin typeface="Times New Roman"/>
                        <a:cs typeface="Times New Roman"/>
                      </a:endParaRPr>
                    </a:p>
                  </a:txBody>
                  <a:tcPr marL="0" marR="0" marT="0" marB="0">
                    <a:lnL w="12700">
                      <a:solidFill>
                        <a:srgbClr val="000000"/>
                      </a:solidFill>
                      <a:prstDash val="solid"/>
                    </a:lnL>
                    <a:lnT w="12700">
                      <a:solidFill>
                        <a:srgbClr val="000000"/>
                      </a:solidFill>
                      <a:prstDash val="solid"/>
                    </a:lnT>
                    <a:lnB w="12700">
                      <a:solidFill>
                        <a:srgbClr val="000000"/>
                      </a:solidFill>
                      <a:prstDash val="solid"/>
                    </a:lnB>
                  </a:tcPr>
                </a:tc>
                <a:tc>
                  <a:txBody>
                    <a:bodyPr/>
                    <a:lstStyle/>
                    <a:p>
                      <a:pPr marL="95885">
                        <a:lnSpc>
                          <a:spcPct val="100000"/>
                        </a:lnSpc>
                        <a:spcBef>
                          <a:spcPts val="409"/>
                        </a:spcBef>
                      </a:pPr>
                      <a:r>
                        <a:rPr sz="800" dirty="0">
                          <a:latin typeface="Calibri"/>
                          <a:cs typeface="Calibri"/>
                        </a:rPr>
                        <a:t>2</a:t>
                      </a:r>
                      <a:endParaRPr sz="800">
                        <a:latin typeface="Calibri"/>
                        <a:cs typeface="Calibri"/>
                      </a:endParaRPr>
                    </a:p>
                    <a:p>
                      <a:pPr marL="95885">
                        <a:lnSpc>
                          <a:spcPct val="100000"/>
                        </a:lnSpc>
                        <a:spcBef>
                          <a:spcPts val="335"/>
                        </a:spcBef>
                      </a:pPr>
                      <a:r>
                        <a:rPr sz="800" dirty="0">
                          <a:latin typeface="Calibri"/>
                          <a:cs typeface="Calibri"/>
                        </a:rPr>
                        <a:t>1</a:t>
                      </a:r>
                      <a:endParaRPr sz="800">
                        <a:latin typeface="Calibri"/>
                        <a:cs typeface="Calibri"/>
                      </a:endParaRPr>
                    </a:p>
                    <a:p>
                      <a:pPr marL="95885">
                        <a:lnSpc>
                          <a:spcPct val="100000"/>
                        </a:lnSpc>
                        <a:spcBef>
                          <a:spcPts val="335"/>
                        </a:spcBef>
                      </a:pPr>
                      <a:r>
                        <a:rPr sz="800" dirty="0">
                          <a:latin typeface="Calibri"/>
                          <a:cs typeface="Calibri"/>
                        </a:rPr>
                        <a:t>0</a:t>
                      </a:r>
                      <a:endParaRPr sz="800">
                        <a:latin typeface="Calibri"/>
                        <a:cs typeface="Calibri"/>
                      </a:endParaRPr>
                    </a:p>
                    <a:p>
                      <a:pPr marL="65405">
                        <a:lnSpc>
                          <a:spcPct val="100000"/>
                        </a:lnSpc>
                        <a:spcBef>
                          <a:spcPts val="340"/>
                        </a:spcBef>
                      </a:pPr>
                      <a:r>
                        <a:rPr sz="800" spc="-10" dirty="0">
                          <a:latin typeface="Calibri"/>
                          <a:cs typeface="Calibri"/>
                        </a:rPr>
                        <a:t>-</a:t>
                      </a:r>
                      <a:r>
                        <a:rPr sz="800" spc="-50" dirty="0">
                          <a:latin typeface="Calibri"/>
                          <a:cs typeface="Calibri"/>
                        </a:rPr>
                        <a:t>1</a:t>
                      </a:r>
                      <a:endParaRPr sz="800">
                        <a:latin typeface="Calibri"/>
                        <a:cs typeface="Calibri"/>
                      </a:endParaRPr>
                    </a:p>
                    <a:p>
                      <a:pPr marL="65405">
                        <a:lnSpc>
                          <a:spcPct val="100000"/>
                        </a:lnSpc>
                        <a:spcBef>
                          <a:spcPts val="335"/>
                        </a:spcBef>
                      </a:pPr>
                      <a:r>
                        <a:rPr sz="800" spc="-10" dirty="0">
                          <a:latin typeface="Calibri"/>
                          <a:cs typeface="Calibri"/>
                        </a:rPr>
                        <a:t>-</a:t>
                      </a:r>
                      <a:r>
                        <a:rPr sz="800" spc="-50" dirty="0">
                          <a:latin typeface="Calibri"/>
                          <a:cs typeface="Calibri"/>
                        </a:rPr>
                        <a:t>2</a:t>
                      </a:r>
                      <a:endParaRPr sz="800">
                        <a:latin typeface="Calibri"/>
                        <a:cs typeface="Calibri"/>
                      </a:endParaRPr>
                    </a:p>
                  </a:txBody>
                  <a:tcPr marL="0" marR="0" marT="52069" marB="0">
                    <a:lnT w="12700">
                      <a:solidFill>
                        <a:srgbClr val="000000"/>
                      </a:solidFill>
                      <a:prstDash val="solid"/>
                    </a:lnT>
                    <a:lnB w="12700">
                      <a:solidFill>
                        <a:srgbClr val="000000"/>
                      </a:solidFill>
                      <a:prstDash val="solid"/>
                    </a:lnB>
                  </a:tcPr>
                </a:tc>
                <a:tc>
                  <a:txBody>
                    <a:bodyPr/>
                    <a:lstStyle/>
                    <a:p>
                      <a:pPr>
                        <a:lnSpc>
                          <a:spcPct val="100000"/>
                        </a:lnSpc>
                      </a:pPr>
                      <a:endParaRPr sz="1300">
                        <a:latin typeface="Times New Roman"/>
                        <a:cs typeface="Times New Roman"/>
                      </a:endParaRPr>
                    </a:p>
                  </a:txBody>
                  <a:tcPr marL="0" marR="0" marT="0" marB="0">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nSpc>
                          <a:spcPct val="100000"/>
                        </a:lnSpc>
                      </a:pPr>
                      <a:endParaRPr sz="1300">
                        <a:latin typeface="Times New Roman"/>
                        <a:cs typeface="Times New Roman"/>
                      </a:endParaRPr>
                    </a:p>
                  </a:txBody>
                  <a:tcPr marL="0" marR="0" marT="0" marB="0">
                    <a:lnL w="12700">
                      <a:solidFill>
                        <a:srgbClr val="000000"/>
                      </a:solidFill>
                      <a:prstDash val="solid"/>
                    </a:lnL>
                    <a:lnT w="12700">
                      <a:solidFill>
                        <a:srgbClr val="000000"/>
                      </a:solidFill>
                      <a:prstDash val="solid"/>
                    </a:lnT>
                    <a:lnB w="12700">
                      <a:solidFill>
                        <a:srgbClr val="000000"/>
                      </a:solidFill>
                      <a:prstDash val="solid"/>
                    </a:lnB>
                  </a:tcPr>
                </a:tc>
                <a:tc>
                  <a:txBody>
                    <a:bodyPr/>
                    <a:lstStyle/>
                    <a:p>
                      <a:pPr marL="97155">
                        <a:lnSpc>
                          <a:spcPct val="100000"/>
                        </a:lnSpc>
                        <a:spcBef>
                          <a:spcPts val="409"/>
                        </a:spcBef>
                      </a:pPr>
                      <a:r>
                        <a:rPr sz="800" dirty="0">
                          <a:latin typeface="Calibri"/>
                          <a:cs typeface="Calibri"/>
                        </a:rPr>
                        <a:t>2</a:t>
                      </a:r>
                      <a:endParaRPr sz="800">
                        <a:latin typeface="Calibri"/>
                        <a:cs typeface="Calibri"/>
                      </a:endParaRPr>
                    </a:p>
                    <a:p>
                      <a:pPr marL="97155">
                        <a:lnSpc>
                          <a:spcPct val="100000"/>
                        </a:lnSpc>
                        <a:spcBef>
                          <a:spcPts val="335"/>
                        </a:spcBef>
                      </a:pPr>
                      <a:r>
                        <a:rPr sz="800" dirty="0">
                          <a:latin typeface="Calibri"/>
                          <a:cs typeface="Calibri"/>
                        </a:rPr>
                        <a:t>1</a:t>
                      </a:r>
                      <a:endParaRPr sz="800">
                        <a:latin typeface="Calibri"/>
                        <a:cs typeface="Calibri"/>
                      </a:endParaRPr>
                    </a:p>
                    <a:p>
                      <a:pPr marL="97155">
                        <a:lnSpc>
                          <a:spcPct val="100000"/>
                        </a:lnSpc>
                        <a:spcBef>
                          <a:spcPts val="335"/>
                        </a:spcBef>
                      </a:pPr>
                      <a:r>
                        <a:rPr sz="800" dirty="0">
                          <a:latin typeface="Calibri"/>
                          <a:cs typeface="Calibri"/>
                        </a:rPr>
                        <a:t>0</a:t>
                      </a:r>
                      <a:endParaRPr sz="800">
                        <a:latin typeface="Calibri"/>
                        <a:cs typeface="Calibri"/>
                      </a:endParaRPr>
                    </a:p>
                    <a:p>
                      <a:pPr marL="66675">
                        <a:lnSpc>
                          <a:spcPct val="100000"/>
                        </a:lnSpc>
                        <a:spcBef>
                          <a:spcPts val="340"/>
                        </a:spcBef>
                      </a:pPr>
                      <a:r>
                        <a:rPr sz="800" spc="-10" dirty="0">
                          <a:latin typeface="Calibri"/>
                          <a:cs typeface="Calibri"/>
                        </a:rPr>
                        <a:t>-</a:t>
                      </a:r>
                      <a:r>
                        <a:rPr sz="800" spc="-50" dirty="0">
                          <a:latin typeface="Calibri"/>
                          <a:cs typeface="Calibri"/>
                        </a:rPr>
                        <a:t>1</a:t>
                      </a:r>
                      <a:endParaRPr sz="800">
                        <a:latin typeface="Calibri"/>
                        <a:cs typeface="Calibri"/>
                      </a:endParaRPr>
                    </a:p>
                    <a:p>
                      <a:pPr marL="66675">
                        <a:lnSpc>
                          <a:spcPct val="100000"/>
                        </a:lnSpc>
                        <a:spcBef>
                          <a:spcPts val="335"/>
                        </a:spcBef>
                      </a:pPr>
                      <a:r>
                        <a:rPr sz="800" spc="-10" dirty="0">
                          <a:latin typeface="Calibri"/>
                          <a:cs typeface="Calibri"/>
                        </a:rPr>
                        <a:t>-</a:t>
                      </a:r>
                      <a:r>
                        <a:rPr sz="800" spc="-50" dirty="0">
                          <a:latin typeface="Calibri"/>
                          <a:cs typeface="Calibri"/>
                        </a:rPr>
                        <a:t>2</a:t>
                      </a:r>
                      <a:endParaRPr sz="800">
                        <a:latin typeface="Calibri"/>
                        <a:cs typeface="Calibri"/>
                      </a:endParaRPr>
                    </a:p>
                  </a:txBody>
                  <a:tcPr marL="0" marR="0" marT="52069" marB="0">
                    <a:lnT w="12700">
                      <a:solidFill>
                        <a:srgbClr val="000000"/>
                      </a:solidFill>
                      <a:prstDash val="solid"/>
                    </a:lnT>
                    <a:lnB w="12700">
                      <a:solidFill>
                        <a:srgbClr val="000000"/>
                      </a:solidFill>
                      <a:prstDash val="solid"/>
                    </a:lnB>
                  </a:tcPr>
                </a:tc>
                <a:tc>
                  <a:txBody>
                    <a:bodyPr/>
                    <a:lstStyle/>
                    <a:p>
                      <a:pPr>
                        <a:lnSpc>
                          <a:spcPct val="100000"/>
                        </a:lnSpc>
                      </a:pPr>
                      <a:endParaRPr sz="1300">
                        <a:latin typeface="Times New Roman"/>
                        <a:cs typeface="Times New Roman"/>
                      </a:endParaRPr>
                    </a:p>
                  </a:txBody>
                  <a:tcPr marL="0" marR="0" marT="0" marB="0">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nSpc>
                          <a:spcPct val="100000"/>
                        </a:lnSpc>
                      </a:pPr>
                      <a:endParaRPr sz="1300">
                        <a:latin typeface="Times New Roman"/>
                        <a:cs typeface="Times New Roman"/>
                      </a:endParaRPr>
                    </a:p>
                  </a:txBody>
                  <a:tcPr marL="0" marR="0" marT="0" marB="0">
                    <a:lnL w="12700">
                      <a:solidFill>
                        <a:srgbClr val="000000"/>
                      </a:solidFill>
                      <a:prstDash val="solid"/>
                    </a:lnL>
                    <a:lnT w="12700">
                      <a:solidFill>
                        <a:srgbClr val="000000"/>
                      </a:solidFill>
                      <a:prstDash val="solid"/>
                    </a:lnT>
                    <a:lnB w="12700">
                      <a:solidFill>
                        <a:srgbClr val="000000"/>
                      </a:solidFill>
                      <a:prstDash val="solid"/>
                    </a:lnB>
                  </a:tcPr>
                </a:tc>
                <a:tc>
                  <a:txBody>
                    <a:bodyPr/>
                    <a:lstStyle/>
                    <a:p>
                      <a:pPr marL="98425">
                        <a:lnSpc>
                          <a:spcPct val="100000"/>
                        </a:lnSpc>
                        <a:spcBef>
                          <a:spcPts val="409"/>
                        </a:spcBef>
                      </a:pPr>
                      <a:r>
                        <a:rPr sz="800" dirty="0">
                          <a:latin typeface="Calibri"/>
                          <a:cs typeface="Calibri"/>
                        </a:rPr>
                        <a:t>2</a:t>
                      </a:r>
                      <a:endParaRPr sz="800">
                        <a:latin typeface="Calibri"/>
                        <a:cs typeface="Calibri"/>
                      </a:endParaRPr>
                    </a:p>
                    <a:p>
                      <a:pPr marL="98425">
                        <a:lnSpc>
                          <a:spcPct val="100000"/>
                        </a:lnSpc>
                        <a:spcBef>
                          <a:spcPts val="335"/>
                        </a:spcBef>
                      </a:pPr>
                      <a:r>
                        <a:rPr sz="800" dirty="0">
                          <a:latin typeface="Calibri"/>
                          <a:cs typeface="Calibri"/>
                        </a:rPr>
                        <a:t>1</a:t>
                      </a:r>
                      <a:endParaRPr sz="800">
                        <a:latin typeface="Calibri"/>
                        <a:cs typeface="Calibri"/>
                      </a:endParaRPr>
                    </a:p>
                    <a:p>
                      <a:pPr marL="98425">
                        <a:lnSpc>
                          <a:spcPct val="100000"/>
                        </a:lnSpc>
                        <a:spcBef>
                          <a:spcPts val="335"/>
                        </a:spcBef>
                      </a:pPr>
                      <a:r>
                        <a:rPr sz="800" dirty="0">
                          <a:latin typeface="Calibri"/>
                          <a:cs typeface="Calibri"/>
                        </a:rPr>
                        <a:t>0</a:t>
                      </a:r>
                      <a:endParaRPr sz="800">
                        <a:latin typeface="Calibri"/>
                        <a:cs typeface="Calibri"/>
                      </a:endParaRPr>
                    </a:p>
                    <a:p>
                      <a:pPr marL="67945">
                        <a:lnSpc>
                          <a:spcPct val="100000"/>
                        </a:lnSpc>
                        <a:spcBef>
                          <a:spcPts val="340"/>
                        </a:spcBef>
                      </a:pPr>
                      <a:r>
                        <a:rPr sz="800" spc="-10" dirty="0">
                          <a:latin typeface="Calibri"/>
                          <a:cs typeface="Calibri"/>
                        </a:rPr>
                        <a:t>-</a:t>
                      </a:r>
                      <a:r>
                        <a:rPr sz="800" spc="-50" dirty="0">
                          <a:latin typeface="Calibri"/>
                          <a:cs typeface="Calibri"/>
                        </a:rPr>
                        <a:t>1</a:t>
                      </a:r>
                      <a:endParaRPr sz="800">
                        <a:latin typeface="Calibri"/>
                        <a:cs typeface="Calibri"/>
                      </a:endParaRPr>
                    </a:p>
                    <a:p>
                      <a:pPr marL="67945">
                        <a:lnSpc>
                          <a:spcPct val="100000"/>
                        </a:lnSpc>
                        <a:spcBef>
                          <a:spcPts val="335"/>
                        </a:spcBef>
                      </a:pPr>
                      <a:r>
                        <a:rPr sz="800" spc="-10" dirty="0">
                          <a:latin typeface="Calibri"/>
                          <a:cs typeface="Calibri"/>
                        </a:rPr>
                        <a:t>-</a:t>
                      </a:r>
                      <a:r>
                        <a:rPr sz="800" spc="-50" dirty="0">
                          <a:latin typeface="Calibri"/>
                          <a:cs typeface="Calibri"/>
                        </a:rPr>
                        <a:t>2</a:t>
                      </a:r>
                      <a:endParaRPr sz="800">
                        <a:latin typeface="Calibri"/>
                        <a:cs typeface="Calibri"/>
                      </a:endParaRPr>
                    </a:p>
                  </a:txBody>
                  <a:tcPr marL="0" marR="0" marT="52069" marB="0">
                    <a:lnT w="12700">
                      <a:solidFill>
                        <a:srgbClr val="000000"/>
                      </a:solidFill>
                      <a:prstDash val="solid"/>
                    </a:lnT>
                    <a:lnB w="12700">
                      <a:solidFill>
                        <a:srgbClr val="000000"/>
                      </a:solidFill>
                      <a:prstDash val="solid"/>
                    </a:lnB>
                  </a:tcPr>
                </a:tc>
                <a:tc>
                  <a:txBody>
                    <a:bodyPr/>
                    <a:lstStyle/>
                    <a:p>
                      <a:pPr>
                        <a:lnSpc>
                          <a:spcPct val="100000"/>
                        </a:lnSpc>
                      </a:pPr>
                      <a:endParaRPr sz="1300">
                        <a:latin typeface="Times New Roman"/>
                        <a:cs typeface="Times New Roman"/>
                      </a:endParaRPr>
                    </a:p>
                  </a:txBody>
                  <a:tcPr marL="0" marR="0" marT="0" marB="0">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nSpc>
                          <a:spcPct val="100000"/>
                        </a:lnSpc>
                      </a:pPr>
                      <a:endParaRPr sz="1300">
                        <a:latin typeface="Times New Roman"/>
                        <a:cs typeface="Times New Roman"/>
                      </a:endParaRPr>
                    </a:p>
                  </a:txBody>
                  <a:tcPr marL="0" marR="0" marT="0" marB="0">
                    <a:lnL w="12700">
                      <a:solidFill>
                        <a:srgbClr val="000000"/>
                      </a:solidFill>
                      <a:prstDash val="solid"/>
                    </a:lnL>
                    <a:lnT w="12700">
                      <a:solidFill>
                        <a:srgbClr val="000000"/>
                      </a:solidFill>
                      <a:prstDash val="solid"/>
                    </a:lnT>
                    <a:lnB w="12700">
                      <a:solidFill>
                        <a:srgbClr val="000000"/>
                      </a:solidFill>
                      <a:prstDash val="solid"/>
                    </a:lnB>
                  </a:tcPr>
                </a:tc>
                <a:tc>
                  <a:txBody>
                    <a:bodyPr/>
                    <a:lstStyle/>
                    <a:p>
                      <a:pPr marL="99695">
                        <a:lnSpc>
                          <a:spcPct val="100000"/>
                        </a:lnSpc>
                        <a:spcBef>
                          <a:spcPts val="409"/>
                        </a:spcBef>
                      </a:pPr>
                      <a:r>
                        <a:rPr sz="800" dirty="0">
                          <a:latin typeface="Calibri"/>
                          <a:cs typeface="Calibri"/>
                        </a:rPr>
                        <a:t>2</a:t>
                      </a:r>
                      <a:endParaRPr sz="800">
                        <a:latin typeface="Calibri"/>
                        <a:cs typeface="Calibri"/>
                      </a:endParaRPr>
                    </a:p>
                    <a:p>
                      <a:pPr marL="99695">
                        <a:lnSpc>
                          <a:spcPct val="100000"/>
                        </a:lnSpc>
                        <a:spcBef>
                          <a:spcPts val="335"/>
                        </a:spcBef>
                      </a:pPr>
                      <a:r>
                        <a:rPr sz="800" dirty="0">
                          <a:latin typeface="Calibri"/>
                          <a:cs typeface="Calibri"/>
                        </a:rPr>
                        <a:t>1</a:t>
                      </a:r>
                      <a:endParaRPr sz="800">
                        <a:latin typeface="Calibri"/>
                        <a:cs typeface="Calibri"/>
                      </a:endParaRPr>
                    </a:p>
                    <a:p>
                      <a:pPr marL="99695">
                        <a:lnSpc>
                          <a:spcPct val="100000"/>
                        </a:lnSpc>
                        <a:spcBef>
                          <a:spcPts val="335"/>
                        </a:spcBef>
                      </a:pPr>
                      <a:r>
                        <a:rPr sz="800" dirty="0">
                          <a:latin typeface="Calibri"/>
                          <a:cs typeface="Calibri"/>
                        </a:rPr>
                        <a:t>0</a:t>
                      </a:r>
                      <a:endParaRPr sz="800">
                        <a:latin typeface="Calibri"/>
                        <a:cs typeface="Calibri"/>
                      </a:endParaRPr>
                    </a:p>
                    <a:p>
                      <a:pPr marL="69215">
                        <a:lnSpc>
                          <a:spcPct val="100000"/>
                        </a:lnSpc>
                        <a:spcBef>
                          <a:spcPts val="340"/>
                        </a:spcBef>
                      </a:pPr>
                      <a:r>
                        <a:rPr sz="800" spc="-10" dirty="0">
                          <a:latin typeface="Calibri"/>
                          <a:cs typeface="Calibri"/>
                        </a:rPr>
                        <a:t>-</a:t>
                      </a:r>
                      <a:r>
                        <a:rPr sz="800" spc="-50" dirty="0">
                          <a:latin typeface="Calibri"/>
                          <a:cs typeface="Calibri"/>
                        </a:rPr>
                        <a:t>1</a:t>
                      </a:r>
                      <a:endParaRPr sz="800">
                        <a:latin typeface="Calibri"/>
                        <a:cs typeface="Calibri"/>
                      </a:endParaRPr>
                    </a:p>
                    <a:p>
                      <a:pPr marL="69215">
                        <a:lnSpc>
                          <a:spcPct val="100000"/>
                        </a:lnSpc>
                        <a:spcBef>
                          <a:spcPts val="335"/>
                        </a:spcBef>
                      </a:pPr>
                      <a:r>
                        <a:rPr sz="800" spc="-10" dirty="0">
                          <a:latin typeface="Calibri"/>
                          <a:cs typeface="Calibri"/>
                        </a:rPr>
                        <a:t>-</a:t>
                      </a:r>
                      <a:r>
                        <a:rPr sz="800" spc="-50" dirty="0">
                          <a:latin typeface="Calibri"/>
                          <a:cs typeface="Calibri"/>
                        </a:rPr>
                        <a:t>2</a:t>
                      </a:r>
                      <a:endParaRPr sz="800">
                        <a:latin typeface="Calibri"/>
                        <a:cs typeface="Calibri"/>
                      </a:endParaRPr>
                    </a:p>
                  </a:txBody>
                  <a:tcPr marL="0" marR="0" marT="52069" marB="0">
                    <a:lnT w="12700">
                      <a:solidFill>
                        <a:srgbClr val="000000"/>
                      </a:solidFill>
                      <a:prstDash val="solid"/>
                    </a:lnT>
                    <a:lnB w="12700">
                      <a:solidFill>
                        <a:srgbClr val="000000"/>
                      </a:solidFill>
                      <a:prstDash val="solid"/>
                    </a:lnB>
                  </a:tcPr>
                </a:tc>
                <a:tc>
                  <a:txBody>
                    <a:bodyPr/>
                    <a:lstStyle/>
                    <a:p>
                      <a:pPr>
                        <a:lnSpc>
                          <a:spcPct val="100000"/>
                        </a:lnSpc>
                      </a:pPr>
                      <a:endParaRPr sz="1300">
                        <a:latin typeface="Times New Roman"/>
                        <a:cs typeface="Times New Roman"/>
                      </a:endParaRPr>
                    </a:p>
                  </a:txBody>
                  <a:tcPr marL="0" marR="0" marT="0" marB="0">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nSpc>
                          <a:spcPct val="100000"/>
                        </a:lnSpc>
                      </a:pPr>
                      <a:endParaRPr sz="1300">
                        <a:latin typeface="Times New Roman"/>
                        <a:cs typeface="Times New Roman"/>
                      </a:endParaRPr>
                    </a:p>
                  </a:txBody>
                  <a:tcPr marL="0" marR="0" marT="0" marB="0">
                    <a:lnL w="12700">
                      <a:solidFill>
                        <a:srgbClr val="000000"/>
                      </a:solidFill>
                      <a:prstDash val="solid"/>
                    </a:lnL>
                    <a:lnT w="12700">
                      <a:solidFill>
                        <a:srgbClr val="000000"/>
                      </a:solidFill>
                      <a:prstDash val="solid"/>
                    </a:lnT>
                    <a:lnB w="12700">
                      <a:solidFill>
                        <a:srgbClr val="000000"/>
                      </a:solidFill>
                      <a:prstDash val="solid"/>
                    </a:lnB>
                  </a:tcPr>
                </a:tc>
                <a:tc>
                  <a:txBody>
                    <a:bodyPr/>
                    <a:lstStyle/>
                    <a:p>
                      <a:pPr marL="100965">
                        <a:lnSpc>
                          <a:spcPct val="100000"/>
                        </a:lnSpc>
                        <a:spcBef>
                          <a:spcPts val="409"/>
                        </a:spcBef>
                      </a:pPr>
                      <a:r>
                        <a:rPr sz="800" dirty="0">
                          <a:latin typeface="Calibri"/>
                          <a:cs typeface="Calibri"/>
                        </a:rPr>
                        <a:t>2</a:t>
                      </a:r>
                      <a:endParaRPr sz="800">
                        <a:latin typeface="Calibri"/>
                        <a:cs typeface="Calibri"/>
                      </a:endParaRPr>
                    </a:p>
                    <a:p>
                      <a:pPr marL="100965">
                        <a:lnSpc>
                          <a:spcPct val="100000"/>
                        </a:lnSpc>
                        <a:spcBef>
                          <a:spcPts val="335"/>
                        </a:spcBef>
                      </a:pPr>
                      <a:r>
                        <a:rPr sz="800" dirty="0">
                          <a:latin typeface="Calibri"/>
                          <a:cs typeface="Calibri"/>
                        </a:rPr>
                        <a:t>1</a:t>
                      </a:r>
                      <a:endParaRPr sz="800">
                        <a:latin typeface="Calibri"/>
                        <a:cs typeface="Calibri"/>
                      </a:endParaRPr>
                    </a:p>
                    <a:p>
                      <a:pPr marL="100965">
                        <a:lnSpc>
                          <a:spcPct val="100000"/>
                        </a:lnSpc>
                        <a:spcBef>
                          <a:spcPts val="335"/>
                        </a:spcBef>
                      </a:pPr>
                      <a:r>
                        <a:rPr sz="800" dirty="0">
                          <a:latin typeface="Calibri"/>
                          <a:cs typeface="Calibri"/>
                        </a:rPr>
                        <a:t>0</a:t>
                      </a:r>
                      <a:endParaRPr sz="800">
                        <a:latin typeface="Calibri"/>
                        <a:cs typeface="Calibri"/>
                      </a:endParaRPr>
                    </a:p>
                    <a:p>
                      <a:pPr marL="69850">
                        <a:lnSpc>
                          <a:spcPct val="100000"/>
                        </a:lnSpc>
                        <a:spcBef>
                          <a:spcPts val="340"/>
                        </a:spcBef>
                      </a:pPr>
                      <a:r>
                        <a:rPr sz="800" spc="-10" dirty="0">
                          <a:latin typeface="Calibri"/>
                          <a:cs typeface="Calibri"/>
                        </a:rPr>
                        <a:t>-</a:t>
                      </a:r>
                      <a:r>
                        <a:rPr sz="800" spc="-50" dirty="0">
                          <a:latin typeface="Calibri"/>
                          <a:cs typeface="Calibri"/>
                        </a:rPr>
                        <a:t>1</a:t>
                      </a:r>
                      <a:endParaRPr sz="800">
                        <a:latin typeface="Calibri"/>
                        <a:cs typeface="Calibri"/>
                      </a:endParaRPr>
                    </a:p>
                    <a:p>
                      <a:pPr marL="69850">
                        <a:lnSpc>
                          <a:spcPct val="100000"/>
                        </a:lnSpc>
                        <a:spcBef>
                          <a:spcPts val="335"/>
                        </a:spcBef>
                      </a:pPr>
                      <a:r>
                        <a:rPr sz="800" spc="-10" dirty="0">
                          <a:latin typeface="Calibri"/>
                          <a:cs typeface="Calibri"/>
                        </a:rPr>
                        <a:t>-</a:t>
                      </a:r>
                      <a:r>
                        <a:rPr sz="800" spc="-50" dirty="0">
                          <a:latin typeface="Calibri"/>
                          <a:cs typeface="Calibri"/>
                        </a:rPr>
                        <a:t>2</a:t>
                      </a:r>
                      <a:endParaRPr sz="800">
                        <a:latin typeface="Calibri"/>
                        <a:cs typeface="Calibri"/>
                      </a:endParaRPr>
                    </a:p>
                  </a:txBody>
                  <a:tcPr marL="0" marR="0" marT="52069" marB="0">
                    <a:lnT w="12700">
                      <a:solidFill>
                        <a:srgbClr val="000000"/>
                      </a:solidFill>
                      <a:prstDash val="solid"/>
                    </a:lnT>
                    <a:lnB w="12700">
                      <a:solidFill>
                        <a:srgbClr val="000000"/>
                      </a:solidFill>
                      <a:prstDash val="solid"/>
                    </a:lnB>
                  </a:tcPr>
                </a:tc>
                <a:tc>
                  <a:txBody>
                    <a:bodyPr/>
                    <a:lstStyle/>
                    <a:p>
                      <a:pPr>
                        <a:lnSpc>
                          <a:spcPct val="100000"/>
                        </a:lnSpc>
                      </a:pPr>
                      <a:endParaRPr sz="1300">
                        <a:latin typeface="Times New Roman"/>
                        <a:cs typeface="Times New Roman"/>
                      </a:endParaRPr>
                    </a:p>
                  </a:txBody>
                  <a:tcPr marL="0" marR="0" marT="0" marB="0">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3"/>
                  </a:ext>
                </a:extLst>
              </a:tr>
              <a:tr h="906780">
                <a:tc>
                  <a:txBody>
                    <a:bodyPr/>
                    <a:lstStyle/>
                    <a:p>
                      <a:pPr marL="36195" algn="ctr">
                        <a:lnSpc>
                          <a:spcPct val="100000"/>
                        </a:lnSpc>
                        <a:spcBef>
                          <a:spcPts val="114"/>
                        </a:spcBef>
                      </a:pPr>
                      <a:r>
                        <a:rPr sz="950" b="1" spc="-10" dirty="0">
                          <a:latin typeface="Arial"/>
                          <a:cs typeface="Arial"/>
                        </a:rPr>
                        <a:t>Allele</a:t>
                      </a:r>
                      <a:endParaRPr sz="950">
                        <a:latin typeface="Arial"/>
                        <a:cs typeface="Arial"/>
                      </a:endParaRPr>
                    </a:p>
                    <a:p>
                      <a:pPr>
                        <a:lnSpc>
                          <a:spcPct val="100000"/>
                        </a:lnSpc>
                        <a:spcBef>
                          <a:spcPts val="5"/>
                        </a:spcBef>
                      </a:pPr>
                      <a:endParaRPr sz="1150">
                        <a:latin typeface="Times New Roman"/>
                        <a:cs typeface="Times New Roman"/>
                      </a:endParaRPr>
                    </a:p>
                    <a:p>
                      <a:pPr marL="9525" algn="ctr">
                        <a:lnSpc>
                          <a:spcPct val="100000"/>
                        </a:lnSpc>
                      </a:pPr>
                      <a:r>
                        <a:rPr sz="950" b="1" dirty="0">
                          <a:latin typeface="Arial"/>
                          <a:cs typeface="Arial"/>
                        </a:rPr>
                        <a:t>(</a:t>
                      </a:r>
                      <a:r>
                        <a:rPr sz="950" b="1" dirty="0">
                          <a:solidFill>
                            <a:srgbClr val="4F81BC"/>
                          </a:solidFill>
                          <a:latin typeface="Arial"/>
                          <a:cs typeface="Arial"/>
                        </a:rPr>
                        <a:t>A-</a:t>
                      </a:r>
                      <a:r>
                        <a:rPr sz="950" b="1" spc="-25" dirty="0">
                          <a:solidFill>
                            <a:srgbClr val="4F81BC"/>
                          </a:solidFill>
                          <a:latin typeface="Arial"/>
                          <a:cs typeface="Arial"/>
                        </a:rPr>
                        <a:t>B</a:t>
                      </a:r>
                      <a:r>
                        <a:rPr sz="950" b="1" spc="-25" dirty="0">
                          <a:latin typeface="Arial"/>
                          <a:cs typeface="Arial"/>
                        </a:rPr>
                        <a:t>)</a:t>
                      </a:r>
                      <a:endParaRPr sz="950">
                        <a:latin typeface="Arial"/>
                        <a:cs typeface="Arial"/>
                      </a:endParaRPr>
                    </a:p>
                  </a:txBody>
                  <a:tcPr marL="0" marR="0" marT="14604" marB="0" vert="vert270">
                    <a:lnL w="635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nSpc>
                          <a:spcPct val="100000"/>
                        </a:lnSpc>
                      </a:pPr>
                      <a:endParaRPr sz="1300">
                        <a:latin typeface="Times New Roman"/>
                        <a:cs typeface="Times New Roman"/>
                      </a:endParaRPr>
                    </a:p>
                  </a:txBody>
                  <a:tcPr marL="0" marR="0" marT="0" marB="0">
                    <a:lnL w="12700">
                      <a:solidFill>
                        <a:srgbClr val="000000"/>
                      </a:solidFill>
                      <a:prstDash val="solid"/>
                    </a:lnL>
                    <a:lnT w="12700">
                      <a:solidFill>
                        <a:srgbClr val="000000"/>
                      </a:solidFill>
                      <a:prstDash val="solid"/>
                    </a:lnT>
                    <a:lnB w="12700">
                      <a:solidFill>
                        <a:srgbClr val="000000"/>
                      </a:solidFill>
                      <a:prstDash val="solid"/>
                    </a:lnB>
                  </a:tcPr>
                </a:tc>
                <a:tc>
                  <a:txBody>
                    <a:bodyPr/>
                    <a:lstStyle/>
                    <a:p>
                      <a:pPr marL="95885">
                        <a:lnSpc>
                          <a:spcPct val="100000"/>
                        </a:lnSpc>
                        <a:spcBef>
                          <a:spcPts val="409"/>
                        </a:spcBef>
                      </a:pPr>
                      <a:r>
                        <a:rPr sz="800" dirty="0">
                          <a:latin typeface="Calibri"/>
                          <a:cs typeface="Calibri"/>
                        </a:rPr>
                        <a:t>2</a:t>
                      </a:r>
                      <a:endParaRPr sz="800">
                        <a:latin typeface="Calibri"/>
                        <a:cs typeface="Calibri"/>
                      </a:endParaRPr>
                    </a:p>
                    <a:p>
                      <a:pPr marL="95885">
                        <a:lnSpc>
                          <a:spcPct val="100000"/>
                        </a:lnSpc>
                        <a:spcBef>
                          <a:spcPts val="335"/>
                        </a:spcBef>
                      </a:pPr>
                      <a:r>
                        <a:rPr sz="800" dirty="0">
                          <a:latin typeface="Calibri"/>
                          <a:cs typeface="Calibri"/>
                        </a:rPr>
                        <a:t>1</a:t>
                      </a:r>
                      <a:endParaRPr sz="800">
                        <a:latin typeface="Calibri"/>
                        <a:cs typeface="Calibri"/>
                      </a:endParaRPr>
                    </a:p>
                    <a:p>
                      <a:pPr marL="95885">
                        <a:lnSpc>
                          <a:spcPct val="100000"/>
                        </a:lnSpc>
                        <a:spcBef>
                          <a:spcPts val="335"/>
                        </a:spcBef>
                      </a:pPr>
                      <a:r>
                        <a:rPr sz="800" dirty="0">
                          <a:latin typeface="Calibri"/>
                          <a:cs typeface="Calibri"/>
                        </a:rPr>
                        <a:t>0</a:t>
                      </a:r>
                      <a:endParaRPr sz="800">
                        <a:latin typeface="Calibri"/>
                        <a:cs typeface="Calibri"/>
                      </a:endParaRPr>
                    </a:p>
                    <a:p>
                      <a:pPr marL="65405">
                        <a:lnSpc>
                          <a:spcPct val="100000"/>
                        </a:lnSpc>
                        <a:spcBef>
                          <a:spcPts val="340"/>
                        </a:spcBef>
                      </a:pPr>
                      <a:r>
                        <a:rPr sz="800" spc="-20" dirty="0">
                          <a:latin typeface="Calibri"/>
                          <a:cs typeface="Calibri"/>
                        </a:rPr>
                        <a:t>-</a:t>
                      </a:r>
                      <a:r>
                        <a:rPr sz="800" spc="-50" dirty="0">
                          <a:latin typeface="Calibri"/>
                          <a:cs typeface="Calibri"/>
                        </a:rPr>
                        <a:t>1</a:t>
                      </a:r>
                      <a:endParaRPr sz="800">
                        <a:latin typeface="Calibri"/>
                        <a:cs typeface="Calibri"/>
                      </a:endParaRPr>
                    </a:p>
                    <a:p>
                      <a:pPr marL="65405">
                        <a:lnSpc>
                          <a:spcPct val="100000"/>
                        </a:lnSpc>
                        <a:spcBef>
                          <a:spcPts val="335"/>
                        </a:spcBef>
                      </a:pPr>
                      <a:r>
                        <a:rPr sz="800" spc="-10" dirty="0">
                          <a:latin typeface="Calibri"/>
                          <a:cs typeface="Calibri"/>
                        </a:rPr>
                        <a:t>-</a:t>
                      </a:r>
                      <a:r>
                        <a:rPr sz="800" spc="-50" dirty="0">
                          <a:latin typeface="Calibri"/>
                          <a:cs typeface="Calibri"/>
                        </a:rPr>
                        <a:t>2</a:t>
                      </a:r>
                      <a:endParaRPr sz="800">
                        <a:latin typeface="Calibri"/>
                        <a:cs typeface="Calibri"/>
                      </a:endParaRPr>
                    </a:p>
                  </a:txBody>
                  <a:tcPr marL="0" marR="0" marT="52069" marB="0">
                    <a:lnT w="12700">
                      <a:solidFill>
                        <a:srgbClr val="000000"/>
                      </a:solidFill>
                      <a:prstDash val="solid"/>
                    </a:lnT>
                    <a:lnB w="12700">
                      <a:solidFill>
                        <a:srgbClr val="000000"/>
                      </a:solidFill>
                      <a:prstDash val="solid"/>
                    </a:lnB>
                  </a:tcPr>
                </a:tc>
                <a:tc>
                  <a:txBody>
                    <a:bodyPr/>
                    <a:lstStyle/>
                    <a:p>
                      <a:pPr>
                        <a:lnSpc>
                          <a:spcPct val="100000"/>
                        </a:lnSpc>
                      </a:pPr>
                      <a:endParaRPr sz="1300">
                        <a:latin typeface="Times New Roman"/>
                        <a:cs typeface="Times New Roman"/>
                      </a:endParaRPr>
                    </a:p>
                  </a:txBody>
                  <a:tcPr marL="0" marR="0" marT="0" marB="0">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nSpc>
                          <a:spcPct val="100000"/>
                        </a:lnSpc>
                      </a:pPr>
                      <a:endParaRPr sz="1300">
                        <a:latin typeface="Times New Roman"/>
                        <a:cs typeface="Times New Roman"/>
                      </a:endParaRPr>
                    </a:p>
                  </a:txBody>
                  <a:tcPr marL="0" marR="0" marT="0" marB="0">
                    <a:lnL w="12700">
                      <a:solidFill>
                        <a:srgbClr val="000000"/>
                      </a:solidFill>
                      <a:prstDash val="solid"/>
                    </a:lnL>
                    <a:lnT w="12700">
                      <a:solidFill>
                        <a:srgbClr val="000000"/>
                      </a:solidFill>
                      <a:prstDash val="solid"/>
                    </a:lnT>
                    <a:lnB w="12700">
                      <a:solidFill>
                        <a:srgbClr val="000000"/>
                      </a:solidFill>
                      <a:prstDash val="solid"/>
                    </a:lnB>
                  </a:tcPr>
                </a:tc>
                <a:tc>
                  <a:txBody>
                    <a:bodyPr/>
                    <a:lstStyle/>
                    <a:p>
                      <a:pPr marL="97155">
                        <a:lnSpc>
                          <a:spcPct val="100000"/>
                        </a:lnSpc>
                        <a:spcBef>
                          <a:spcPts val="409"/>
                        </a:spcBef>
                      </a:pPr>
                      <a:r>
                        <a:rPr sz="800" dirty="0">
                          <a:latin typeface="Calibri"/>
                          <a:cs typeface="Calibri"/>
                        </a:rPr>
                        <a:t>2</a:t>
                      </a:r>
                      <a:endParaRPr sz="800">
                        <a:latin typeface="Calibri"/>
                        <a:cs typeface="Calibri"/>
                      </a:endParaRPr>
                    </a:p>
                    <a:p>
                      <a:pPr marL="97155">
                        <a:lnSpc>
                          <a:spcPct val="100000"/>
                        </a:lnSpc>
                        <a:spcBef>
                          <a:spcPts val="335"/>
                        </a:spcBef>
                      </a:pPr>
                      <a:r>
                        <a:rPr sz="800" dirty="0">
                          <a:latin typeface="Calibri"/>
                          <a:cs typeface="Calibri"/>
                        </a:rPr>
                        <a:t>1</a:t>
                      </a:r>
                      <a:endParaRPr sz="800">
                        <a:latin typeface="Calibri"/>
                        <a:cs typeface="Calibri"/>
                      </a:endParaRPr>
                    </a:p>
                    <a:p>
                      <a:pPr marL="97155">
                        <a:lnSpc>
                          <a:spcPct val="100000"/>
                        </a:lnSpc>
                        <a:spcBef>
                          <a:spcPts val="335"/>
                        </a:spcBef>
                      </a:pPr>
                      <a:r>
                        <a:rPr sz="800" dirty="0">
                          <a:latin typeface="Calibri"/>
                          <a:cs typeface="Calibri"/>
                        </a:rPr>
                        <a:t>0</a:t>
                      </a:r>
                      <a:endParaRPr sz="800">
                        <a:latin typeface="Calibri"/>
                        <a:cs typeface="Calibri"/>
                      </a:endParaRPr>
                    </a:p>
                    <a:p>
                      <a:pPr marL="66675">
                        <a:lnSpc>
                          <a:spcPct val="100000"/>
                        </a:lnSpc>
                        <a:spcBef>
                          <a:spcPts val="340"/>
                        </a:spcBef>
                      </a:pPr>
                      <a:r>
                        <a:rPr sz="800" spc="-20" dirty="0">
                          <a:latin typeface="Calibri"/>
                          <a:cs typeface="Calibri"/>
                        </a:rPr>
                        <a:t>-</a:t>
                      </a:r>
                      <a:r>
                        <a:rPr sz="800" spc="-50" dirty="0">
                          <a:latin typeface="Calibri"/>
                          <a:cs typeface="Calibri"/>
                        </a:rPr>
                        <a:t>1</a:t>
                      </a:r>
                      <a:endParaRPr sz="800">
                        <a:latin typeface="Calibri"/>
                        <a:cs typeface="Calibri"/>
                      </a:endParaRPr>
                    </a:p>
                    <a:p>
                      <a:pPr marL="66675">
                        <a:lnSpc>
                          <a:spcPct val="100000"/>
                        </a:lnSpc>
                        <a:spcBef>
                          <a:spcPts val="335"/>
                        </a:spcBef>
                      </a:pPr>
                      <a:r>
                        <a:rPr sz="800" spc="-10" dirty="0">
                          <a:latin typeface="Calibri"/>
                          <a:cs typeface="Calibri"/>
                        </a:rPr>
                        <a:t>-</a:t>
                      </a:r>
                      <a:r>
                        <a:rPr sz="800" spc="-50" dirty="0">
                          <a:latin typeface="Calibri"/>
                          <a:cs typeface="Calibri"/>
                        </a:rPr>
                        <a:t>2</a:t>
                      </a:r>
                      <a:endParaRPr sz="800">
                        <a:latin typeface="Calibri"/>
                        <a:cs typeface="Calibri"/>
                      </a:endParaRPr>
                    </a:p>
                  </a:txBody>
                  <a:tcPr marL="0" marR="0" marT="52069" marB="0">
                    <a:lnT w="12700">
                      <a:solidFill>
                        <a:srgbClr val="000000"/>
                      </a:solidFill>
                      <a:prstDash val="solid"/>
                    </a:lnT>
                    <a:lnB w="12700">
                      <a:solidFill>
                        <a:srgbClr val="000000"/>
                      </a:solidFill>
                      <a:prstDash val="solid"/>
                    </a:lnB>
                  </a:tcPr>
                </a:tc>
                <a:tc>
                  <a:txBody>
                    <a:bodyPr/>
                    <a:lstStyle/>
                    <a:p>
                      <a:pPr>
                        <a:lnSpc>
                          <a:spcPct val="100000"/>
                        </a:lnSpc>
                      </a:pPr>
                      <a:endParaRPr sz="1300">
                        <a:latin typeface="Times New Roman"/>
                        <a:cs typeface="Times New Roman"/>
                      </a:endParaRPr>
                    </a:p>
                  </a:txBody>
                  <a:tcPr marL="0" marR="0" marT="0" marB="0">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nSpc>
                          <a:spcPct val="100000"/>
                        </a:lnSpc>
                      </a:pPr>
                      <a:endParaRPr sz="1300">
                        <a:latin typeface="Times New Roman"/>
                        <a:cs typeface="Times New Roman"/>
                      </a:endParaRPr>
                    </a:p>
                  </a:txBody>
                  <a:tcPr marL="0" marR="0" marT="0" marB="0">
                    <a:lnL w="12700">
                      <a:solidFill>
                        <a:srgbClr val="000000"/>
                      </a:solidFill>
                      <a:prstDash val="solid"/>
                    </a:lnL>
                    <a:lnT w="12700">
                      <a:solidFill>
                        <a:srgbClr val="000000"/>
                      </a:solidFill>
                      <a:prstDash val="solid"/>
                    </a:lnT>
                    <a:lnB w="12700">
                      <a:solidFill>
                        <a:srgbClr val="000000"/>
                      </a:solidFill>
                      <a:prstDash val="solid"/>
                    </a:lnB>
                  </a:tcPr>
                </a:tc>
                <a:tc>
                  <a:txBody>
                    <a:bodyPr/>
                    <a:lstStyle/>
                    <a:p>
                      <a:pPr marL="98425">
                        <a:lnSpc>
                          <a:spcPct val="100000"/>
                        </a:lnSpc>
                        <a:spcBef>
                          <a:spcPts val="409"/>
                        </a:spcBef>
                      </a:pPr>
                      <a:r>
                        <a:rPr sz="800" dirty="0">
                          <a:latin typeface="Calibri"/>
                          <a:cs typeface="Calibri"/>
                        </a:rPr>
                        <a:t>2</a:t>
                      </a:r>
                      <a:endParaRPr sz="800">
                        <a:latin typeface="Calibri"/>
                        <a:cs typeface="Calibri"/>
                      </a:endParaRPr>
                    </a:p>
                    <a:p>
                      <a:pPr marL="98425">
                        <a:lnSpc>
                          <a:spcPct val="100000"/>
                        </a:lnSpc>
                        <a:spcBef>
                          <a:spcPts val="335"/>
                        </a:spcBef>
                      </a:pPr>
                      <a:r>
                        <a:rPr sz="800" dirty="0">
                          <a:latin typeface="Calibri"/>
                          <a:cs typeface="Calibri"/>
                        </a:rPr>
                        <a:t>1</a:t>
                      </a:r>
                      <a:endParaRPr sz="800">
                        <a:latin typeface="Calibri"/>
                        <a:cs typeface="Calibri"/>
                      </a:endParaRPr>
                    </a:p>
                    <a:p>
                      <a:pPr marL="98425">
                        <a:lnSpc>
                          <a:spcPct val="100000"/>
                        </a:lnSpc>
                        <a:spcBef>
                          <a:spcPts val="335"/>
                        </a:spcBef>
                      </a:pPr>
                      <a:r>
                        <a:rPr sz="800" dirty="0">
                          <a:latin typeface="Calibri"/>
                          <a:cs typeface="Calibri"/>
                        </a:rPr>
                        <a:t>0</a:t>
                      </a:r>
                      <a:endParaRPr sz="800">
                        <a:latin typeface="Calibri"/>
                        <a:cs typeface="Calibri"/>
                      </a:endParaRPr>
                    </a:p>
                    <a:p>
                      <a:pPr marL="67945">
                        <a:lnSpc>
                          <a:spcPct val="100000"/>
                        </a:lnSpc>
                        <a:spcBef>
                          <a:spcPts val="340"/>
                        </a:spcBef>
                      </a:pPr>
                      <a:r>
                        <a:rPr sz="800" spc="-20" dirty="0">
                          <a:latin typeface="Calibri"/>
                          <a:cs typeface="Calibri"/>
                        </a:rPr>
                        <a:t>-</a:t>
                      </a:r>
                      <a:r>
                        <a:rPr sz="800" spc="-50" dirty="0">
                          <a:latin typeface="Calibri"/>
                          <a:cs typeface="Calibri"/>
                        </a:rPr>
                        <a:t>1</a:t>
                      </a:r>
                      <a:endParaRPr sz="800">
                        <a:latin typeface="Calibri"/>
                        <a:cs typeface="Calibri"/>
                      </a:endParaRPr>
                    </a:p>
                    <a:p>
                      <a:pPr marL="67945">
                        <a:lnSpc>
                          <a:spcPct val="100000"/>
                        </a:lnSpc>
                        <a:spcBef>
                          <a:spcPts val="335"/>
                        </a:spcBef>
                      </a:pPr>
                      <a:r>
                        <a:rPr sz="800" spc="-10" dirty="0">
                          <a:latin typeface="Calibri"/>
                          <a:cs typeface="Calibri"/>
                        </a:rPr>
                        <a:t>-</a:t>
                      </a:r>
                      <a:r>
                        <a:rPr sz="800" spc="-50" dirty="0">
                          <a:latin typeface="Calibri"/>
                          <a:cs typeface="Calibri"/>
                        </a:rPr>
                        <a:t>2</a:t>
                      </a:r>
                      <a:endParaRPr sz="800">
                        <a:latin typeface="Calibri"/>
                        <a:cs typeface="Calibri"/>
                      </a:endParaRPr>
                    </a:p>
                  </a:txBody>
                  <a:tcPr marL="0" marR="0" marT="52069" marB="0">
                    <a:lnT w="12700">
                      <a:solidFill>
                        <a:srgbClr val="000000"/>
                      </a:solidFill>
                      <a:prstDash val="solid"/>
                    </a:lnT>
                    <a:lnB w="12700">
                      <a:solidFill>
                        <a:srgbClr val="000000"/>
                      </a:solidFill>
                      <a:prstDash val="solid"/>
                    </a:lnB>
                  </a:tcPr>
                </a:tc>
                <a:tc>
                  <a:txBody>
                    <a:bodyPr/>
                    <a:lstStyle/>
                    <a:p>
                      <a:pPr>
                        <a:lnSpc>
                          <a:spcPct val="100000"/>
                        </a:lnSpc>
                      </a:pPr>
                      <a:endParaRPr sz="1300">
                        <a:latin typeface="Times New Roman"/>
                        <a:cs typeface="Times New Roman"/>
                      </a:endParaRPr>
                    </a:p>
                  </a:txBody>
                  <a:tcPr marL="0" marR="0" marT="0" marB="0">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nSpc>
                          <a:spcPct val="100000"/>
                        </a:lnSpc>
                      </a:pPr>
                      <a:endParaRPr sz="1300">
                        <a:latin typeface="Times New Roman"/>
                        <a:cs typeface="Times New Roman"/>
                      </a:endParaRPr>
                    </a:p>
                  </a:txBody>
                  <a:tcPr marL="0" marR="0" marT="0" marB="0">
                    <a:lnL w="12700">
                      <a:solidFill>
                        <a:srgbClr val="000000"/>
                      </a:solidFill>
                      <a:prstDash val="solid"/>
                    </a:lnL>
                    <a:lnT w="12700">
                      <a:solidFill>
                        <a:srgbClr val="000000"/>
                      </a:solidFill>
                      <a:prstDash val="solid"/>
                    </a:lnT>
                    <a:lnB w="12700">
                      <a:solidFill>
                        <a:srgbClr val="000000"/>
                      </a:solidFill>
                      <a:prstDash val="solid"/>
                    </a:lnB>
                  </a:tcPr>
                </a:tc>
                <a:tc>
                  <a:txBody>
                    <a:bodyPr/>
                    <a:lstStyle/>
                    <a:p>
                      <a:pPr marL="99695">
                        <a:lnSpc>
                          <a:spcPct val="100000"/>
                        </a:lnSpc>
                        <a:spcBef>
                          <a:spcPts val="409"/>
                        </a:spcBef>
                      </a:pPr>
                      <a:r>
                        <a:rPr sz="800" dirty="0">
                          <a:latin typeface="Calibri"/>
                          <a:cs typeface="Calibri"/>
                        </a:rPr>
                        <a:t>2</a:t>
                      </a:r>
                      <a:endParaRPr sz="800">
                        <a:latin typeface="Calibri"/>
                        <a:cs typeface="Calibri"/>
                      </a:endParaRPr>
                    </a:p>
                    <a:p>
                      <a:pPr marL="99695">
                        <a:lnSpc>
                          <a:spcPct val="100000"/>
                        </a:lnSpc>
                        <a:spcBef>
                          <a:spcPts val="335"/>
                        </a:spcBef>
                      </a:pPr>
                      <a:r>
                        <a:rPr sz="800" dirty="0">
                          <a:latin typeface="Calibri"/>
                          <a:cs typeface="Calibri"/>
                        </a:rPr>
                        <a:t>1</a:t>
                      </a:r>
                      <a:endParaRPr sz="800">
                        <a:latin typeface="Calibri"/>
                        <a:cs typeface="Calibri"/>
                      </a:endParaRPr>
                    </a:p>
                    <a:p>
                      <a:pPr marL="99695">
                        <a:lnSpc>
                          <a:spcPct val="100000"/>
                        </a:lnSpc>
                        <a:spcBef>
                          <a:spcPts val="335"/>
                        </a:spcBef>
                      </a:pPr>
                      <a:r>
                        <a:rPr sz="800" dirty="0">
                          <a:latin typeface="Calibri"/>
                          <a:cs typeface="Calibri"/>
                        </a:rPr>
                        <a:t>0</a:t>
                      </a:r>
                      <a:endParaRPr sz="800">
                        <a:latin typeface="Calibri"/>
                        <a:cs typeface="Calibri"/>
                      </a:endParaRPr>
                    </a:p>
                    <a:p>
                      <a:pPr marL="69215">
                        <a:lnSpc>
                          <a:spcPct val="100000"/>
                        </a:lnSpc>
                        <a:spcBef>
                          <a:spcPts val="340"/>
                        </a:spcBef>
                      </a:pPr>
                      <a:r>
                        <a:rPr sz="800" spc="-20" dirty="0">
                          <a:latin typeface="Calibri"/>
                          <a:cs typeface="Calibri"/>
                        </a:rPr>
                        <a:t>-</a:t>
                      </a:r>
                      <a:r>
                        <a:rPr sz="800" spc="-50" dirty="0">
                          <a:latin typeface="Calibri"/>
                          <a:cs typeface="Calibri"/>
                        </a:rPr>
                        <a:t>1</a:t>
                      </a:r>
                      <a:endParaRPr sz="800">
                        <a:latin typeface="Calibri"/>
                        <a:cs typeface="Calibri"/>
                      </a:endParaRPr>
                    </a:p>
                    <a:p>
                      <a:pPr marL="69215">
                        <a:lnSpc>
                          <a:spcPct val="100000"/>
                        </a:lnSpc>
                        <a:spcBef>
                          <a:spcPts val="335"/>
                        </a:spcBef>
                      </a:pPr>
                      <a:r>
                        <a:rPr sz="800" spc="-10" dirty="0">
                          <a:latin typeface="Calibri"/>
                          <a:cs typeface="Calibri"/>
                        </a:rPr>
                        <a:t>-</a:t>
                      </a:r>
                      <a:r>
                        <a:rPr sz="800" spc="-50" dirty="0">
                          <a:latin typeface="Calibri"/>
                          <a:cs typeface="Calibri"/>
                        </a:rPr>
                        <a:t>2</a:t>
                      </a:r>
                      <a:endParaRPr sz="800">
                        <a:latin typeface="Calibri"/>
                        <a:cs typeface="Calibri"/>
                      </a:endParaRPr>
                    </a:p>
                  </a:txBody>
                  <a:tcPr marL="0" marR="0" marT="52069" marB="0">
                    <a:lnT w="12700">
                      <a:solidFill>
                        <a:srgbClr val="000000"/>
                      </a:solidFill>
                      <a:prstDash val="solid"/>
                    </a:lnT>
                    <a:lnB w="12700">
                      <a:solidFill>
                        <a:srgbClr val="000000"/>
                      </a:solidFill>
                      <a:prstDash val="solid"/>
                    </a:lnB>
                  </a:tcPr>
                </a:tc>
                <a:tc>
                  <a:txBody>
                    <a:bodyPr/>
                    <a:lstStyle/>
                    <a:p>
                      <a:pPr>
                        <a:lnSpc>
                          <a:spcPct val="100000"/>
                        </a:lnSpc>
                      </a:pPr>
                      <a:endParaRPr sz="1300">
                        <a:latin typeface="Times New Roman"/>
                        <a:cs typeface="Times New Roman"/>
                      </a:endParaRPr>
                    </a:p>
                  </a:txBody>
                  <a:tcPr marL="0" marR="0" marT="0" marB="0">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nSpc>
                          <a:spcPct val="100000"/>
                        </a:lnSpc>
                      </a:pPr>
                      <a:endParaRPr sz="1300">
                        <a:latin typeface="Times New Roman"/>
                        <a:cs typeface="Times New Roman"/>
                      </a:endParaRPr>
                    </a:p>
                  </a:txBody>
                  <a:tcPr marL="0" marR="0" marT="0" marB="0">
                    <a:lnL w="12700">
                      <a:solidFill>
                        <a:srgbClr val="000000"/>
                      </a:solidFill>
                      <a:prstDash val="solid"/>
                    </a:lnL>
                    <a:lnT w="12700">
                      <a:solidFill>
                        <a:srgbClr val="000000"/>
                      </a:solidFill>
                      <a:prstDash val="solid"/>
                    </a:lnT>
                    <a:lnB w="12700">
                      <a:solidFill>
                        <a:srgbClr val="000000"/>
                      </a:solidFill>
                      <a:prstDash val="solid"/>
                    </a:lnB>
                  </a:tcPr>
                </a:tc>
                <a:tc>
                  <a:txBody>
                    <a:bodyPr/>
                    <a:lstStyle/>
                    <a:p>
                      <a:pPr marL="100965">
                        <a:lnSpc>
                          <a:spcPct val="100000"/>
                        </a:lnSpc>
                        <a:spcBef>
                          <a:spcPts val="409"/>
                        </a:spcBef>
                      </a:pPr>
                      <a:r>
                        <a:rPr sz="800" dirty="0">
                          <a:latin typeface="Calibri"/>
                          <a:cs typeface="Calibri"/>
                        </a:rPr>
                        <a:t>2</a:t>
                      </a:r>
                      <a:endParaRPr sz="800">
                        <a:latin typeface="Calibri"/>
                        <a:cs typeface="Calibri"/>
                      </a:endParaRPr>
                    </a:p>
                    <a:p>
                      <a:pPr marL="100965">
                        <a:lnSpc>
                          <a:spcPct val="100000"/>
                        </a:lnSpc>
                        <a:spcBef>
                          <a:spcPts val="335"/>
                        </a:spcBef>
                      </a:pPr>
                      <a:r>
                        <a:rPr sz="800" dirty="0">
                          <a:latin typeface="Calibri"/>
                          <a:cs typeface="Calibri"/>
                        </a:rPr>
                        <a:t>1</a:t>
                      </a:r>
                      <a:endParaRPr sz="800">
                        <a:latin typeface="Calibri"/>
                        <a:cs typeface="Calibri"/>
                      </a:endParaRPr>
                    </a:p>
                    <a:p>
                      <a:pPr marL="100965">
                        <a:lnSpc>
                          <a:spcPct val="100000"/>
                        </a:lnSpc>
                        <a:spcBef>
                          <a:spcPts val="335"/>
                        </a:spcBef>
                      </a:pPr>
                      <a:r>
                        <a:rPr sz="800" dirty="0">
                          <a:latin typeface="Calibri"/>
                          <a:cs typeface="Calibri"/>
                        </a:rPr>
                        <a:t>0</a:t>
                      </a:r>
                      <a:endParaRPr sz="800">
                        <a:latin typeface="Calibri"/>
                        <a:cs typeface="Calibri"/>
                      </a:endParaRPr>
                    </a:p>
                    <a:p>
                      <a:pPr marL="69850">
                        <a:lnSpc>
                          <a:spcPct val="100000"/>
                        </a:lnSpc>
                        <a:spcBef>
                          <a:spcPts val="340"/>
                        </a:spcBef>
                      </a:pPr>
                      <a:r>
                        <a:rPr sz="800" spc="-20" dirty="0">
                          <a:latin typeface="Calibri"/>
                          <a:cs typeface="Calibri"/>
                        </a:rPr>
                        <a:t>-</a:t>
                      </a:r>
                      <a:r>
                        <a:rPr sz="800" spc="-50" dirty="0">
                          <a:latin typeface="Calibri"/>
                          <a:cs typeface="Calibri"/>
                        </a:rPr>
                        <a:t>1</a:t>
                      </a:r>
                      <a:endParaRPr sz="800">
                        <a:latin typeface="Calibri"/>
                        <a:cs typeface="Calibri"/>
                      </a:endParaRPr>
                    </a:p>
                    <a:p>
                      <a:pPr marL="69850">
                        <a:lnSpc>
                          <a:spcPct val="100000"/>
                        </a:lnSpc>
                        <a:spcBef>
                          <a:spcPts val="335"/>
                        </a:spcBef>
                      </a:pPr>
                      <a:r>
                        <a:rPr sz="800" spc="-10" dirty="0">
                          <a:latin typeface="Calibri"/>
                          <a:cs typeface="Calibri"/>
                        </a:rPr>
                        <a:t>-</a:t>
                      </a:r>
                      <a:r>
                        <a:rPr sz="800" spc="-50" dirty="0">
                          <a:latin typeface="Calibri"/>
                          <a:cs typeface="Calibri"/>
                        </a:rPr>
                        <a:t>2</a:t>
                      </a:r>
                      <a:endParaRPr sz="800">
                        <a:latin typeface="Calibri"/>
                        <a:cs typeface="Calibri"/>
                      </a:endParaRPr>
                    </a:p>
                  </a:txBody>
                  <a:tcPr marL="0" marR="0" marT="52069" marB="0">
                    <a:lnT w="12700">
                      <a:solidFill>
                        <a:srgbClr val="000000"/>
                      </a:solidFill>
                      <a:prstDash val="solid"/>
                    </a:lnT>
                    <a:lnB w="12700">
                      <a:solidFill>
                        <a:srgbClr val="000000"/>
                      </a:solidFill>
                      <a:prstDash val="solid"/>
                    </a:lnB>
                  </a:tcPr>
                </a:tc>
                <a:tc>
                  <a:txBody>
                    <a:bodyPr/>
                    <a:lstStyle/>
                    <a:p>
                      <a:pPr>
                        <a:lnSpc>
                          <a:spcPct val="100000"/>
                        </a:lnSpc>
                      </a:pPr>
                      <a:endParaRPr sz="1300">
                        <a:latin typeface="Times New Roman"/>
                        <a:cs typeface="Times New Roman"/>
                      </a:endParaRPr>
                    </a:p>
                  </a:txBody>
                  <a:tcPr marL="0" marR="0" marT="0" marB="0">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4"/>
                  </a:ext>
                </a:extLst>
              </a:tr>
              <a:tr h="1033780">
                <a:tc gridSpan="16">
                  <a:txBody>
                    <a:bodyPr/>
                    <a:lstStyle/>
                    <a:p>
                      <a:pPr>
                        <a:lnSpc>
                          <a:spcPct val="100000"/>
                        </a:lnSpc>
                      </a:pPr>
                      <a:endParaRPr sz="1300">
                        <a:latin typeface="Times New Roman"/>
                        <a:cs typeface="Times New Roman"/>
                      </a:endParaRPr>
                    </a:p>
                  </a:txBody>
                  <a:tcPr marL="0" marR="0" marT="0" marB="0">
                    <a:lnL w="6350">
                      <a:solidFill>
                        <a:srgbClr val="000000"/>
                      </a:solidFill>
                      <a:prstDash val="solid"/>
                    </a:lnL>
                    <a:lnT w="12700">
                      <a:solidFill>
                        <a:srgbClr val="000000"/>
                      </a:solidFill>
                      <a:prstDash val="solid"/>
                    </a:lnT>
                    <a:solidFill>
                      <a:srgbClr val="FFFFFF"/>
                    </a:solidFill>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5"/>
                  </a:ext>
                </a:extLst>
              </a:tr>
            </a:tbl>
          </a:graphicData>
        </a:graphic>
      </p:graphicFrame>
      <p:sp>
        <p:nvSpPr>
          <p:cNvPr id="97" name="object 97"/>
          <p:cNvSpPr txBox="1">
            <a:spLocks noGrp="1"/>
          </p:cNvSpPr>
          <p:nvPr>
            <p:ph type="title"/>
          </p:nvPr>
        </p:nvSpPr>
        <p:spPr>
          <a:xfrm>
            <a:off x="292100" y="239979"/>
            <a:ext cx="7809865" cy="452120"/>
          </a:xfrm>
          <a:prstGeom prst="rect">
            <a:avLst/>
          </a:prstGeom>
        </p:spPr>
        <p:txBody>
          <a:bodyPr vert="horz" wrap="square" lIns="0" tIns="12065" rIns="0" bIns="0" rtlCol="0">
            <a:spAutoFit/>
          </a:bodyPr>
          <a:lstStyle/>
          <a:p>
            <a:pPr marL="12700">
              <a:lnSpc>
                <a:spcPct val="100000"/>
              </a:lnSpc>
              <a:spcBef>
                <a:spcPts val="95"/>
              </a:spcBef>
            </a:pPr>
            <a:r>
              <a:rPr>
                <a:solidFill>
                  <a:srgbClr val="E61216"/>
                </a:solidFill>
              </a:rPr>
              <a:t>CN</a:t>
            </a:r>
            <a:r>
              <a:rPr spc="-70">
                <a:solidFill>
                  <a:srgbClr val="E61216"/>
                </a:solidFill>
              </a:rPr>
              <a:t> </a:t>
            </a:r>
            <a:r>
              <a:rPr dirty="0">
                <a:solidFill>
                  <a:srgbClr val="E61216"/>
                </a:solidFill>
              </a:rPr>
              <a:t>and</a:t>
            </a:r>
            <a:r>
              <a:rPr spc="-60" dirty="0">
                <a:solidFill>
                  <a:srgbClr val="E61216"/>
                </a:solidFill>
              </a:rPr>
              <a:t> </a:t>
            </a:r>
            <a:r>
              <a:rPr dirty="0">
                <a:solidFill>
                  <a:srgbClr val="E61216"/>
                </a:solidFill>
              </a:rPr>
              <a:t>SNP</a:t>
            </a:r>
            <a:r>
              <a:rPr spc="-120" dirty="0">
                <a:solidFill>
                  <a:srgbClr val="E61216"/>
                </a:solidFill>
              </a:rPr>
              <a:t> </a:t>
            </a:r>
            <a:r>
              <a:rPr dirty="0">
                <a:solidFill>
                  <a:srgbClr val="E61216"/>
                </a:solidFill>
              </a:rPr>
              <a:t>track</a:t>
            </a:r>
            <a:r>
              <a:rPr spc="-65" dirty="0">
                <a:solidFill>
                  <a:srgbClr val="E61216"/>
                </a:solidFill>
              </a:rPr>
              <a:t> </a:t>
            </a:r>
            <a:r>
              <a:rPr spc="-10" dirty="0">
                <a:solidFill>
                  <a:srgbClr val="E61216"/>
                </a:solidFill>
              </a:rPr>
              <a:t>patterns…</a:t>
            </a:r>
          </a:p>
        </p:txBody>
      </p:sp>
      <p:sp>
        <p:nvSpPr>
          <p:cNvPr id="98" name="object 98"/>
          <p:cNvSpPr/>
          <p:nvPr/>
        </p:nvSpPr>
        <p:spPr>
          <a:xfrm>
            <a:off x="761" y="5066538"/>
            <a:ext cx="12192000" cy="1026160"/>
          </a:xfrm>
          <a:custGeom>
            <a:avLst/>
            <a:gdLst/>
            <a:ahLst/>
            <a:cxnLst/>
            <a:rect l="l" t="t" r="r" b="b"/>
            <a:pathLst>
              <a:path w="12192000" h="1026160">
                <a:moveTo>
                  <a:pt x="0" y="1025652"/>
                </a:moveTo>
                <a:lnTo>
                  <a:pt x="12192000" y="1025652"/>
                </a:lnTo>
                <a:lnTo>
                  <a:pt x="12192000" y="0"/>
                </a:lnTo>
                <a:lnTo>
                  <a:pt x="0" y="0"/>
                </a:lnTo>
                <a:lnTo>
                  <a:pt x="0" y="1025652"/>
                </a:lnTo>
                <a:close/>
              </a:path>
            </a:pathLst>
          </a:custGeom>
          <a:ln w="32004">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99" name="object 99"/>
          <p:cNvSpPr txBox="1">
            <a:spLocks noGrp="1"/>
          </p:cNvSpPr>
          <p:nvPr>
            <p:ph type="sldNum" sz="quarter" idx="7"/>
          </p:nvPr>
        </p:nvSpPr>
        <p:spPr>
          <a:prstGeom prst="rect">
            <a:avLst/>
          </a:prstGeom>
        </p:spPr>
        <p:txBody>
          <a:bodyPr vert="horz" wrap="square" lIns="0" tIns="0" rIns="0" bIns="0" rtlCol="0">
            <a:spAutoFit/>
          </a:bodyPr>
          <a:lstStyle/>
          <a:p>
            <a:pPr marL="38100" marR="0" lvl="0" indent="0" algn="l" defTabSz="914400" rtl="0" eaLnBrk="1" fontAlgn="auto" latinLnBrk="0" hangingPunct="1">
              <a:lnSpc>
                <a:spcPct val="100000"/>
              </a:lnSpc>
              <a:spcBef>
                <a:spcPts val="0"/>
              </a:spcBef>
              <a:spcAft>
                <a:spcPts val="0"/>
              </a:spcAft>
              <a:buClrTx/>
              <a:buSzTx/>
              <a:buFontTx/>
              <a:buNone/>
              <a:tabLst/>
              <a:defRPr/>
            </a:pPr>
            <a:fld id="{81D60167-4931-47E6-BA6A-407CBD079E47}" type="slidenum">
              <a:rPr kumimoji="0" sz="1000" b="0" i="0" u="none" strike="noStrike" kern="0" cap="none" spc="-25" normalizeH="0" baseline="0" noProof="0" dirty="0">
                <a:ln>
                  <a:noFill/>
                </a:ln>
                <a:solidFill>
                  <a:srgbClr val="535758"/>
                </a:solidFill>
                <a:effectLst/>
                <a:uLnTx/>
                <a:uFillTx/>
                <a:latin typeface="Arial"/>
                <a:ea typeface="+mn-ea"/>
                <a:cs typeface="Arial"/>
              </a:rPr>
              <a:pPr marL="38100" marR="0" lvl="0" indent="0" algn="l" defTabSz="914400" rtl="0" eaLnBrk="1" fontAlgn="auto" latinLnBrk="0" hangingPunct="1">
                <a:lnSpc>
                  <a:spcPct val="100000"/>
                </a:lnSpc>
                <a:spcBef>
                  <a:spcPts val="0"/>
                </a:spcBef>
                <a:spcAft>
                  <a:spcPts val="0"/>
                </a:spcAft>
                <a:buClrTx/>
                <a:buSzTx/>
                <a:buFontTx/>
                <a:buNone/>
                <a:tabLst/>
                <a:defRPr/>
              </a:pPr>
              <a:t>37</a:t>
            </a:fld>
            <a:endParaRPr kumimoji="0" sz="1000" b="0" i="0" u="none" strike="noStrike" kern="0" cap="none" spc="-25" normalizeH="0" baseline="0" noProof="0" dirty="0">
              <a:ln>
                <a:noFill/>
              </a:ln>
              <a:solidFill>
                <a:srgbClr val="535758"/>
              </a:solidFill>
              <a:effectLst/>
              <a:uLnTx/>
              <a:uFillTx/>
              <a:latin typeface="Arial"/>
              <a:ea typeface="+mn-ea"/>
              <a:cs typeface="Arial"/>
            </a:endParaRPr>
          </a:p>
        </p:txBody>
      </p:sp>
      <p:sp>
        <p:nvSpPr>
          <p:cNvPr id="96" name="Rectangle 95">
            <a:extLst>
              <a:ext uri="{FF2B5EF4-FFF2-40B4-BE49-F238E27FC236}">
                <a16:creationId xmlns:a16="http://schemas.microsoft.com/office/drawing/2014/main" id="{F4B1FF28-845B-183B-555F-0BAB0CAA0D9E}"/>
              </a:ext>
            </a:extLst>
          </p:cNvPr>
          <p:cNvSpPr/>
          <p:nvPr/>
        </p:nvSpPr>
        <p:spPr>
          <a:xfrm>
            <a:off x="9862457" y="0"/>
            <a:ext cx="2211355" cy="76511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1949497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object 3"/>
          <p:cNvGrpSpPr/>
          <p:nvPr/>
        </p:nvGrpSpPr>
        <p:grpSpPr>
          <a:xfrm>
            <a:off x="656844" y="824482"/>
            <a:ext cx="10944225" cy="5958840"/>
            <a:chOff x="656844" y="824482"/>
            <a:chExt cx="10944225" cy="5958840"/>
          </a:xfrm>
        </p:grpSpPr>
        <p:sp>
          <p:nvSpPr>
            <p:cNvPr id="4" name="object 4"/>
            <p:cNvSpPr/>
            <p:nvPr/>
          </p:nvSpPr>
          <p:spPr>
            <a:xfrm>
              <a:off x="656844" y="824482"/>
              <a:ext cx="10944225" cy="5958840"/>
            </a:xfrm>
            <a:custGeom>
              <a:avLst/>
              <a:gdLst/>
              <a:ahLst/>
              <a:cxnLst/>
              <a:rect l="l" t="t" r="r" b="b"/>
              <a:pathLst>
                <a:path w="10944225" h="5958840">
                  <a:moveTo>
                    <a:pt x="10943844" y="0"/>
                  </a:moveTo>
                  <a:lnTo>
                    <a:pt x="0" y="0"/>
                  </a:lnTo>
                  <a:lnTo>
                    <a:pt x="0" y="5958840"/>
                  </a:lnTo>
                  <a:lnTo>
                    <a:pt x="10943844" y="5958840"/>
                  </a:lnTo>
                  <a:lnTo>
                    <a:pt x="10943844"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5" name="object 5"/>
            <p:cNvPicPr/>
            <p:nvPr/>
          </p:nvPicPr>
          <p:blipFill>
            <a:blip r:embed="rId2" cstate="print"/>
            <a:stretch>
              <a:fillRect/>
            </a:stretch>
          </p:blipFill>
          <p:spPr>
            <a:xfrm>
              <a:off x="4300192" y="2232007"/>
              <a:ext cx="1885182" cy="388746"/>
            </a:xfrm>
            <a:prstGeom prst="rect">
              <a:avLst/>
            </a:prstGeom>
          </p:spPr>
        </p:pic>
        <p:pic>
          <p:nvPicPr>
            <p:cNvPr id="6" name="object 6"/>
            <p:cNvPicPr/>
            <p:nvPr/>
          </p:nvPicPr>
          <p:blipFill>
            <a:blip r:embed="rId3" cstate="print"/>
            <a:stretch>
              <a:fillRect/>
            </a:stretch>
          </p:blipFill>
          <p:spPr>
            <a:xfrm>
              <a:off x="1686340" y="1635482"/>
              <a:ext cx="1698000" cy="656848"/>
            </a:xfrm>
            <a:prstGeom prst="rect">
              <a:avLst/>
            </a:prstGeom>
          </p:spPr>
        </p:pic>
        <p:pic>
          <p:nvPicPr>
            <p:cNvPr id="7" name="object 7"/>
            <p:cNvPicPr/>
            <p:nvPr/>
          </p:nvPicPr>
          <p:blipFill>
            <a:blip r:embed="rId4" cstate="print"/>
            <a:stretch>
              <a:fillRect/>
            </a:stretch>
          </p:blipFill>
          <p:spPr>
            <a:xfrm>
              <a:off x="6940784" y="2480001"/>
              <a:ext cx="1691315" cy="147455"/>
            </a:xfrm>
            <a:prstGeom prst="rect">
              <a:avLst/>
            </a:prstGeom>
          </p:spPr>
        </p:pic>
        <p:sp>
          <p:nvSpPr>
            <p:cNvPr id="8" name="object 8"/>
            <p:cNvSpPr/>
            <p:nvPr/>
          </p:nvSpPr>
          <p:spPr>
            <a:xfrm>
              <a:off x="8010391" y="2151577"/>
              <a:ext cx="354330" cy="80645"/>
            </a:xfrm>
            <a:custGeom>
              <a:avLst/>
              <a:gdLst/>
              <a:ahLst/>
              <a:cxnLst/>
              <a:rect l="l" t="t" r="r" b="b"/>
              <a:pathLst>
                <a:path w="354329" h="80644">
                  <a:moveTo>
                    <a:pt x="354307" y="0"/>
                  </a:moveTo>
                  <a:lnTo>
                    <a:pt x="0" y="0"/>
                  </a:lnTo>
                  <a:lnTo>
                    <a:pt x="177153" y="80430"/>
                  </a:lnTo>
                  <a:lnTo>
                    <a:pt x="354307" y="0"/>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9" name="object 9"/>
            <p:cNvSpPr/>
            <p:nvPr/>
          </p:nvSpPr>
          <p:spPr>
            <a:xfrm>
              <a:off x="1669628" y="3910991"/>
              <a:ext cx="1678305" cy="730885"/>
            </a:xfrm>
            <a:custGeom>
              <a:avLst/>
              <a:gdLst/>
              <a:ahLst/>
              <a:cxnLst/>
              <a:rect l="l" t="t" r="r" b="b"/>
              <a:pathLst>
                <a:path w="1678304" h="730885">
                  <a:moveTo>
                    <a:pt x="33425" y="730576"/>
                  </a:moveTo>
                  <a:lnTo>
                    <a:pt x="1677945" y="730576"/>
                  </a:lnTo>
                </a:path>
                <a:path w="1678304" h="730885">
                  <a:moveTo>
                    <a:pt x="33425" y="549607"/>
                  </a:moveTo>
                  <a:lnTo>
                    <a:pt x="1677945" y="549607"/>
                  </a:lnTo>
                </a:path>
                <a:path w="1678304" h="730885">
                  <a:moveTo>
                    <a:pt x="33425" y="180968"/>
                  </a:moveTo>
                  <a:lnTo>
                    <a:pt x="1677945" y="180968"/>
                  </a:lnTo>
                </a:path>
                <a:path w="1678304" h="730885">
                  <a:moveTo>
                    <a:pt x="33425" y="0"/>
                  </a:moveTo>
                  <a:lnTo>
                    <a:pt x="1677945" y="0"/>
                  </a:lnTo>
                </a:path>
                <a:path w="1678304" h="730885">
                  <a:moveTo>
                    <a:pt x="33425" y="730576"/>
                  </a:moveTo>
                  <a:lnTo>
                    <a:pt x="33425" y="0"/>
                  </a:lnTo>
                </a:path>
                <a:path w="1678304" h="730885">
                  <a:moveTo>
                    <a:pt x="0" y="730576"/>
                  </a:moveTo>
                  <a:lnTo>
                    <a:pt x="33425" y="730576"/>
                  </a:lnTo>
                </a:path>
                <a:path w="1678304" h="730885">
                  <a:moveTo>
                    <a:pt x="0" y="549607"/>
                  </a:moveTo>
                  <a:lnTo>
                    <a:pt x="33425" y="549607"/>
                  </a:lnTo>
                </a:path>
                <a:path w="1678304" h="730885">
                  <a:moveTo>
                    <a:pt x="0" y="368639"/>
                  </a:moveTo>
                  <a:lnTo>
                    <a:pt x="33425" y="368639"/>
                  </a:lnTo>
                </a:path>
                <a:path w="1678304" h="730885">
                  <a:moveTo>
                    <a:pt x="0" y="180968"/>
                  </a:moveTo>
                  <a:lnTo>
                    <a:pt x="33425" y="180968"/>
                  </a:lnTo>
                </a:path>
                <a:path w="1678304" h="730885">
                  <a:moveTo>
                    <a:pt x="0" y="0"/>
                  </a:moveTo>
                  <a:lnTo>
                    <a:pt x="33425" y="0"/>
                  </a:lnTo>
                </a:path>
                <a:path w="1678304" h="730885">
                  <a:moveTo>
                    <a:pt x="33425" y="368639"/>
                  </a:moveTo>
                  <a:lnTo>
                    <a:pt x="1677945" y="368639"/>
                  </a:lnTo>
                </a:path>
              </a:pathLst>
            </a:custGeom>
            <a:ln w="6700">
              <a:solidFill>
                <a:srgbClr val="85858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0" name="object 10"/>
            <p:cNvSpPr/>
            <p:nvPr/>
          </p:nvSpPr>
          <p:spPr>
            <a:xfrm>
              <a:off x="1699704" y="4256176"/>
              <a:ext cx="1270635" cy="33655"/>
            </a:xfrm>
            <a:custGeom>
              <a:avLst/>
              <a:gdLst/>
              <a:ahLst/>
              <a:cxnLst/>
              <a:rect l="l" t="t" r="r" b="b"/>
              <a:pathLst>
                <a:path w="1270635" h="33654">
                  <a:moveTo>
                    <a:pt x="494690" y="7493"/>
                  </a:moveTo>
                  <a:lnTo>
                    <a:pt x="487222" y="0"/>
                  </a:lnTo>
                  <a:lnTo>
                    <a:pt x="473862" y="0"/>
                  </a:lnTo>
                  <a:lnTo>
                    <a:pt x="468731" y="0"/>
                  </a:lnTo>
                  <a:lnTo>
                    <a:pt x="455358" y="0"/>
                  </a:lnTo>
                  <a:lnTo>
                    <a:pt x="454583" y="787"/>
                  </a:lnTo>
                  <a:lnTo>
                    <a:pt x="453809" y="0"/>
                  </a:lnTo>
                  <a:lnTo>
                    <a:pt x="440436" y="0"/>
                  </a:lnTo>
                  <a:lnTo>
                    <a:pt x="435305" y="0"/>
                  </a:lnTo>
                  <a:lnTo>
                    <a:pt x="421932" y="0"/>
                  </a:lnTo>
                  <a:lnTo>
                    <a:pt x="421157" y="787"/>
                  </a:lnTo>
                  <a:lnTo>
                    <a:pt x="420382" y="0"/>
                  </a:lnTo>
                  <a:lnTo>
                    <a:pt x="407009" y="0"/>
                  </a:lnTo>
                  <a:lnTo>
                    <a:pt x="401878" y="0"/>
                  </a:lnTo>
                  <a:lnTo>
                    <a:pt x="388518" y="0"/>
                  </a:lnTo>
                  <a:lnTo>
                    <a:pt x="387731" y="787"/>
                  </a:lnTo>
                  <a:lnTo>
                    <a:pt x="386956" y="0"/>
                  </a:lnTo>
                  <a:lnTo>
                    <a:pt x="373583" y="0"/>
                  </a:lnTo>
                  <a:lnTo>
                    <a:pt x="368452" y="0"/>
                  </a:lnTo>
                  <a:lnTo>
                    <a:pt x="355092" y="0"/>
                  </a:lnTo>
                  <a:lnTo>
                    <a:pt x="354304" y="787"/>
                  </a:lnTo>
                  <a:lnTo>
                    <a:pt x="353529" y="0"/>
                  </a:lnTo>
                  <a:lnTo>
                    <a:pt x="340156" y="0"/>
                  </a:lnTo>
                  <a:lnTo>
                    <a:pt x="335026" y="0"/>
                  </a:lnTo>
                  <a:lnTo>
                    <a:pt x="326783" y="0"/>
                  </a:lnTo>
                  <a:lnTo>
                    <a:pt x="321665" y="0"/>
                  </a:lnTo>
                  <a:lnTo>
                    <a:pt x="308292" y="0"/>
                  </a:lnTo>
                  <a:lnTo>
                    <a:pt x="307505" y="787"/>
                  </a:lnTo>
                  <a:lnTo>
                    <a:pt x="306730" y="0"/>
                  </a:lnTo>
                  <a:lnTo>
                    <a:pt x="293357" y="0"/>
                  </a:lnTo>
                  <a:lnTo>
                    <a:pt x="288239" y="0"/>
                  </a:lnTo>
                  <a:lnTo>
                    <a:pt x="274866" y="0"/>
                  </a:lnTo>
                  <a:lnTo>
                    <a:pt x="274078" y="787"/>
                  </a:lnTo>
                  <a:lnTo>
                    <a:pt x="273304" y="0"/>
                  </a:lnTo>
                  <a:lnTo>
                    <a:pt x="259930" y="0"/>
                  </a:lnTo>
                  <a:lnTo>
                    <a:pt x="254812" y="0"/>
                  </a:lnTo>
                  <a:lnTo>
                    <a:pt x="241439" y="0"/>
                  </a:lnTo>
                  <a:lnTo>
                    <a:pt x="240652" y="787"/>
                  </a:lnTo>
                  <a:lnTo>
                    <a:pt x="239877" y="0"/>
                  </a:lnTo>
                  <a:lnTo>
                    <a:pt x="226517" y="0"/>
                  </a:lnTo>
                  <a:lnTo>
                    <a:pt x="221386" y="0"/>
                  </a:lnTo>
                  <a:lnTo>
                    <a:pt x="208013" y="0"/>
                  </a:lnTo>
                  <a:lnTo>
                    <a:pt x="207225" y="787"/>
                  </a:lnTo>
                  <a:lnTo>
                    <a:pt x="206451" y="0"/>
                  </a:lnTo>
                  <a:lnTo>
                    <a:pt x="193090" y="0"/>
                  </a:lnTo>
                  <a:lnTo>
                    <a:pt x="187960" y="0"/>
                  </a:lnTo>
                  <a:lnTo>
                    <a:pt x="174586" y="0"/>
                  </a:lnTo>
                  <a:lnTo>
                    <a:pt x="173799" y="787"/>
                  </a:lnTo>
                  <a:lnTo>
                    <a:pt x="173024" y="0"/>
                  </a:lnTo>
                  <a:lnTo>
                    <a:pt x="159664" y="0"/>
                  </a:lnTo>
                  <a:lnTo>
                    <a:pt x="154533" y="0"/>
                  </a:lnTo>
                  <a:lnTo>
                    <a:pt x="146291" y="0"/>
                  </a:lnTo>
                  <a:lnTo>
                    <a:pt x="141160" y="0"/>
                  </a:lnTo>
                  <a:lnTo>
                    <a:pt x="127800" y="0"/>
                  </a:lnTo>
                  <a:lnTo>
                    <a:pt x="127012" y="787"/>
                  </a:lnTo>
                  <a:lnTo>
                    <a:pt x="126238" y="0"/>
                  </a:lnTo>
                  <a:lnTo>
                    <a:pt x="112864" y="0"/>
                  </a:lnTo>
                  <a:lnTo>
                    <a:pt x="107746" y="0"/>
                  </a:lnTo>
                  <a:lnTo>
                    <a:pt x="94373" y="0"/>
                  </a:lnTo>
                  <a:lnTo>
                    <a:pt x="93586" y="787"/>
                  </a:lnTo>
                  <a:lnTo>
                    <a:pt x="92811" y="0"/>
                  </a:lnTo>
                  <a:lnTo>
                    <a:pt x="79438" y="0"/>
                  </a:lnTo>
                  <a:lnTo>
                    <a:pt x="74320" y="0"/>
                  </a:lnTo>
                  <a:lnTo>
                    <a:pt x="60972" y="0"/>
                  </a:lnTo>
                  <a:lnTo>
                    <a:pt x="60159" y="812"/>
                  </a:lnTo>
                  <a:lnTo>
                    <a:pt x="59359" y="0"/>
                  </a:lnTo>
                  <a:lnTo>
                    <a:pt x="45986" y="0"/>
                  </a:lnTo>
                  <a:lnTo>
                    <a:pt x="40906" y="0"/>
                  </a:lnTo>
                  <a:lnTo>
                    <a:pt x="27546" y="0"/>
                  </a:lnTo>
                  <a:lnTo>
                    <a:pt x="26733" y="812"/>
                  </a:lnTo>
                  <a:lnTo>
                    <a:pt x="25933" y="0"/>
                  </a:lnTo>
                  <a:lnTo>
                    <a:pt x="7493" y="0"/>
                  </a:lnTo>
                  <a:lnTo>
                    <a:pt x="0" y="7493"/>
                  </a:lnTo>
                  <a:lnTo>
                    <a:pt x="0" y="26035"/>
                  </a:lnTo>
                  <a:lnTo>
                    <a:pt x="7493" y="33515"/>
                  </a:lnTo>
                  <a:lnTo>
                    <a:pt x="25933" y="33515"/>
                  </a:lnTo>
                  <a:lnTo>
                    <a:pt x="26733" y="32715"/>
                  </a:lnTo>
                  <a:lnTo>
                    <a:pt x="27546" y="33515"/>
                  </a:lnTo>
                  <a:lnTo>
                    <a:pt x="40906" y="33515"/>
                  </a:lnTo>
                  <a:lnTo>
                    <a:pt x="45986" y="33515"/>
                  </a:lnTo>
                  <a:lnTo>
                    <a:pt x="59359" y="33515"/>
                  </a:lnTo>
                  <a:lnTo>
                    <a:pt x="60159" y="32715"/>
                  </a:lnTo>
                  <a:lnTo>
                    <a:pt x="60972" y="33515"/>
                  </a:lnTo>
                  <a:lnTo>
                    <a:pt x="74320" y="33515"/>
                  </a:lnTo>
                  <a:lnTo>
                    <a:pt x="79438" y="33515"/>
                  </a:lnTo>
                  <a:lnTo>
                    <a:pt x="92811" y="33515"/>
                  </a:lnTo>
                  <a:lnTo>
                    <a:pt x="93586" y="32740"/>
                  </a:lnTo>
                  <a:lnTo>
                    <a:pt x="94373" y="33515"/>
                  </a:lnTo>
                  <a:lnTo>
                    <a:pt x="107746" y="33515"/>
                  </a:lnTo>
                  <a:lnTo>
                    <a:pt x="112864" y="33515"/>
                  </a:lnTo>
                  <a:lnTo>
                    <a:pt x="126238" y="33515"/>
                  </a:lnTo>
                  <a:lnTo>
                    <a:pt x="127012" y="32740"/>
                  </a:lnTo>
                  <a:lnTo>
                    <a:pt x="127800" y="33515"/>
                  </a:lnTo>
                  <a:lnTo>
                    <a:pt x="141160" y="33515"/>
                  </a:lnTo>
                  <a:lnTo>
                    <a:pt x="146291" y="33515"/>
                  </a:lnTo>
                  <a:lnTo>
                    <a:pt x="154533" y="33515"/>
                  </a:lnTo>
                  <a:lnTo>
                    <a:pt x="159664" y="33515"/>
                  </a:lnTo>
                  <a:lnTo>
                    <a:pt x="173024" y="33515"/>
                  </a:lnTo>
                  <a:lnTo>
                    <a:pt x="173799" y="32740"/>
                  </a:lnTo>
                  <a:lnTo>
                    <a:pt x="174586" y="33515"/>
                  </a:lnTo>
                  <a:lnTo>
                    <a:pt x="187960" y="33515"/>
                  </a:lnTo>
                  <a:lnTo>
                    <a:pt x="193090" y="33515"/>
                  </a:lnTo>
                  <a:lnTo>
                    <a:pt x="206451" y="33515"/>
                  </a:lnTo>
                  <a:lnTo>
                    <a:pt x="207225" y="32740"/>
                  </a:lnTo>
                  <a:lnTo>
                    <a:pt x="208013" y="33515"/>
                  </a:lnTo>
                  <a:lnTo>
                    <a:pt x="221386" y="33515"/>
                  </a:lnTo>
                  <a:lnTo>
                    <a:pt x="226517" y="33515"/>
                  </a:lnTo>
                  <a:lnTo>
                    <a:pt x="239877" y="33515"/>
                  </a:lnTo>
                  <a:lnTo>
                    <a:pt x="240652" y="32740"/>
                  </a:lnTo>
                  <a:lnTo>
                    <a:pt x="241439" y="33515"/>
                  </a:lnTo>
                  <a:lnTo>
                    <a:pt x="254812" y="33515"/>
                  </a:lnTo>
                  <a:lnTo>
                    <a:pt x="259930" y="33515"/>
                  </a:lnTo>
                  <a:lnTo>
                    <a:pt x="273304" y="33515"/>
                  </a:lnTo>
                  <a:lnTo>
                    <a:pt x="274078" y="32740"/>
                  </a:lnTo>
                  <a:lnTo>
                    <a:pt x="274866" y="33515"/>
                  </a:lnTo>
                  <a:lnTo>
                    <a:pt x="288239" y="33515"/>
                  </a:lnTo>
                  <a:lnTo>
                    <a:pt x="293357" y="33515"/>
                  </a:lnTo>
                  <a:lnTo>
                    <a:pt x="306730" y="33515"/>
                  </a:lnTo>
                  <a:lnTo>
                    <a:pt x="307505" y="32740"/>
                  </a:lnTo>
                  <a:lnTo>
                    <a:pt x="308292" y="33515"/>
                  </a:lnTo>
                  <a:lnTo>
                    <a:pt x="321665" y="33515"/>
                  </a:lnTo>
                  <a:lnTo>
                    <a:pt x="326783" y="33515"/>
                  </a:lnTo>
                  <a:lnTo>
                    <a:pt x="335026" y="33515"/>
                  </a:lnTo>
                  <a:lnTo>
                    <a:pt x="340156" y="33515"/>
                  </a:lnTo>
                  <a:lnTo>
                    <a:pt x="353529" y="33515"/>
                  </a:lnTo>
                  <a:lnTo>
                    <a:pt x="354304" y="32740"/>
                  </a:lnTo>
                  <a:lnTo>
                    <a:pt x="355092" y="33515"/>
                  </a:lnTo>
                  <a:lnTo>
                    <a:pt x="368452" y="33515"/>
                  </a:lnTo>
                  <a:lnTo>
                    <a:pt x="373583" y="33515"/>
                  </a:lnTo>
                  <a:lnTo>
                    <a:pt x="386956" y="33515"/>
                  </a:lnTo>
                  <a:lnTo>
                    <a:pt x="387731" y="32740"/>
                  </a:lnTo>
                  <a:lnTo>
                    <a:pt x="388518" y="33515"/>
                  </a:lnTo>
                  <a:lnTo>
                    <a:pt x="401878" y="33515"/>
                  </a:lnTo>
                  <a:lnTo>
                    <a:pt x="407009" y="33515"/>
                  </a:lnTo>
                  <a:lnTo>
                    <a:pt x="420382" y="33515"/>
                  </a:lnTo>
                  <a:lnTo>
                    <a:pt x="421157" y="32740"/>
                  </a:lnTo>
                  <a:lnTo>
                    <a:pt x="421932" y="33515"/>
                  </a:lnTo>
                  <a:lnTo>
                    <a:pt x="435305" y="33515"/>
                  </a:lnTo>
                  <a:lnTo>
                    <a:pt x="440436" y="33515"/>
                  </a:lnTo>
                  <a:lnTo>
                    <a:pt x="453809" y="33515"/>
                  </a:lnTo>
                  <a:lnTo>
                    <a:pt x="454583" y="32740"/>
                  </a:lnTo>
                  <a:lnTo>
                    <a:pt x="455358" y="33515"/>
                  </a:lnTo>
                  <a:lnTo>
                    <a:pt x="468731" y="33515"/>
                  </a:lnTo>
                  <a:lnTo>
                    <a:pt x="473862" y="33515"/>
                  </a:lnTo>
                  <a:lnTo>
                    <a:pt x="487222" y="33515"/>
                  </a:lnTo>
                  <a:lnTo>
                    <a:pt x="494690" y="26035"/>
                  </a:lnTo>
                  <a:lnTo>
                    <a:pt x="494690" y="16764"/>
                  </a:lnTo>
                  <a:lnTo>
                    <a:pt x="494690" y="7493"/>
                  </a:lnTo>
                  <a:close/>
                </a:path>
                <a:path w="1270635" h="33654">
                  <a:moveTo>
                    <a:pt x="1270152" y="7493"/>
                  </a:moveTo>
                  <a:lnTo>
                    <a:pt x="1262697" y="0"/>
                  </a:lnTo>
                  <a:lnTo>
                    <a:pt x="1244193" y="0"/>
                  </a:lnTo>
                  <a:lnTo>
                    <a:pt x="1243418" y="787"/>
                  </a:lnTo>
                  <a:lnTo>
                    <a:pt x="1242644" y="0"/>
                  </a:lnTo>
                  <a:lnTo>
                    <a:pt x="1229271" y="0"/>
                  </a:lnTo>
                  <a:lnTo>
                    <a:pt x="1224140" y="0"/>
                  </a:lnTo>
                  <a:lnTo>
                    <a:pt x="1210767" y="0"/>
                  </a:lnTo>
                  <a:lnTo>
                    <a:pt x="1209992" y="787"/>
                  </a:lnTo>
                  <a:lnTo>
                    <a:pt x="1209217" y="0"/>
                  </a:lnTo>
                  <a:lnTo>
                    <a:pt x="1195844" y="0"/>
                  </a:lnTo>
                  <a:lnTo>
                    <a:pt x="1190713" y="0"/>
                  </a:lnTo>
                  <a:lnTo>
                    <a:pt x="1177353" y="0"/>
                  </a:lnTo>
                  <a:lnTo>
                    <a:pt x="1176566" y="787"/>
                  </a:lnTo>
                  <a:lnTo>
                    <a:pt x="1175791" y="0"/>
                  </a:lnTo>
                  <a:lnTo>
                    <a:pt x="1162418" y="0"/>
                  </a:lnTo>
                  <a:lnTo>
                    <a:pt x="1157287" y="0"/>
                  </a:lnTo>
                  <a:lnTo>
                    <a:pt x="1143927" y="0"/>
                  </a:lnTo>
                  <a:lnTo>
                    <a:pt x="1143139" y="787"/>
                  </a:lnTo>
                  <a:lnTo>
                    <a:pt x="1142365" y="0"/>
                  </a:lnTo>
                  <a:lnTo>
                    <a:pt x="1128991" y="0"/>
                  </a:lnTo>
                  <a:lnTo>
                    <a:pt x="1123861" y="0"/>
                  </a:lnTo>
                  <a:lnTo>
                    <a:pt x="1115618" y="0"/>
                  </a:lnTo>
                  <a:lnTo>
                    <a:pt x="1110500" y="0"/>
                  </a:lnTo>
                  <a:lnTo>
                    <a:pt x="1097127" y="0"/>
                  </a:lnTo>
                  <a:lnTo>
                    <a:pt x="1096340" y="787"/>
                  </a:lnTo>
                  <a:lnTo>
                    <a:pt x="1095565" y="0"/>
                  </a:lnTo>
                  <a:lnTo>
                    <a:pt x="1082192" y="0"/>
                  </a:lnTo>
                  <a:lnTo>
                    <a:pt x="1077074" y="0"/>
                  </a:lnTo>
                  <a:lnTo>
                    <a:pt x="1063701" y="0"/>
                  </a:lnTo>
                  <a:lnTo>
                    <a:pt x="1062913" y="787"/>
                  </a:lnTo>
                  <a:lnTo>
                    <a:pt x="1062139" y="0"/>
                  </a:lnTo>
                  <a:lnTo>
                    <a:pt x="1048766" y="0"/>
                  </a:lnTo>
                  <a:lnTo>
                    <a:pt x="1043647" y="0"/>
                  </a:lnTo>
                  <a:lnTo>
                    <a:pt x="1030274" y="0"/>
                  </a:lnTo>
                  <a:lnTo>
                    <a:pt x="1029487" y="787"/>
                  </a:lnTo>
                  <a:lnTo>
                    <a:pt x="1028712" y="0"/>
                  </a:lnTo>
                  <a:lnTo>
                    <a:pt x="1015352" y="0"/>
                  </a:lnTo>
                  <a:lnTo>
                    <a:pt x="1010221" y="0"/>
                  </a:lnTo>
                  <a:lnTo>
                    <a:pt x="996848" y="0"/>
                  </a:lnTo>
                  <a:lnTo>
                    <a:pt x="996061" y="787"/>
                  </a:lnTo>
                  <a:lnTo>
                    <a:pt x="995286" y="0"/>
                  </a:lnTo>
                  <a:lnTo>
                    <a:pt x="981925" y="0"/>
                  </a:lnTo>
                  <a:lnTo>
                    <a:pt x="976795" y="0"/>
                  </a:lnTo>
                  <a:lnTo>
                    <a:pt x="963422" y="0"/>
                  </a:lnTo>
                  <a:lnTo>
                    <a:pt x="962634" y="787"/>
                  </a:lnTo>
                  <a:lnTo>
                    <a:pt x="961859" y="0"/>
                  </a:lnTo>
                  <a:lnTo>
                    <a:pt x="948499" y="0"/>
                  </a:lnTo>
                  <a:lnTo>
                    <a:pt x="943368" y="0"/>
                  </a:lnTo>
                  <a:lnTo>
                    <a:pt x="935126" y="0"/>
                  </a:lnTo>
                  <a:lnTo>
                    <a:pt x="929995" y="0"/>
                  </a:lnTo>
                  <a:lnTo>
                    <a:pt x="916635" y="0"/>
                  </a:lnTo>
                  <a:lnTo>
                    <a:pt x="915847" y="787"/>
                  </a:lnTo>
                  <a:lnTo>
                    <a:pt x="915073" y="0"/>
                  </a:lnTo>
                  <a:lnTo>
                    <a:pt x="901700" y="0"/>
                  </a:lnTo>
                  <a:lnTo>
                    <a:pt x="896581" y="0"/>
                  </a:lnTo>
                  <a:lnTo>
                    <a:pt x="883208" y="0"/>
                  </a:lnTo>
                  <a:lnTo>
                    <a:pt x="882421" y="787"/>
                  </a:lnTo>
                  <a:lnTo>
                    <a:pt x="881646" y="0"/>
                  </a:lnTo>
                  <a:lnTo>
                    <a:pt x="868273" y="0"/>
                  </a:lnTo>
                  <a:lnTo>
                    <a:pt x="863155" y="0"/>
                  </a:lnTo>
                  <a:lnTo>
                    <a:pt x="849782" y="0"/>
                  </a:lnTo>
                  <a:lnTo>
                    <a:pt x="848995" y="787"/>
                  </a:lnTo>
                  <a:lnTo>
                    <a:pt x="848220" y="0"/>
                  </a:lnTo>
                  <a:lnTo>
                    <a:pt x="834847" y="0"/>
                  </a:lnTo>
                  <a:lnTo>
                    <a:pt x="829729" y="0"/>
                  </a:lnTo>
                  <a:lnTo>
                    <a:pt x="816356" y="0"/>
                  </a:lnTo>
                  <a:lnTo>
                    <a:pt x="815568" y="787"/>
                  </a:lnTo>
                  <a:lnTo>
                    <a:pt x="814793" y="0"/>
                  </a:lnTo>
                  <a:lnTo>
                    <a:pt x="801420" y="0"/>
                  </a:lnTo>
                  <a:lnTo>
                    <a:pt x="796302" y="0"/>
                  </a:lnTo>
                  <a:lnTo>
                    <a:pt x="782929" y="0"/>
                  </a:lnTo>
                  <a:lnTo>
                    <a:pt x="782142" y="787"/>
                  </a:lnTo>
                  <a:lnTo>
                    <a:pt x="781367" y="0"/>
                  </a:lnTo>
                  <a:lnTo>
                    <a:pt x="767994" y="0"/>
                  </a:lnTo>
                  <a:lnTo>
                    <a:pt x="762876" y="0"/>
                  </a:lnTo>
                  <a:lnTo>
                    <a:pt x="749503" y="0"/>
                  </a:lnTo>
                  <a:lnTo>
                    <a:pt x="748715" y="787"/>
                  </a:lnTo>
                  <a:lnTo>
                    <a:pt x="747941" y="0"/>
                  </a:lnTo>
                  <a:lnTo>
                    <a:pt x="702703" y="0"/>
                  </a:lnTo>
                  <a:lnTo>
                    <a:pt x="701929" y="787"/>
                  </a:lnTo>
                  <a:lnTo>
                    <a:pt x="701154" y="0"/>
                  </a:lnTo>
                  <a:lnTo>
                    <a:pt x="687781" y="0"/>
                  </a:lnTo>
                  <a:lnTo>
                    <a:pt x="682650" y="0"/>
                  </a:lnTo>
                  <a:lnTo>
                    <a:pt x="669290" y="0"/>
                  </a:lnTo>
                  <a:lnTo>
                    <a:pt x="668502" y="787"/>
                  </a:lnTo>
                  <a:lnTo>
                    <a:pt x="667727" y="0"/>
                  </a:lnTo>
                  <a:lnTo>
                    <a:pt x="654354" y="0"/>
                  </a:lnTo>
                  <a:lnTo>
                    <a:pt x="649224" y="0"/>
                  </a:lnTo>
                  <a:lnTo>
                    <a:pt x="635863" y="0"/>
                  </a:lnTo>
                  <a:lnTo>
                    <a:pt x="635076" y="787"/>
                  </a:lnTo>
                  <a:lnTo>
                    <a:pt x="634301" y="0"/>
                  </a:lnTo>
                  <a:lnTo>
                    <a:pt x="620928" y="0"/>
                  </a:lnTo>
                  <a:lnTo>
                    <a:pt x="615797" y="0"/>
                  </a:lnTo>
                  <a:lnTo>
                    <a:pt x="602437" y="0"/>
                  </a:lnTo>
                  <a:lnTo>
                    <a:pt x="601649" y="787"/>
                  </a:lnTo>
                  <a:lnTo>
                    <a:pt x="600875" y="0"/>
                  </a:lnTo>
                  <a:lnTo>
                    <a:pt x="587502" y="0"/>
                  </a:lnTo>
                  <a:lnTo>
                    <a:pt x="582383" y="0"/>
                  </a:lnTo>
                  <a:lnTo>
                    <a:pt x="569010" y="0"/>
                  </a:lnTo>
                  <a:lnTo>
                    <a:pt x="561543" y="7493"/>
                  </a:lnTo>
                  <a:lnTo>
                    <a:pt x="561543" y="26035"/>
                  </a:lnTo>
                  <a:lnTo>
                    <a:pt x="569010" y="33515"/>
                  </a:lnTo>
                  <a:lnTo>
                    <a:pt x="582383" y="33515"/>
                  </a:lnTo>
                  <a:lnTo>
                    <a:pt x="587502" y="33515"/>
                  </a:lnTo>
                  <a:lnTo>
                    <a:pt x="600875" y="33515"/>
                  </a:lnTo>
                  <a:lnTo>
                    <a:pt x="601649" y="32740"/>
                  </a:lnTo>
                  <a:lnTo>
                    <a:pt x="602437" y="33515"/>
                  </a:lnTo>
                  <a:lnTo>
                    <a:pt x="615797" y="33515"/>
                  </a:lnTo>
                  <a:lnTo>
                    <a:pt x="620928" y="33515"/>
                  </a:lnTo>
                  <a:lnTo>
                    <a:pt x="634301" y="33515"/>
                  </a:lnTo>
                  <a:lnTo>
                    <a:pt x="635076" y="32740"/>
                  </a:lnTo>
                  <a:lnTo>
                    <a:pt x="635863" y="33515"/>
                  </a:lnTo>
                  <a:lnTo>
                    <a:pt x="649224" y="33515"/>
                  </a:lnTo>
                  <a:lnTo>
                    <a:pt x="654354" y="33515"/>
                  </a:lnTo>
                  <a:lnTo>
                    <a:pt x="667727" y="33515"/>
                  </a:lnTo>
                  <a:lnTo>
                    <a:pt x="668502" y="32740"/>
                  </a:lnTo>
                  <a:lnTo>
                    <a:pt x="669290" y="33515"/>
                  </a:lnTo>
                  <a:lnTo>
                    <a:pt x="682650" y="33515"/>
                  </a:lnTo>
                  <a:lnTo>
                    <a:pt x="687781" y="33515"/>
                  </a:lnTo>
                  <a:lnTo>
                    <a:pt x="701154" y="33515"/>
                  </a:lnTo>
                  <a:lnTo>
                    <a:pt x="701929" y="32740"/>
                  </a:lnTo>
                  <a:lnTo>
                    <a:pt x="702703" y="33515"/>
                  </a:lnTo>
                  <a:lnTo>
                    <a:pt x="716076" y="33515"/>
                  </a:lnTo>
                  <a:lnTo>
                    <a:pt x="721207" y="33515"/>
                  </a:lnTo>
                  <a:lnTo>
                    <a:pt x="729449" y="33515"/>
                  </a:lnTo>
                  <a:lnTo>
                    <a:pt x="734580" y="33515"/>
                  </a:lnTo>
                  <a:lnTo>
                    <a:pt x="747941" y="33515"/>
                  </a:lnTo>
                  <a:lnTo>
                    <a:pt x="748715" y="32740"/>
                  </a:lnTo>
                  <a:lnTo>
                    <a:pt x="749503" y="33515"/>
                  </a:lnTo>
                  <a:lnTo>
                    <a:pt x="762876" y="33515"/>
                  </a:lnTo>
                  <a:lnTo>
                    <a:pt x="767994" y="33515"/>
                  </a:lnTo>
                  <a:lnTo>
                    <a:pt x="781367" y="33515"/>
                  </a:lnTo>
                  <a:lnTo>
                    <a:pt x="782142" y="32740"/>
                  </a:lnTo>
                  <a:lnTo>
                    <a:pt x="782929" y="33515"/>
                  </a:lnTo>
                  <a:lnTo>
                    <a:pt x="796302" y="33515"/>
                  </a:lnTo>
                  <a:lnTo>
                    <a:pt x="801420" y="33515"/>
                  </a:lnTo>
                  <a:lnTo>
                    <a:pt x="814793" y="33515"/>
                  </a:lnTo>
                  <a:lnTo>
                    <a:pt x="815568" y="32740"/>
                  </a:lnTo>
                  <a:lnTo>
                    <a:pt x="816356" y="33515"/>
                  </a:lnTo>
                  <a:lnTo>
                    <a:pt x="829729" y="33515"/>
                  </a:lnTo>
                  <a:lnTo>
                    <a:pt x="834847" y="33515"/>
                  </a:lnTo>
                  <a:lnTo>
                    <a:pt x="848220" y="33515"/>
                  </a:lnTo>
                  <a:lnTo>
                    <a:pt x="848995" y="32740"/>
                  </a:lnTo>
                  <a:lnTo>
                    <a:pt x="849782" y="33515"/>
                  </a:lnTo>
                  <a:lnTo>
                    <a:pt x="863155" y="33515"/>
                  </a:lnTo>
                  <a:lnTo>
                    <a:pt x="868273" y="33515"/>
                  </a:lnTo>
                  <a:lnTo>
                    <a:pt x="881646" y="33515"/>
                  </a:lnTo>
                  <a:lnTo>
                    <a:pt x="882421" y="32740"/>
                  </a:lnTo>
                  <a:lnTo>
                    <a:pt x="883208" y="33515"/>
                  </a:lnTo>
                  <a:lnTo>
                    <a:pt x="896581" y="33515"/>
                  </a:lnTo>
                  <a:lnTo>
                    <a:pt x="901700" y="33515"/>
                  </a:lnTo>
                  <a:lnTo>
                    <a:pt x="915073" y="33515"/>
                  </a:lnTo>
                  <a:lnTo>
                    <a:pt x="915847" y="32740"/>
                  </a:lnTo>
                  <a:lnTo>
                    <a:pt x="916635" y="33515"/>
                  </a:lnTo>
                  <a:lnTo>
                    <a:pt x="961859" y="33515"/>
                  </a:lnTo>
                  <a:lnTo>
                    <a:pt x="962634" y="32740"/>
                  </a:lnTo>
                  <a:lnTo>
                    <a:pt x="963422" y="33515"/>
                  </a:lnTo>
                  <a:lnTo>
                    <a:pt x="976795" y="33515"/>
                  </a:lnTo>
                  <a:lnTo>
                    <a:pt x="981925" y="33515"/>
                  </a:lnTo>
                  <a:lnTo>
                    <a:pt x="995286" y="33515"/>
                  </a:lnTo>
                  <a:lnTo>
                    <a:pt x="996061" y="32740"/>
                  </a:lnTo>
                  <a:lnTo>
                    <a:pt x="996848" y="33515"/>
                  </a:lnTo>
                  <a:lnTo>
                    <a:pt x="1010221" y="33515"/>
                  </a:lnTo>
                  <a:lnTo>
                    <a:pt x="1015352" y="33515"/>
                  </a:lnTo>
                  <a:lnTo>
                    <a:pt x="1028712" y="33515"/>
                  </a:lnTo>
                  <a:lnTo>
                    <a:pt x="1029487" y="32740"/>
                  </a:lnTo>
                  <a:lnTo>
                    <a:pt x="1030274" y="33515"/>
                  </a:lnTo>
                  <a:lnTo>
                    <a:pt x="1043647" y="33515"/>
                  </a:lnTo>
                  <a:lnTo>
                    <a:pt x="1048766" y="33515"/>
                  </a:lnTo>
                  <a:lnTo>
                    <a:pt x="1062139" y="33515"/>
                  </a:lnTo>
                  <a:lnTo>
                    <a:pt x="1062913" y="32740"/>
                  </a:lnTo>
                  <a:lnTo>
                    <a:pt x="1063701" y="33515"/>
                  </a:lnTo>
                  <a:lnTo>
                    <a:pt x="1077074" y="33515"/>
                  </a:lnTo>
                  <a:lnTo>
                    <a:pt x="1082192" y="33515"/>
                  </a:lnTo>
                  <a:lnTo>
                    <a:pt x="1095565" y="33515"/>
                  </a:lnTo>
                  <a:lnTo>
                    <a:pt x="1096340" y="32740"/>
                  </a:lnTo>
                  <a:lnTo>
                    <a:pt x="1097127" y="33515"/>
                  </a:lnTo>
                  <a:lnTo>
                    <a:pt x="1110500" y="33515"/>
                  </a:lnTo>
                  <a:lnTo>
                    <a:pt x="1115618" y="33515"/>
                  </a:lnTo>
                  <a:lnTo>
                    <a:pt x="1123861" y="33515"/>
                  </a:lnTo>
                  <a:lnTo>
                    <a:pt x="1128991" y="33515"/>
                  </a:lnTo>
                  <a:lnTo>
                    <a:pt x="1142365" y="33515"/>
                  </a:lnTo>
                  <a:lnTo>
                    <a:pt x="1143139" y="32740"/>
                  </a:lnTo>
                  <a:lnTo>
                    <a:pt x="1143927" y="33515"/>
                  </a:lnTo>
                  <a:lnTo>
                    <a:pt x="1157287" y="33515"/>
                  </a:lnTo>
                  <a:lnTo>
                    <a:pt x="1162418" y="33515"/>
                  </a:lnTo>
                  <a:lnTo>
                    <a:pt x="1175791" y="33515"/>
                  </a:lnTo>
                  <a:lnTo>
                    <a:pt x="1176566" y="32740"/>
                  </a:lnTo>
                  <a:lnTo>
                    <a:pt x="1177353" y="33515"/>
                  </a:lnTo>
                  <a:lnTo>
                    <a:pt x="1190713" y="33515"/>
                  </a:lnTo>
                  <a:lnTo>
                    <a:pt x="1195844" y="33515"/>
                  </a:lnTo>
                  <a:lnTo>
                    <a:pt x="1209217" y="33515"/>
                  </a:lnTo>
                  <a:lnTo>
                    <a:pt x="1209992" y="32740"/>
                  </a:lnTo>
                  <a:lnTo>
                    <a:pt x="1210767" y="33515"/>
                  </a:lnTo>
                  <a:lnTo>
                    <a:pt x="1224140" y="33515"/>
                  </a:lnTo>
                  <a:lnTo>
                    <a:pt x="1229271" y="33515"/>
                  </a:lnTo>
                  <a:lnTo>
                    <a:pt x="1242644" y="33515"/>
                  </a:lnTo>
                  <a:lnTo>
                    <a:pt x="1243418" y="32740"/>
                  </a:lnTo>
                  <a:lnTo>
                    <a:pt x="1244193" y="33515"/>
                  </a:lnTo>
                  <a:lnTo>
                    <a:pt x="1262697" y="33515"/>
                  </a:lnTo>
                  <a:lnTo>
                    <a:pt x="1270152" y="26035"/>
                  </a:lnTo>
                  <a:lnTo>
                    <a:pt x="1270152" y="16764"/>
                  </a:lnTo>
                  <a:lnTo>
                    <a:pt x="1270152" y="7493"/>
                  </a:lnTo>
                  <a:close/>
                </a:path>
              </a:pathLst>
            </a:custGeom>
            <a:solidFill>
              <a:srgbClr val="94373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1" name="object 11"/>
            <p:cNvSpPr/>
            <p:nvPr/>
          </p:nvSpPr>
          <p:spPr>
            <a:xfrm>
              <a:off x="2936443" y="4256176"/>
              <a:ext cx="427990" cy="33655"/>
            </a:xfrm>
            <a:custGeom>
              <a:avLst/>
              <a:gdLst/>
              <a:ahLst/>
              <a:cxnLst/>
              <a:rect l="l" t="t" r="r" b="b"/>
              <a:pathLst>
                <a:path w="427989" h="33654">
                  <a:moveTo>
                    <a:pt x="427837" y="7493"/>
                  </a:moveTo>
                  <a:lnTo>
                    <a:pt x="420370" y="0"/>
                  </a:lnTo>
                  <a:lnTo>
                    <a:pt x="401878" y="0"/>
                  </a:lnTo>
                  <a:lnTo>
                    <a:pt x="401091" y="787"/>
                  </a:lnTo>
                  <a:lnTo>
                    <a:pt x="400316" y="0"/>
                  </a:lnTo>
                  <a:lnTo>
                    <a:pt x="386943" y="0"/>
                  </a:lnTo>
                  <a:lnTo>
                    <a:pt x="381825" y="0"/>
                  </a:lnTo>
                  <a:lnTo>
                    <a:pt x="368452" y="0"/>
                  </a:lnTo>
                  <a:lnTo>
                    <a:pt x="367665" y="787"/>
                  </a:lnTo>
                  <a:lnTo>
                    <a:pt x="366890" y="0"/>
                  </a:lnTo>
                  <a:lnTo>
                    <a:pt x="353517" y="0"/>
                  </a:lnTo>
                  <a:lnTo>
                    <a:pt x="348399" y="0"/>
                  </a:lnTo>
                  <a:lnTo>
                    <a:pt x="335026" y="0"/>
                  </a:lnTo>
                  <a:lnTo>
                    <a:pt x="334238" y="787"/>
                  </a:lnTo>
                  <a:lnTo>
                    <a:pt x="333463" y="0"/>
                  </a:lnTo>
                  <a:lnTo>
                    <a:pt x="320090" y="0"/>
                  </a:lnTo>
                  <a:lnTo>
                    <a:pt x="314972" y="0"/>
                  </a:lnTo>
                  <a:lnTo>
                    <a:pt x="301599" y="0"/>
                  </a:lnTo>
                  <a:lnTo>
                    <a:pt x="300812" y="787"/>
                  </a:lnTo>
                  <a:lnTo>
                    <a:pt x="300037" y="0"/>
                  </a:lnTo>
                  <a:lnTo>
                    <a:pt x="286677" y="0"/>
                  </a:lnTo>
                  <a:lnTo>
                    <a:pt x="281546" y="0"/>
                  </a:lnTo>
                  <a:lnTo>
                    <a:pt x="273304" y="0"/>
                  </a:lnTo>
                  <a:lnTo>
                    <a:pt x="268173" y="0"/>
                  </a:lnTo>
                  <a:lnTo>
                    <a:pt x="254800" y="0"/>
                  </a:lnTo>
                  <a:lnTo>
                    <a:pt x="254025" y="787"/>
                  </a:lnTo>
                  <a:lnTo>
                    <a:pt x="253250" y="0"/>
                  </a:lnTo>
                  <a:lnTo>
                    <a:pt x="239877" y="0"/>
                  </a:lnTo>
                  <a:lnTo>
                    <a:pt x="234746" y="0"/>
                  </a:lnTo>
                  <a:lnTo>
                    <a:pt x="221386" y="0"/>
                  </a:lnTo>
                  <a:lnTo>
                    <a:pt x="220599" y="787"/>
                  </a:lnTo>
                  <a:lnTo>
                    <a:pt x="219824" y="0"/>
                  </a:lnTo>
                  <a:lnTo>
                    <a:pt x="206451" y="0"/>
                  </a:lnTo>
                  <a:lnTo>
                    <a:pt x="201320" y="0"/>
                  </a:lnTo>
                  <a:lnTo>
                    <a:pt x="187960" y="0"/>
                  </a:lnTo>
                  <a:lnTo>
                    <a:pt x="187172" y="787"/>
                  </a:lnTo>
                  <a:lnTo>
                    <a:pt x="186397" y="0"/>
                  </a:lnTo>
                  <a:lnTo>
                    <a:pt x="173024" y="0"/>
                  </a:lnTo>
                  <a:lnTo>
                    <a:pt x="167894" y="0"/>
                  </a:lnTo>
                  <a:lnTo>
                    <a:pt x="154533" y="0"/>
                  </a:lnTo>
                  <a:lnTo>
                    <a:pt x="153746" y="787"/>
                  </a:lnTo>
                  <a:lnTo>
                    <a:pt x="152971" y="0"/>
                  </a:lnTo>
                  <a:lnTo>
                    <a:pt x="139598" y="0"/>
                  </a:lnTo>
                  <a:lnTo>
                    <a:pt x="134480" y="0"/>
                  </a:lnTo>
                  <a:lnTo>
                    <a:pt x="121107" y="0"/>
                  </a:lnTo>
                  <a:lnTo>
                    <a:pt x="120319" y="787"/>
                  </a:lnTo>
                  <a:lnTo>
                    <a:pt x="119545" y="0"/>
                  </a:lnTo>
                  <a:lnTo>
                    <a:pt x="106172" y="0"/>
                  </a:lnTo>
                  <a:lnTo>
                    <a:pt x="101053" y="0"/>
                  </a:lnTo>
                  <a:lnTo>
                    <a:pt x="92798" y="0"/>
                  </a:lnTo>
                  <a:lnTo>
                    <a:pt x="87680" y="0"/>
                  </a:lnTo>
                  <a:lnTo>
                    <a:pt x="74307" y="0"/>
                  </a:lnTo>
                  <a:lnTo>
                    <a:pt x="73520" y="787"/>
                  </a:lnTo>
                  <a:lnTo>
                    <a:pt x="72745" y="0"/>
                  </a:lnTo>
                  <a:lnTo>
                    <a:pt x="59385" y="0"/>
                  </a:lnTo>
                  <a:lnTo>
                    <a:pt x="54254" y="0"/>
                  </a:lnTo>
                  <a:lnTo>
                    <a:pt x="40881" y="0"/>
                  </a:lnTo>
                  <a:lnTo>
                    <a:pt x="40093" y="787"/>
                  </a:lnTo>
                  <a:lnTo>
                    <a:pt x="39319" y="0"/>
                  </a:lnTo>
                  <a:lnTo>
                    <a:pt x="25958" y="0"/>
                  </a:lnTo>
                  <a:lnTo>
                    <a:pt x="20828" y="0"/>
                  </a:lnTo>
                  <a:lnTo>
                    <a:pt x="7454" y="0"/>
                  </a:lnTo>
                  <a:lnTo>
                    <a:pt x="0" y="7493"/>
                  </a:lnTo>
                  <a:lnTo>
                    <a:pt x="0" y="26035"/>
                  </a:lnTo>
                  <a:lnTo>
                    <a:pt x="7454" y="33515"/>
                  </a:lnTo>
                  <a:lnTo>
                    <a:pt x="20828" y="33515"/>
                  </a:lnTo>
                  <a:lnTo>
                    <a:pt x="25958" y="33515"/>
                  </a:lnTo>
                  <a:lnTo>
                    <a:pt x="39319" y="33515"/>
                  </a:lnTo>
                  <a:lnTo>
                    <a:pt x="40093" y="32740"/>
                  </a:lnTo>
                  <a:lnTo>
                    <a:pt x="40881" y="33515"/>
                  </a:lnTo>
                  <a:lnTo>
                    <a:pt x="54254" y="33515"/>
                  </a:lnTo>
                  <a:lnTo>
                    <a:pt x="59385" y="33515"/>
                  </a:lnTo>
                  <a:lnTo>
                    <a:pt x="72745" y="33515"/>
                  </a:lnTo>
                  <a:lnTo>
                    <a:pt x="73520" y="32740"/>
                  </a:lnTo>
                  <a:lnTo>
                    <a:pt x="74307" y="33515"/>
                  </a:lnTo>
                  <a:lnTo>
                    <a:pt x="87680" y="33515"/>
                  </a:lnTo>
                  <a:lnTo>
                    <a:pt x="92798" y="33515"/>
                  </a:lnTo>
                  <a:lnTo>
                    <a:pt x="101053" y="33515"/>
                  </a:lnTo>
                  <a:lnTo>
                    <a:pt x="106172" y="33515"/>
                  </a:lnTo>
                  <a:lnTo>
                    <a:pt x="119545" y="33515"/>
                  </a:lnTo>
                  <a:lnTo>
                    <a:pt x="120319" y="32740"/>
                  </a:lnTo>
                  <a:lnTo>
                    <a:pt x="121107" y="33515"/>
                  </a:lnTo>
                  <a:lnTo>
                    <a:pt x="134480" y="33515"/>
                  </a:lnTo>
                  <a:lnTo>
                    <a:pt x="139598" y="33515"/>
                  </a:lnTo>
                  <a:lnTo>
                    <a:pt x="152971" y="33515"/>
                  </a:lnTo>
                  <a:lnTo>
                    <a:pt x="153746" y="32740"/>
                  </a:lnTo>
                  <a:lnTo>
                    <a:pt x="154533" y="33515"/>
                  </a:lnTo>
                  <a:lnTo>
                    <a:pt x="167894" y="33515"/>
                  </a:lnTo>
                  <a:lnTo>
                    <a:pt x="173024" y="33515"/>
                  </a:lnTo>
                  <a:lnTo>
                    <a:pt x="186397" y="33515"/>
                  </a:lnTo>
                  <a:lnTo>
                    <a:pt x="187172" y="32740"/>
                  </a:lnTo>
                  <a:lnTo>
                    <a:pt x="187960" y="33515"/>
                  </a:lnTo>
                  <a:lnTo>
                    <a:pt x="201320" y="33515"/>
                  </a:lnTo>
                  <a:lnTo>
                    <a:pt x="206451" y="33515"/>
                  </a:lnTo>
                  <a:lnTo>
                    <a:pt x="219824" y="33515"/>
                  </a:lnTo>
                  <a:lnTo>
                    <a:pt x="220599" y="32740"/>
                  </a:lnTo>
                  <a:lnTo>
                    <a:pt x="221386" y="33515"/>
                  </a:lnTo>
                  <a:lnTo>
                    <a:pt x="234746" y="33515"/>
                  </a:lnTo>
                  <a:lnTo>
                    <a:pt x="239877" y="33515"/>
                  </a:lnTo>
                  <a:lnTo>
                    <a:pt x="253250" y="33515"/>
                  </a:lnTo>
                  <a:lnTo>
                    <a:pt x="254025" y="32740"/>
                  </a:lnTo>
                  <a:lnTo>
                    <a:pt x="254800" y="33515"/>
                  </a:lnTo>
                  <a:lnTo>
                    <a:pt x="268173" y="33515"/>
                  </a:lnTo>
                  <a:lnTo>
                    <a:pt x="273304" y="33515"/>
                  </a:lnTo>
                  <a:lnTo>
                    <a:pt x="281546" y="33515"/>
                  </a:lnTo>
                  <a:lnTo>
                    <a:pt x="286677" y="33515"/>
                  </a:lnTo>
                  <a:lnTo>
                    <a:pt x="300037" y="33515"/>
                  </a:lnTo>
                  <a:lnTo>
                    <a:pt x="300812" y="32740"/>
                  </a:lnTo>
                  <a:lnTo>
                    <a:pt x="301599" y="33515"/>
                  </a:lnTo>
                  <a:lnTo>
                    <a:pt x="314972" y="33515"/>
                  </a:lnTo>
                  <a:lnTo>
                    <a:pt x="320090" y="33515"/>
                  </a:lnTo>
                  <a:lnTo>
                    <a:pt x="333463" y="33515"/>
                  </a:lnTo>
                  <a:lnTo>
                    <a:pt x="334238" y="32740"/>
                  </a:lnTo>
                  <a:lnTo>
                    <a:pt x="335026" y="33515"/>
                  </a:lnTo>
                  <a:lnTo>
                    <a:pt x="348399" y="33515"/>
                  </a:lnTo>
                  <a:lnTo>
                    <a:pt x="353517" y="33515"/>
                  </a:lnTo>
                  <a:lnTo>
                    <a:pt x="366890" y="33515"/>
                  </a:lnTo>
                  <a:lnTo>
                    <a:pt x="367665" y="32740"/>
                  </a:lnTo>
                  <a:lnTo>
                    <a:pt x="368452" y="33515"/>
                  </a:lnTo>
                  <a:lnTo>
                    <a:pt x="381825" y="33515"/>
                  </a:lnTo>
                  <a:lnTo>
                    <a:pt x="386943" y="33515"/>
                  </a:lnTo>
                  <a:lnTo>
                    <a:pt x="400316" y="33515"/>
                  </a:lnTo>
                  <a:lnTo>
                    <a:pt x="401091" y="32740"/>
                  </a:lnTo>
                  <a:lnTo>
                    <a:pt x="401878" y="33515"/>
                  </a:lnTo>
                  <a:lnTo>
                    <a:pt x="420370" y="33515"/>
                  </a:lnTo>
                  <a:lnTo>
                    <a:pt x="427837" y="26035"/>
                  </a:lnTo>
                  <a:lnTo>
                    <a:pt x="427837" y="16764"/>
                  </a:lnTo>
                  <a:lnTo>
                    <a:pt x="427837" y="7493"/>
                  </a:lnTo>
                  <a:close/>
                </a:path>
              </a:pathLst>
            </a:custGeom>
            <a:solidFill>
              <a:srgbClr val="94373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2" name="object 12"/>
            <p:cNvSpPr/>
            <p:nvPr/>
          </p:nvSpPr>
          <p:spPr>
            <a:xfrm>
              <a:off x="4290164" y="3910991"/>
              <a:ext cx="1678305" cy="730885"/>
            </a:xfrm>
            <a:custGeom>
              <a:avLst/>
              <a:gdLst/>
              <a:ahLst/>
              <a:cxnLst/>
              <a:rect l="l" t="t" r="r" b="b"/>
              <a:pathLst>
                <a:path w="1678304" h="730885">
                  <a:moveTo>
                    <a:pt x="33425" y="730576"/>
                  </a:moveTo>
                  <a:lnTo>
                    <a:pt x="1677945" y="730576"/>
                  </a:lnTo>
                </a:path>
                <a:path w="1678304" h="730885">
                  <a:moveTo>
                    <a:pt x="33425" y="549607"/>
                  </a:moveTo>
                  <a:lnTo>
                    <a:pt x="1677945" y="549607"/>
                  </a:lnTo>
                </a:path>
                <a:path w="1678304" h="730885">
                  <a:moveTo>
                    <a:pt x="33425" y="180968"/>
                  </a:moveTo>
                  <a:lnTo>
                    <a:pt x="1677945" y="180968"/>
                  </a:lnTo>
                </a:path>
                <a:path w="1678304" h="730885">
                  <a:moveTo>
                    <a:pt x="33425" y="0"/>
                  </a:moveTo>
                  <a:lnTo>
                    <a:pt x="1677945" y="0"/>
                  </a:lnTo>
                </a:path>
                <a:path w="1678304" h="730885">
                  <a:moveTo>
                    <a:pt x="33425" y="730576"/>
                  </a:moveTo>
                  <a:lnTo>
                    <a:pt x="33425" y="0"/>
                  </a:lnTo>
                </a:path>
                <a:path w="1678304" h="730885">
                  <a:moveTo>
                    <a:pt x="0" y="730576"/>
                  </a:moveTo>
                  <a:lnTo>
                    <a:pt x="33425" y="730576"/>
                  </a:lnTo>
                </a:path>
                <a:path w="1678304" h="730885">
                  <a:moveTo>
                    <a:pt x="0" y="549607"/>
                  </a:moveTo>
                  <a:lnTo>
                    <a:pt x="33425" y="549607"/>
                  </a:lnTo>
                </a:path>
                <a:path w="1678304" h="730885">
                  <a:moveTo>
                    <a:pt x="0" y="368639"/>
                  </a:moveTo>
                  <a:lnTo>
                    <a:pt x="33425" y="368639"/>
                  </a:lnTo>
                </a:path>
                <a:path w="1678304" h="730885">
                  <a:moveTo>
                    <a:pt x="0" y="180968"/>
                  </a:moveTo>
                  <a:lnTo>
                    <a:pt x="33425" y="180968"/>
                  </a:lnTo>
                </a:path>
                <a:path w="1678304" h="730885">
                  <a:moveTo>
                    <a:pt x="0" y="0"/>
                  </a:moveTo>
                  <a:lnTo>
                    <a:pt x="33425" y="0"/>
                  </a:lnTo>
                </a:path>
                <a:path w="1678304" h="730885">
                  <a:moveTo>
                    <a:pt x="33425" y="368639"/>
                  </a:moveTo>
                  <a:lnTo>
                    <a:pt x="1677945" y="368639"/>
                  </a:lnTo>
                </a:path>
              </a:pathLst>
            </a:custGeom>
            <a:ln w="6700">
              <a:solidFill>
                <a:srgbClr val="85858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3" name="object 13"/>
            <p:cNvSpPr/>
            <p:nvPr/>
          </p:nvSpPr>
          <p:spPr>
            <a:xfrm>
              <a:off x="4320235" y="4222660"/>
              <a:ext cx="1270635" cy="67310"/>
            </a:xfrm>
            <a:custGeom>
              <a:avLst/>
              <a:gdLst/>
              <a:ahLst/>
              <a:cxnLst/>
              <a:rect l="l" t="t" r="r" b="b"/>
              <a:pathLst>
                <a:path w="1270635" h="67310">
                  <a:moveTo>
                    <a:pt x="494703" y="41008"/>
                  </a:moveTo>
                  <a:lnTo>
                    <a:pt x="487235" y="33515"/>
                  </a:lnTo>
                  <a:lnTo>
                    <a:pt x="473862" y="33515"/>
                  </a:lnTo>
                  <a:lnTo>
                    <a:pt x="468744" y="33515"/>
                  </a:lnTo>
                  <a:lnTo>
                    <a:pt x="455371" y="33515"/>
                  </a:lnTo>
                  <a:lnTo>
                    <a:pt x="454583" y="34302"/>
                  </a:lnTo>
                  <a:lnTo>
                    <a:pt x="453809" y="33515"/>
                  </a:lnTo>
                  <a:lnTo>
                    <a:pt x="440436" y="33515"/>
                  </a:lnTo>
                  <a:lnTo>
                    <a:pt x="435317" y="33515"/>
                  </a:lnTo>
                  <a:lnTo>
                    <a:pt x="421944" y="33515"/>
                  </a:lnTo>
                  <a:lnTo>
                    <a:pt x="421157" y="34302"/>
                  </a:lnTo>
                  <a:lnTo>
                    <a:pt x="420382" y="33515"/>
                  </a:lnTo>
                  <a:lnTo>
                    <a:pt x="407009" y="33515"/>
                  </a:lnTo>
                  <a:lnTo>
                    <a:pt x="401891" y="33515"/>
                  </a:lnTo>
                  <a:lnTo>
                    <a:pt x="388518" y="33515"/>
                  </a:lnTo>
                  <a:lnTo>
                    <a:pt x="387731" y="34302"/>
                  </a:lnTo>
                  <a:lnTo>
                    <a:pt x="386956" y="33515"/>
                  </a:lnTo>
                  <a:lnTo>
                    <a:pt x="373583" y="33515"/>
                  </a:lnTo>
                  <a:lnTo>
                    <a:pt x="368465" y="33515"/>
                  </a:lnTo>
                  <a:lnTo>
                    <a:pt x="355092" y="33515"/>
                  </a:lnTo>
                  <a:lnTo>
                    <a:pt x="354304" y="34302"/>
                  </a:lnTo>
                  <a:lnTo>
                    <a:pt x="353529" y="33515"/>
                  </a:lnTo>
                  <a:lnTo>
                    <a:pt x="340169" y="33515"/>
                  </a:lnTo>
                  <a:lnTo>
                    <a:pt x="335038" y="33515"/>
                  </a:lnTo>
                  <a:lnTo>
                    <a:pt x="326796" y="33515"/>
                  </a:lnTo>
                  <a:lnTo>
                    <a:pt x="321665" y="33515"/>
                  </a:lnTo>
                  <a:lnTo>
                    <a:pt x="308292" y="33515"/>
                  </a:lnTo>
                  <a:lnTo>
                    <a:pt x="307517" y="34302"/>
                  </a:lnTo>
                  <a:lnTo>
                    <a:pt x="306743" y="33515"/>
                  </a:lnTo>
                  <a:lnTo>
                    <a:pt x="293370" y="33515"/>
                  </a:lnTo>
                  <a:lnTo>
                    <a:pt x="288239" y="33515"/>
                  </a:lnTo>
                  <a:lnTo>
                    <a:pt x="274878" y="33515"/>
                  </a:lnTo>
                  <a:lnTo>
                    <a:pt x="274091" y="34302"/>
                  </a:lnTo>
                  <a:lnTo>
                    <a:pt x="273316" y="33515"/>
                  </a:lnTo>
                  <a:lnTo>
                    <a:pt x="259943" y="33515"/>
                  </a:lnTo>
                  <a:lnTo>
                    <a:pt x="254812" y="33515"/>
                  </a:lnTo>
                  <a:lnTo>
                    <a:pt x="241452" y="33515"/>
                  </a:lnTo>
                  <a:lnTo>
                    <a:pt x="240665" y="34302"/>
                  </a:lnTo>
                  <a:lnTo>
                    <a:pt x="239890" y="33515"/>
                  </a:lnTo>
                  <a:lnTo>
                    <a:pt x="226517" y="33515"/>
                  </a:lnTo>
                  <a:lnTo>
                    <a:pt x="221386" y="33515"/>
                  </a:lnTo>
                  <a:lnTo>
                    <a:pt x="208026" y="33515"/>
                  </a:lnTo>
                  <a:lnTo>
                    <a:pt x="207238" y="34302"/>
                  </a:lnTo>
                  <a:lnTo>
                    <a:pt x="206463" y="33515"/>
                  </a:lnTo>
                  <a:lnTo>
                    <a:pt x="193090" y="33515"/>
                  </a:lnTo>
                  <a:lnTo>
                    <a:pt x="187972" y="33515"/>
                  </a:lnTo>
                  <a:lnTo>
                    <a:pt x="174599" y="33515"/>
                  </a:lnTo>
                  <a:lnTo>
                    <a:pt x="173812" y="34302"/>
                  </a:lnTo>
                  <a:lnTo>
                    <a:pt x="173037" y="33515"/>
                  </a:lnTo>
                  <a:lnTo>
                    <a:pt x="159664" y="33515"/>
                  </a:lnTo>
                  <a:lnTo>
                    <a:pt x="154546" y="33515"/>
                  </a:lnTo>
                  <a:lnTo>
                    <a:pt x="146291" y="33515"/>
                  </a:lnTo>
                  <a:lnTo>
                    <a:pt x="141173" y="33515"/>
                  </a:lnTo>
                  <a:lnTo>
                    <a:pt x="127800" y="33515"/>
                  </a:lnTo>
                  <a:lnTo>
                    <a:pt x="127012" y="34302"/>
                  </a:lnTo>
                  <a:lnTo>
                    <a:pt x="126238" y="33515"/>
                  </a:lnTo>
                  <a:lnTo>
                    <a:pt x="112877" y="33515"/>
                  </a:lnTo>
                  <a:lnTo>
                    <a:pt x="107746" y="33515"/>
                  </a:lnTo>
                  <a:lnTo>
                    <a:pt x="94373" y="33515"/>
                  </a:lnTo>
                  <a:lnTo>
                    <a:pt x="93586" y="34302"/>
                  </a:lnTo>
                  <a:lnTo>
                    <a:pt x="92811" y="33515"/>
                  </a:lnTo>
                  <a:lnTo>
                    <a:pt x="79451" y="33515"/>
                  </a:lnTo>
                  <a:lnTo>
                    <a:pt x="74320" y="33515"/>
                  </a:lnTo>
                  <a:lnTo>
                    <a:pt x="60947" y="33515"/>
                  </a:lnTo>
                  <a:lnTo>
                    <a:pt x="60159" y="34302"/>
                  </a:lnTo>
                  <a:lnTo>
                    <a:pt x="59385" y="33515"/>
                  </a:lnTo>
                  <a:lnTo>
                    <a:pt x="46024" y="33515"/>
                  </a:lnTo>
                  <a:lnTo>
                    <a:pt x="40894" y="33515"/>
                  </a:lnTo>
                  <a:lnTo>
                    <a:pt x="27520" y="33515"/>
                  </a:lnTo>
                  <a:lnTo>
                    <a:pt x="26746" y="34302"/>
                  </a:lnTo>
                  <a:lnTo>
                    <a:pt x="25971" y="33515"/>
                  </a:lnTo>
                  <a:lnTo>
                    <a:pt x="7467" y="33515"/>
                  </a:lnTo>
                  <a:lnTo>
                    <a:pt x="0" y="41008"/>
                  </a:lnTo>
                  <a:lnTo>
                    <a:pt x="0" y="59550"/>
                  </a:lnTo>
                  <a:lnTo>
                    <a:pt x="7467" y="67030"/>
                  </a:lnTo>
                  <a:lnTo>
                    <a:pt x="25971" y="67030"/>
                  </a:lnTo>
                  <a:lnTo>
                    <a:pt x="26746" y="66255"/>
                  </a:lnTo>
                  <a:lnTo>
                    <a:pt x="27520" y="67030"/>
                  </a:lnTo>
                  <a:lnTo>
                    <a:pt x="40894" y="67030"/>
                  </a:lnTo>
                  <a:lnTo>
                    <a:pt x="46024" y="67030"/>
                  </a:lnTo>
                  <a:lnTo>
                    <a:pt x="59385" y="67030"/>
                  </a:lnTo>
                  <a:lnTo>
                    <a:pt x="60159" y="66255"/>
                  </a:lnTo>
                  <a:lnTo>
                    <a:pt x="60947" y="67030"/>
                  </a:lnTo>
                  <a:lnTo>
                    <a:pt x="74320" y="67030"/>
                  </a:lnTo>
                  <a:lnTo>
                    <a:pt x="79451" y="67030"/>
                  </a:lnTo>
                  <a:lnTo>
                    <a:pt x="92811" y="67030"/>
                  </a:lnTo>
                  <a:lnTo>
                    <a:pt x="93586" y="66255"/>
                  </a:lnTo>
                  <a:lnTo>
                    <a:pt x="94373" y="67030"/>
                  </a:lnTo>
                  <a:lnTo>
                    <a:pt x="107746" y="67030"/>
                  </a:lnTo>
                  <a:lnTo>
                    <a:pt x="112877" y="67030"/>
                  </a:lnTo>
                  <a:lnTo>
                    <a:pt x="126238" y="67030"/>
                  </a:lnTo>
                  <a:lnTo>
                    <a:pt x="127012" y="66255"/>
                  </a:lnTo>
                  <a:lnTo>
                    <a:pt x="127800" y="67030"/>
                  </a:lnTo>
                  <a:lnTo>
                    <a:pt x="141173" y="67030"/>
                  </a:lnTo>
                  <a:lnTo>
                    <a:pt x="146291" y="67030"/>
                  </a:lnTo>
                  <a:lnTo>
                    <a:pt x="154546" y="67030"/>
                  </a:lnTo>
                  <a:lnTo>
                    <a:pt x="159664" y="67030"/>
                  </a:lnTo>
                  <a:lnTo>
                    <a:pt x="173037" y="67030"/>
                  </a:lnTo>
                  <a:lnTo>
                    <a:pt x="173812" y="66255"/>
                  </a:lnTo>
                  <a:lnTo>
                    <a:pt x="174599" y="67030"/>
                  </a:lnTo>
                  <a:lnTo>
                    <a:pt x="187972" y="67030"/>
                  </a:lnTo>
                  <a:lnTo>
                    <a:pt x="193090" y="67030"/>
                  </a:lnTo>
                  <a:lnTo>
                    <a:pt x="206463" y="67030"/>
                  </a:lnTo>
                  <a:lnTo>
                    <a:pt x="207238" y="66255"/>
                  </a:lnTo>
                  <a:lnTo>
                    <a:pt x="208026" y="67030"/>
                  </a:lnTo>
                  <a:lnTo>
                    <a:pt x="221386" y="67030"/>
                  </a:lnTo>
                  <a:lnTo>
                    <a:pt x="226517" y="67030"/>
                  </a:lnTo>
                  <a:lnTo>
                    <a:pt x="239890" y="67030"/>
                  </a:lnTo>
                  <a:lnTo>
                    <a:pt x="240665" y="66255"/>
                  </a:lnTo>
                  <a:lnTo>
                    <a:pt x="241452" y="67030"/>
                  </a:lnTo>
                  <a:lnTo>
                    <a:pt x="254812" y="67030"/>
                  </a:lnTo>
                  <a:lnTo>
                    <a:pt x="259943" y="67030"/>
                  </a:lnTo>
                  <a:lnTo>
                    <a:pt x="273316" y="67030"/>
                  </a:lnTo>
                  <a:lnTo>
                    <a:pt x="274091" y="66255"/>
                  </a:lnTo>
                  <a:lnTo>
                    <a:pt x="274878" y="67030"/>
                  </a:lnTo>
                  <a:lnTo>
                    <a:pt x="288239" y="67030"/>
                  </a:lnTo>
                  <a:lnTo>
                    <a:pt x="293370" y="67030"/>
                  </a:lnTo>
                  <a:lnTo>
                    <a:pt x="306743" y="67030"/>
                  </a:lnTo>
                  <a:lnTo>
                    <a:pt x="307517" y="66255"/>
                  </a:lnTo>
                  <a:lnTo>
                    <a:pt x="308292" y="67030"/>
                  </a:lnTo>
                  <a:lnTo>
                    <a:pt x="321665" y="67030"/>
                  </a:lnTo>
                  <a:lnTo>
                    <a:pt x="326796" y="67030"/>
                  </a:lnTo>
                  <a:lnTo>
                    <a:pt x="335038" y="67030"/>
                  </a:lnTo>
                  <a:lnTo>
                    <a:pt x="340169" y="67030"/>
                  </a:lnTo>
                  <a:lnTo>
                    <a:pt x="353529" y="67030"/>
                  </a:lnTo>
                  <a:lnTo>
                    <a:pt x="354304" y="66255"/>
                  </a:lnTo>
                  <a:lnTo>
                    <a:pt x="355092" y="67030"/>
                  </a:lnTo>
                  <a:lnTo>
                    <a:pt x="368465" y="67030"/>
                  </a:lnTo>
                  <a:lnTo>
                    <a:pt x="373583" y="67030"/>
                  </a:lnTo>
                  <a:lnTo>
                    <a:pt x="386956" y="67030"/>
                  </a:lnTo>
                  <a:lnTo>
                    <a:pt x="387731" y="66255"/>
                  </a:lnTo>
                  <a:lnTo>
                    <a:pt x="388518" y="67030"/>
                  </a:lnTo>
                  <a:lnTo>
                    <a:pt x="401891" y="67030"/>
                  </a:lnTo>
                  <a:lnTo>
                    <a:pt x="407009" y="67030"/>
                  </a:lnTo>
                  <a:lnTo>
                    <a:pt x="420382" y="67030"/>
                  </a:lnTo>
                  <a:lnTo>
                    <a:pt x="421157" y="66255"/>
                  </a:lnTo>
                  <a:lnTo>
                    <a:pt x="421944" y="67030"/>
                  </a:lnTo>
                  <a:lnTo>
                    <a:pt x="435317" y="67030"/>
                  </a:lnTo>
                  <a:lnTo>
                    <a:pt x="440436" y="67030"/>
                  </a:lnTo>
                  <a:lnTo>
                    <a:pt x="453809" y="67030"/>
                  </a:lnTo>
                  <a:lnTo>
                    <a:pt x="454583" y="66255"/>
                  </a:lnTo>
                  <a:lnTo>
                    <a:pt x="455371" y="67030"/>
                  </a:lnTo>
                  <a:lnTo>
                    <a:pt x="468744" y="67030"/>
                  </a:lnTo>
                  <a:lnTo>
                    <a:pt x="473862" y="67030"/>
                  </a:lnTo>
                  <a:lnTo>
                    <a:pt x="487235" y="67030"/>
                  </a:lnTo>
                  <a:lnTo>
                    <a:pt x="494703" y="59550"/>
                  </a:lnTo>
                  <a:lnTo>
                    <a:pt x="494703" y="50279"/>
                  </a:lnTo>
                  <a:lnTo>
                    <a:pt x="494703" y="41008"/>
                  </a:lnTo>
                  <a:close/>
                </a:path>
                <a:path w="1270635" h="67310">
                  <a:moveTo>
                    <a:pt x="1270165" y="7493"/>
                  </a:moveTo>
                  <a:lnTo>
                    <a:pt x="1262697" y="0"/>
                  </a:lnTo>
                  <a:lnTo>
                    <a:pt x="1244206" y="0"/>
                  </a:lnTo>
                  <a:lnTo>
                    <a:pt x="1243418" y="787"/>
                  </a:lnTo>
                  <a:lnTo>
                    <a:pt x="1242644" y="0"/>
                  </a:lnTo>
                  <a:lnTo>
                    <a:pt x="1229271" y="0"/>
                  </a:lnTo>
                  <a:lnTo>
                    <a:pt x="1224153" y="0"/>
                  </a:lnTo>
                  <a:lnTo>
                    <a:pt x="1210779" y="0"/>
                  </a:lnTo>
                  <a:lnTo>
                    <a:pt x="1209992" y="787"/>
                  </a:lnTo>
                  <a:lnTo>
                    <a:pt x="1209217" y="0"/>
                  </a:lnTo>
                  <a:lnTo>
                    <a:pt x="1195844" y="0"/>
                  </a:lnTo>
                  <a:lnTo>
                    <a:pt x="1190726" y="0"/>
                  </a:lnTo>
                  <a:lnTo>
                    <a:pt x="1177353" y="0"/>
                  </a:lnTo>
                  <a:lnTo>
                    <a:pt x="1176566" y="787"/>
                  </a:lnTo>
                  <a:lnTo>
                    <a:pt x="1175791" y="0"/>
                  </a:lnTo>
                  <a:lnTo>
                    <a:pt x="1157300" y="0"/>
                  </a:lnTo>
                  <a:lnTo>
                    <a:pt x="1149832" y="7493"/>
                  </a:lnTo>
                  <a:lnTo>
                    <a:pt x="1149832" y="26035"/>
                  </a:lnTo>
                  <a:lnTo>
                    <a:pt x="1157300" y="33515"/>
                  </a:lnTo>
                  <a:lnTo>
                    <a:pt x="1143927" y="33515"/>
                  </a:lnTo>
                  <a:lnTo>
                    <a:pt x="1143139" y="34302"/>
                  </a:lnTo>
                  <a:lnTo>
                    <a:pt x="1142365" y="33515"/>
                  </a:lnTo>
                  <a:lnTo>
                    <a:pt x="1129004" y="33515"/>
                  </a:lnTo>
                  <a:lnTo>
                    <a:pt x="1123873" y="33515"/>
                  </a:lnTo>
                  <a:lnTo>
                    <a:pt x="1115631" y="33515"/>
                  </a:lnTo>
                  <a:lnTo>
                    <a:pt x="1110500" y="33515"/>
                  </a:lnTo>
                  <a:lnTo>
                    <a:pt x="1097127" y="33515"/>
                  </a:lnTo>
                  <a:lnTo>
                    <a:pt x="1096352" y="34302"/>
                  </a:lnTo>
                  <a:lnTo>
                    <a:pt x="1095578" y="33515"/>
                  </a:lnTo>
                  <a:lnTo>
                    <a:pt x="1082205" y="33515"/>
                  </a:lnTo>
                  <a:lnTo>
                    <a:pt x="1077074" y="33515"/>
                  </a:lnTo>
                  <a:lnTo>
                    <a:pt x="1063713" y="33515"/>
                  </a:lnTo>
                  <a:lnTo>
                    <a:pt x="1062926" y="34302"/>
                  </a:lnTo>
                  <a:lnTo>
                    <a:pt x="1062151" y="33515"/>
                  </a:lnTo>
                  <a:lnTo>
                    <a:pt x="1048778" y="33515"/>
                  </a:lnTo>
                  <a:lnTo>
                    <a:pt x="1043647" y="33515"/>
                  </a:lnTo>
                  <a:lnTo>
                    <a:pt x="1030287" y="33515"/>
                  </a:lnTo>
                  <a:lnTo>
                    <a:pt x="1029500" y="34302"/>
                  </a:lnTo>
                  <a:lnTo>
                    <a:pt x="1028725" y="33515"/>
                  </a:lnTo>
                  <a:lnTo>
                    <a:pt x="1015352" y="33515"/>
                  </a:lnTo>
                  <a:lnTo>
                    <a:pt x="1010221" y="33515"/>
                  </a:lnTo>
                  <a:lnTo>
                    <a:pt x="996861" y="33515"/>
                  </a:lnTo>
                  <a:lnTo>
                    <a:pt x="996073" y="34302"/>
                  </a:lnTo>
                  <a:lnTo>
                    <a:pt x="995299" y="33515"/>
                  </a:lnTo>
                  <a:lnTo>
                    <a:pt x="981925" y="33515"/>
                  </a:lnTo>
                  <a:lnTo>
                    <a:pt x="976807" y="33515"/>
                  </a:lnTo>
                  <a:lnTo>
                    <a:pt x="963434" y="33515"/>
                  </a:lnTo>
                  <a:lnTo>
                    <a:pt x="962647" y="34302"/>
                  </a:lnTo>
                  <a:lnTo>
                    <a:pt x="961872" y="33515"/>
                  </a:lnTo>
                  <a:lnTo>
                    <a:pt x="948499" y="33515"/>
                  </a:lnTo>
                  <a:lnTo>
                    <a:pt x="943381" y="33515"/>
                  </a:lnTo>
                  <a:lnTo>
                    <a:pt x="935126" y="33515"/>
                  </a:lnTo>
                  <a:lnTo>
                    <a:pt x="930008" y="33515"/>
                  </a:lnTo>
                  <a:lnTo>
                    <a:pt x="916635" y="33515"/>
                  </a:lnTo>
                  <a:lnTo>
                    <a:pt x="915847" y="34302"/>
                  </a:lnTo>
                  <a:lnTo>
                    <a:pt x="915073" y="33515"/>
                  </a:lnTo>
                  <a:lnTo>
                    <a:pt x="901712" y="33515"/>
                  </a:lnTo>
                  <a:lnTo>
                    <a:pt x="896581" y="33515"/>
                  </a:lnTo>
                  <a:lnTo>
                    <a:pt x="883208" y="33515"/>
                  </a:lnTo>
                  <a:lnTo>
                    <a:pt x="882421" y="34302"/>
                  </a:lnTo>
                  <a:lnTo>
                    <a:pt x="881646" y="33515"/>
                  </a:lnTo>
                  <a:lnTo>
                    <a:pt x="868286" y="33515"/>
                  </a:lnTo>
                  <a:lnTo>
                    <a:pt x="863155" y="33515"/>
                  </a:lnTo>
                  <a:lnTo>
                    <a:pt x="849782" y="33515"/>
                  </a:lnTo>
                  <a:lnTo>
                    <a:pt x="848995" y="34302"/>
                  </a:lnTo>
                  <a:lnTo>
                    <a:pt x="848220" y="33515"/>
                  </a:lnTo>
                  <a:lnTo>
                    <a:pt x="834859" y="33515"/>
                  </a:lnTo>
                  <a:lnTo>
                    <a:pt x="829729" y="33515"/>
                  </a:lnTo>
                  <a:lnTo>
                    <a:pt x="816356" y="33515"/>
                  </a:lnTo>
                  <a:lnTo>
                    <a:pt x="815581" y="34302"/>
                  </a:lnTo>
                  <a:lnTo>
                    <a:pt x="814806" y="33515"/>
                  </a:lnTo>
                  <a:lnTo>
                    <a:pt x="801433" y="33515"/>
                  </a:lnTo>
                  <a:lnTo>
                    <a:pt x="796302" y="33515"/>
                  </a:lnTo>
                  <a:lnTo>
                    <a:pt x="782942" y="33515"/>
                  </a:lnTo>
                  <a:lnTo>
                    <a:pt x="782154" y="34302"/>
                  </a:lnTo>
                  <a:lnTo>
                    <a:pt x="781380" y="33515"/>
                  </a:lnTo>
                  <a:lnTo>
                    <a:pt x="768007" y="33515"/>
                  </a:lnTo>
                  <a:lnTo>
                    <a:pt x="762876" y="33515"/>
                  </a:lnTo>
                  <a:lnTo>
                    <a:pt x="749515" y="33515"/>
                  </a:lnTo>
                  <a:lnTo>
                    <a:pt x="748728" y="34302"/>
                  </a:lnTo>
                  <a:lnTo>
                    <a:pt x="747953" y="33515"/>
                  </a:lnTo>
                  <a:lnTo>
                    <a:pt x="702716" y="33515"/>
                  </a:lnTo>
                  <a:lnTo>
                    <a:pt x="701929" y="34302"/>
                  </a:lnTo>
                  <a:lnTo>
                    <a:pt x="701154" y="33515"/>
                  </a:lnTo>
                  <a:lnTo>
                    <a:pt x="687781" y="33515"/>
                  </a:lnTo>
                  <a:lnTo>
                    <a:pt x="682663" y="33515"/>
                  </a:lnTo>
                  <a:lnTo>
                    <a:pt x="669290" y="33515"/>
                  </a:lnTo>
                  <a:lnTo>
                    <a:pt x="668502" y="34302"/>
                  </a:lnTo>
                  <a:lnTo>
                    <a:pt x="667727" y="33515"/>
                  </a:lnTo>
                  <a:lnTo>
                    <a:pt x="654354" y="33515"/>
                  </a:lnTo>
                  <a:lnTo>
                    <a:pt x="649236" y="33515"/>
                  </a:lnTo>
                  <a:lnTo>
                    <a:pt x="635863" y="33515"/>
                  </a:lnTo>
                  <a:lnTo>
                    <a:pt x="635076" y="34302"/>
                  </a:lnTo>
                  <a:lnTo>
                    <a:pt x="634301" y="33515"/>
                  </a:lnTo>
                  <a:lnTo>
                    <a:pt x="620941" y="33515"/>
                  </a:lnTo>
                  <a:lnTo>
                    <a:pt x="615810" y="33515"/>
                  </a:lnTo>
                  <a:lnTo>
                    <a:pt x="602437" y="33515"/>
                  </a:lnTo>
                  <a:lnTo>
                    <a:pt x="601649" y="34302"/>
                  </a:lnTo>
                  <a:lnTo>
                    <a:pt x="600875" y="33515"/>
                  </a:lnTo>
                  <a:lnTo>
                    <a:pt x="587514" y="33515"/>
                  </a:lnTo>
                  <a:lnTo>
                    <a:pt x="582383" y="33515"/>
                  </a:lnTo>
                  <a:lnTo>
                    <a:pt x="569010" y="33515"/>
                  </a:lnTo>
                  <a:lnTo>
                    <a:pt x="561555" y="41008"/>
                  </a:lnTo>
                  <a:lnTo>
                    <a:pt x="561555" y="59550"/>
                  </a:lnTo>
                  <a:lnTo>
                    <a:pt x="569010" y="67030"/>
                  </a:lnTo>
                  <a:lnTo>
                    <a:pt x="582383" y="67030"/>
                  </a:lnTo>
                  <a:lnTo>
                    <a:pt x="587514" y="67030"/>
                  </a:lnTo>
                  <a:lnTo>
                    <a:pt x="600875" y="67030"/>
                  </a:lnTo>
                  <a:lnTo>
                    <a:pt x="601649" y="66255"/>
                  </a:lnTo>
                  <a:lnTo>
                    <a:pt x="602437" y="67030"/>
                  </a:lnTo>
                  <a:lnTo>
                    <a:pt x="615810" y="67030"/>
                  </a:lnTo>
                  <a:lnTo>
                    <a:pt x="620941" y="67030"/>
                  </a:lnTo>
                  <a:lnTo>
                    <a:pt x="634301" y="67030"/>
                  </a:lnTo>
                  <a:lnTo>
                    <a:pt x="635076" y="66255"/>
                  </a:lnTo>
                  <a:lnTo>
                    <a:pt x="635863" y="67030"/>
                  </a:lnTo>
                  <a:lnTo>
                    <a:pt x="649236" y="67030"/>
                  </a:lnTo>
                  <a:lnTo>
                    <a:pt x="654354" y="67030"/>
                  </a:lnTo>
                  <a:lnTo>
                    <a:pt x="667727" y="67030"/>
                  </a:lnTo>
                  <a:lnTo>
                    <a:pt x="668502" y="66255"/>
                  </a:lnTo>
                  <a:lnTo>
                    <a:pt x="669290" y="67030"/>
                  </a:lnTo>
                  <a:lnTo>
                    <a:pt x="682663" y="67030"/>
                  </a:lnTo>
                  <a:lnTo>
                    <a:pt x="687781" y="67030"/>
                  </a:lnTo>
                  <a:lnTo>
                    <a:pt x="701154" y="67030"/>
                  </a:lnTo>
                  <a:lnTo>
                    <a:pt x="701929" y="66255"/>
                  </a:lnTo>
                  <a:lnTo>
                    <a:pt x="702716" y="67030"/>
                  </a:lnTo>
                  <a:lnTo>
                    <a:pt x="716089" y="67030"/>
                  </a:lnTo>
                  <a:lnTo>
                    <a:pt x="721207" y="67030"/>
                  </a:lnTo>
                  <a:lnTo>
                    <a:pt x="729449" y="67030"/>
                  </a:lnTo>
                  <a:lnTo>
                    <a:pt x="734580" y="67030"/>
                  </a:lnTo>
                  <a:lnTo>
                    <a:pt x="747953" y="67030"/>
                  </a:lnTo>
                  <a:lnTo>
                    <a:pt x="748728" y="66255"/>
                  </a:lnTo>
                  <a:lnTo>
                    <a:pt x="749515" y="67030"/>
                  </a:lnTo>
                  <a:lnTo>
                    <a:pt x="762876" y="67030"/>
                  </a:lnTo>
                  <a:lnTo>
                    <a:pt x="768007" y="67030"/>
                  </a:lnTo>
                  <a:lnTo>
                    <a:pt x="781380" y="67030"/>
                  </a:lnTo>
                  <a:lnTo>
                    <a:pt x="782154" y="66255"/>
                  </a:lnTo>
                  <a:lnTo>
                    <a:pt x="782942" y="67030"/>
                  </a:lnTo>
                  <a:lnTo>
                    <a:pt x="796302" y="67030"/>
                  </a:lnTo>
                  <a:lnTo>
                    <a:pt x="801433" y="67030"/>
                  </a:lnTo>
                  <a:lnTo>
                    <a:pt x="814806" y="67030"/>
                  </a:lnTo>
                  <a:lnTo>
                    <a:pt x="815581" y="66255"/>
                  </a:lnTo>
                  <a:lnTo>
                    <a:pt x="816356" y="67030"/>
                  </a:lnTo>
                  <a:lnTo>
                    <a:pt x="829729" y="67030"/>
                  </a:lnTo>
                  <a:lnTo>
                    <a:pt x="834859" y="67030"/>
                  </a:lnTo>
                  <a:lnTo>
                    <a:pt x="848220" y="67030"/>
                  </a:lnTo>
                  <a:lnTo>
                    <a:pt x="848995" y="66255"/>
                  </a:lnTo>
                  <a:lnTo>
                    <a:pt x="849782" y="67030"/>
                  </a:lnTo>
                  <a:lnTo>
                    <a:pt x="863155" y="67030"/>
                  </a:lnTo>
                  <a:lnTo>
                    <a:pt x="868286" y="67030"/>
                  </a:lnTo>
                  <a:lnTo>
                    <a:pt x="881646" y="67030"/>
                  </a:lnTo>
                  <a:lnTo>
                    <a:pt x="882421" y="66255"/>
                  </a:lnTo>
                  <a:lnTo>
                    <a:pt x="883208" y="67030"/>
                  </a:lnTo>
                  <a:lnTo>
                    <a:pt x="896581" y="67030"/>
                  </a:lnTo>
                  <a:lnTo>
                    <a:pt x="901712" y="67030"/>
                  </a:lnTo>
                  <a:lnTo>
                    <a:pt x="915073" y="67030"/>
                  </a:lnTo>
                  <a:lnTo>
                    <a:pt x="915847" y="66255"/>
                  </a:lnTo>
                  <a:lnTo>
                    <a:pt x="916635" y="67030"/>
                  </a:lnTo>
                  <a:lnTo>
                    <a:pt x="961872" y="67030"/>
                  </a:lnTo>
                  <a:lnTo>
                    <a:pt x="962647" y="66255"/>
                  </a:lnTo>
                  <a:lnTo>
                    <a:pt x="963434" y="67030"/>
                  </a:lnTo>
                  <a:lnTo>
                    <a:pt x="976807" y="67030"/>
                  </a:lnTo>
                  <a:lnTo>
                    <a:pt x="981925" y="67030"/>
                  </a:lnTo>
                  <a:lnTo>
                    <a:pt x="995299" y="67030"/>
                  </a:lnTo>
                  <a:lnTo>
                    <a:pt x="996073" y="66255"/>
                  </a:lnTo>
                  <a:lnTo>
                    <a:pt x="996861" y="67030"/>
                  </a:lnTo>
                  <a:lnTo>
                    <a:pt x="1010221" y="67030"/>
                  </a:lnTo>
                  <a:lnTo>
                    <a:pt x="1015352" y="67030"/>
                  </a:lnTo>
                  <a:lnTo>
                    <a:pt x="1028725" y="67030"/>
                  </a:lnTo>
                  <a:lnTo>
                    <a:pt x="1029500" y="66255"/>
                  </a:lnTo>
                  <a:lnTo>
                    <a:pt x="1030287" y="67030"/>
                  </a:lnTo>
                  <a:lnTo>
                    <a:pt x="1043647" y="67030"/>
                  </a:lnTo>
                  <a:lnTo>
                    <a:pt x="1048778" y="67030"/>
                  </a:lnTo>
                  <a:lnTo>
                    <a:pt x="1062151" y="67030"/>
                  </a:lnTo>
                  <a:lnTo>
                    <a:pt x="1062926" y="66255"/>
                  </a:lnTo>
                  <a:lnTo>
                    <a:pt x="1063713" y="67030"/>
                  </a:lnTo>
                  <a:lnTo>
                    <a:pt x="1077074" y="67030"/>
                  </a:lnTo>
                  <a:lnTo>
                    <a:pt x="1082205" y="67030"/>
                  </a:lnTo>
                  <a:lnTo>
                    <a:pt x="1095578" y="67030"/>
                  </a:lnTo>
                  <a:lnTo>
                    <a:pt x="1096352" y="66255"/>
                  </a:lnTo>
                  <a:lnTo>
                    <a:pt x="1097127" y="67030"/>
                  </a:lnTo>
                  <a:lnTo>
                    <a:pt x="1110500" y="67030"/>
                  </a:lnTo>
                  <a:lnTo>
                    <a:pt x="1115631" y="67030"/>
                  </a:lnTo>
                  <a:lnTo>
                    <a:pt x="1123873" y="67030"/>
                  </a:lnTo>
                  <a:lnTo>
                    <a:pt x="1129004" y="67030"/>
                  </a:lnTo>
                  <a:lnTo>
                    <a:pt x="1142365" y="67030"/>
                  </a:lnTo>
                  <a:lnTo>
                    <a:pt x="1143139" y="66255"/>
                  </a:lnTo>
                  <a:lnTo>
                    <a:pt x="1143927" y="67030"/>
                  </a:lnTo>
                  <a:lnTo>
                    <a:pt x="1162418" y="67030"/>
                  </a:lnTo>
                  <a:lnTo>
                    <a:pt x="1169885" y="59550"/>
                  </a:lnTo>
                  <a:lnTo>
                    <a:pt x="1169885" y="50279"/>
                  </a:lnTo>
                  <a:lnTo>
                    <a:pt x="1169885" y="41008"/>
                  </a:lnTo>
                  <a:lnTo>
                    <a:pt x="1162418" y="33515"/>
                  </a:lnTo>
                  <a:lnTo>
                    <a:pt x="1175791" y="33515"/>
                  </a:lnTo>
                  <a:lnTo>
                    <a:pt x="1176566" y="32740"/>
                  </a:lnTo>
                  <a:lnTo>
                    <a:pt x="1177353" y="33515"/>
                  </a:lnTo>
                  <a:lnTo>
                    <a:pt x="1190726" y="33515"/>
                  </a:lnTo>
                  <a:lnTo>
                    <a:pt x="1195844" y="33515"/>
                  </a:lnTo>
                  <a:lnTo>
                    <a:pt x="1209217" y="33515"/>
                  </a:lnTo>
                  <a:lnTo>
                    <a:pt x="1209992" y="32740"/>
                  </a:lnTo>
                  <a:lnTo>
                    <a:pt x="1210779" y="33515"/>
                  </a:lnTo>
                  <a:lnTo>
                    <a:pt x="1224153" y="33515"/>
                  </a:lnTo>
                  <a:lnTo>
                    <a:pt x="1229271" y="33515"/>
                  </a:lnTo>
                  <a:lnTo>
                    <a:pt x="1242644" y="33515"/>
                  </a:lnTo>
                  <a:lnTo>
                    <a:pt x="1243418" y="32740"/>
                  </a:lnTo>
                  <a:lnTo>
                    <a:pt x="1244206" y="33515"/>
                  </a:lnTo>
                  <a:lnTo>
                    <a:pt x="1262697" y="33515"/>
                  </a:lnTo>
                  <a:lnTo>
                    <a:pt x="1270165" y="26035"/>
                  </a:lnTo>
                  <a:lnTo>
                    <a:pt x="1270165" y="16764"/>
                  </a:lnTo>
                  <a:lnTo>
                    <a:pt x="1270165" y="7493"/>
                  </a:lnTo>
                  <a:close/>
                </a:path>
              </a:pathLst>
            </a:custGeom>
            <a:solidFill>
              <a:srgbClr val="94373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4" name="object 14"/>
            <p:cNvSpPr/>
            <p:nvPr/>
          </p:nvSpPr>
          <p:spPr>
            <a:xfrm>
              <a:off x="5556973" y="4222660"/>
              <a:ext cx="427990" cy="67310"/>
            </a:xfrm>
            <a:custGeom>
              <a:avLst/>
              <a:gdLst/>
              <a:ahLst/>
              <a:cxnLst/>
              <a:rect l="l" t="t" r="r" b="b"/>
              <a:pathLst>
                <a:path w="427989" h="67310">
                  <a:moveTo>
                    <a:pt x="260718" y="7493"/>
                  </a:moveTo>
                  <a:lnTo>
                    <a:pt x="253250" y="0"/>
                  </a:lnTo>
                  <a:lnTo>
                    <a:pt x="239877" y="0"/>
                  </a:lnTo>
                  <a:lnTo>
                    <a:pt x="234759" y="0"/>
                  </a:lnTo>
                  <a:lnTo>
                    <a:pt x="221386" y="0"/>
                  </a:lnTo>
                  <a:lnTo>
                    <a:pt x="220599" y="787"/>
                  </a:lnTo>
                  <a:lnTo>
                    <a:pt x="219824" y="0"/>
                  </a:lnTo>
                  <a:lnTo>
                    <a:pt x="206451" y="0"/>
                  </a:lnTo>
                  <a:lnTo>
                    <a:pt x="201333" y="0"/>
                  </a:lnTo>
                  <a:lnTo>
                    <a:pt x="187960" y="0"/>
                  </a:lnTo>
                  <a:lnTo>
                    <a:pt x="187172" y="787"/>
                  </a:lnTo>
                  <a:lnTo>
                    <a:pt x="186397" y="0"/>
                  </a:lnTo>
                  <a:lnTo>
                    <a:pt x="173037" y="0"/>
                  </a:lnTo>
                  <a:lnTo>
                    <a:pt x="167906" y="0"/>
                  </a:lnTo>
                  <a:lnTo>
                    <a:pt x="154533" y="0"/>
                  </a:lnTo>
                  <a:lnTo>
                    <a:pt x="153746" y="787"/>
                  </a:lnTo>
                  <a:lnTo>
                    <a:pt x="152971" y="0"/>
                  </a:lnTo>
                  <a:lnTo>
                    <a:pt x="139611" y="0"/>
                  </a:lnTo>
                  <a:lnTo>
                    <a:pt x="134480" y="0"/>
                  </a:lnTo>
                  <a:lnTo>
                    <a:pt x="121107" y="0"/>
                  </a:lnTo>
                  <a:lnTo>
                    <a:pt x="120319" y="787"/>
                  </a:lnTo>
                  <a:lnTo>
                    <a:pt x="119545" y="0"/>
                  </a:lnTo>
                  <a:lnTo>
                    <a:pt x="106184" y="0"/>
                  </a:lnTo>
                  <a:lnTo>
                    <a:pt x="101053" y="0"/>
                  </a:lnTo>
                  <a:lnTo>
                    <a:pt x="92811" y="0"/>
                  </a:lnTo>
                  <a:lnTo>
                    <a:pt x="87680" y="0"/>
                  </a:lnTo>
                  <a:lnTo>
                    <a:pt x="74320" y="0"/>
                  </a:lnTo>
                  <a:lnTo>
                    <a:pt x="73533" y="787"/>
                  </a:lnTo>
                  <a:lnTo>
                    <a:pt x="72758" y="0"/>
                  </a:lnTo>
                  <a:lnTo>
                    <a:pt x="59385" y="0"/>
                  </a:lnTo>
                  <a:lnTo>
                    <a:pt x="54254" y="0"/>
                  </a:lnTo>
                  <a:lnTo>
                    <a:pt x="40894" y="0"/>
                  </a:lnTo>
                  <a:lnTo>
                    <a:pt x="40106" y="787"/>
                  </a:lnTo>
                  <a:lnTo>
                    <a:pt x="39331" y="0"/>
                  </a:lnTo>
                  <a:lnTo>
                    <a:pt x="25958" y="0"/>
                  </a:lnTo>
                  <a:lnTo>
                    <a:pt x="20840" y="0"/>
                  </a:lnTo>
                  <a:lnTo>
                    <a:pt x="7467" y="0"/>
                  </a:lnTo>
                  <a:lnTo>
                    <a:pt x="0" y="7493"/>
                  </a:lnTo>
                  <a:lnTo>
                    <a:pt x="0" y="26035"/>
                  </a:lnTo>
                  <a:lnTo>
                    <a:pt x="7467" y="33515"/>
                  </a:lnTo>
                  <a:lnTo>
                    <a:pt x="20840" y="33515"/>
                  </a:lnTo>
                  <a:lnTo>
                    <a:pt x="25958" y="33515"/>
                  </a:lnTo>
                  <a:lnTo>
                    <a:pt x="39331" y="33515"/>
                  </a:lnTo>
                  <a:lnTo>
                    <a:pt x="40106" y="32740"/>
                  </a:lnTo>
                  <a:lnTo>
                    <a:pt x="40894" y="33515"/>
                  </a:lnTo>
                  <a:lnTo>
                    <a:pt x="54254" y="33515"/>
                  </a:lnTo>
                  <a:lnTo>
                    <a:pt x="59385" y="33515"/>
                  </a:lnTo>
                  <a:lnTo>
                    <a:pt x="72758" y="33515"/>
                  </a:lnTo>
                  <a:lnTo>
                    <a:pt x="73533" y="32740"/>
                  </a:lnTo>
                  <a:lnTo>
                    <a:pt x="74320" y="33515"/>
                  </a:lnTo>
                  <a:lnTo>
                    <a:pt x="87680" y="33515"/>
                  </a:lnTo>
                  <a:lnTo>
                    <a:pt x="92811" y="33515"/>
                  </a:lnTo>
                  <a:lnTo>
                    <a:pt x="101053" y="33515"/>
                  </a:lnTo>
                  <a:lnTo>
                    <a:pt x="106184" y="33515"/>
                  </a:lnTo>
                  <a:lnTo>
                    <a:pt x="119545" y="33515"/>
                  </a:lnTo>
                  <a:lnTo>
                    <a:pt x="120319" y="32740"/>
                  </a:lnTo>
                  <a:lnTo>
                    <a:pt x="121107" y="33515"/>
                  </a:lnTo>
                  <a:lnTo>
                    <a:pt x="134480" y="33515"/>
                  </a:lnTo>
                  <a:lnTo>
                    <a:pt x="139611" y="33515"/>
                  </a:lnTo>
                  <a:lnTo>
                    <a:pt x="152971" y="33515"/>
                  </a:lnTo>
                  <a:lnTo>
                    <a:pt x="153746" y="32740"/>
                  </a:lnTo>
                  <a:lnTo>
                    <a:pt x="154533" y="33515"/>
                  </a:lnTo>
                  <a:lnTo>
                    <a:pt x="167906" y="33515"/>
                  </a:lnTo>
                  <a:lnTo>
                    <a:pt x="173037" y="33515"/>
                  </a:lnTo>
                  <a:lnTo>
                    <a:pt x="186397" y="33515"/>
                  </a:lnTo>
                  <a:lnTo>
                    <a:pt x="187172" y="32740"/>
                  </a:lnTo>
                  <a:lnTo>
                    <a:pt x="187960" y="33515"/>
                  </a:lnTo>
                  <a:lnTo>
                    <a:pt x="201333" y="33515"/>
                  </a:lnTo>
                  <a:lnTo>
                    <a:pt x="206451" y="33515"/>
                  </a:lnTo>
                  <a:lnTo>
                    <a:pt x="219824" y="33515"/>
                  </a:lnTo>
                  <a:lnTo>
                    <a:pt x="220599" y="32740"/>
                  </a:lnTo>
                  <a:lnTo>
                    <a:pt x="221386" y="33515"/>
                  </a:lnTo>
                  <a:lnTo>
                    <a:pt x="234759" y="33515"/>
                  </a:lnTo>
                  <a:lnTo>
                    <a:pt x="239877" y="33515"/>
                  </a:lnTo>
                  <a:lnTo>
                    <a:pt x="253250" y="33515"/>
                  </a:lnTo>
                  <a:lnTo>
                    <a:pt x="260718" y="26035"/>
                  </a:lnTo>
                  <a:lnTo>
                    <a:pt x="260718" y="16764"/>
                  </a:lnTo>
                  <a:lnTo>
                    <a:pt x="260718" y="7493"/>
                  </a:lnTo>
                  <a:close/>
                </a:path>
                <a:path w="427989" h="67310">
                  <a:moveTo>
                    <a:pt x="427837" y="41008"/>
                  </a:moveTo>
                  <a:lnTo>
                    <a:pt x="420382" y="33515"/>
                  </a:lnTo>
                  <a:lnTo>
                    <a:pt x="401878" y="33515"/>
                  </a:lnTo>
                  <a:lnTo>
                    <a:pt x="401091" y="34302"/>
                  </a:lnTo>
                  <a:lnTo>
                    <a:pt x="400316" y="33515"/>
                  </a:lnTo>
                  <a:lnTo>
                    <a:pt x="386956" y="33515"/>
                  </a:lnTo>
                  <a:lnTo>
                    <a:pt x="381825" y="33515"/>
                  </a:lnTo>
                  <a:lnTo>
                    <a:pt x="368452" y="33515"/>
                  </a:lnTo>
                  <a:lnTo>
                    <a:pt x="367677" y="34302"/>
                  </a:lnTo>
                  <a:lnTo>
                    <a:pt x="366903" y="33515"/>
                  </a:lnTo>
                  <a:lnTo>
                    <a:pt x="353529" y="33515"/>
                  </a:lnTo>
                  <a:lnTo>
                    <a:pt x="348399" y="33515"/>
                  </a:lnTo>
                  <a:lnTo>
                    <a:pt x="335038" y="33515"/>
                  </a:lnTo>
                  <a:lnTo>
                    <a:pt x="334251" y="34302"/>
                  </a:lnTo>
                  <a:lnTo>
                    <a:pt x="333476" y="33515"/>
                  </a:lnTo>
                  <a:lnTo>
                    <a:pt x="320103" y="33515"/>
                  </a:lnTo>
                  <a:lnTo>
                    <a:pt x="314972" y="33515"/>
                  </a:lnTo>
                  <a:lnTo>
                    <a:pt x="301612" y="33515"/>
                  </a:lnTo>
                  <a:lnTo>
                    <a:pt x="300824" y="34302"/>
                  </a:lnTo>
                  <a:lnTo>
                    <a:pt x="300050" y="33515"/>
                  </a:lnTo>
                  <a:lnTo>
                    <a:pt x="286677" y="33515"/>
                  </a:lnTo>
                  <a:lnTo>
                    <a:pt x="281546" y="33515"/>
                  </a:lnTo>
                  <a:lnTo>
                    <a:pt x="273304" y="33515"/>
                  </a:lnTo>
                  <a:lnTo>
                    <a:pt x="268185" y="33515"/>
                  </a:lnTo>
                  <a:lnTo>
                    <a:pt x="254812" y="33515"/>
                  </a:lnTo>
                  <a:lnTo>
                    <a:pt x="247345" y="41008"/>
                  </a:lnTo>
                  <a:lnTo>
                    <a:pt x="247345" y="59550"/>
                  </a:lnTo>
                  <a:lnTo>
                    <a:pt x="254812" y="67030"/>
                  </a:lnTo>
                  <a:lnTo>
                    <a:pt x="268185" y="67030"/>
                  </a:lnTo>
                  <a:lnTo>
                    <a:pt x="273304" y="67030"/>
                  </a:lnTo>
                  <a:lnTo>
                    <a:pt x="281546" y="67030"/>
                  </a:lnTo>
                  <a:lnTo>
                    <a:pt x="286677" y="67030"/>
                  </a:lnTo>
                  <a:lnTo>
                    <a:pt x="300050" y="67030"/>
                  </a:lnTo>
                  <a:lnTo>
                    <a:pt x="300824" y="66255"/>
                  </a:lnTo>
                  <a:lnTo>
                    <a:pt x="301612" y="67030"/>
                  </a:lnTo>
                  <a:lnTo>
                    <a:pt x="314972" y="67030"/>
                  </a:lnTo>
                  <a:lnTo>
                    <a:pt x="320103" y="67030"/>
                  </a:lnTo>
                  <a:lnTo>
                    <a:pt x="333476" y="67030"/>
                  </a:lnTo>
                  <a:lnTo>
                    <a:pt x="334251" y="66255"/>
                  </a:lnTo>
                  <a:lnTo>
                    <a:pt x="335038" y="67030"/>
                  </a:lnTo>
                  <a:lnTo>
                    <a:pt x="348399" y="67030"/>
                  </a:lnTo>
                  <a:lnTo>
                    <a:pt x="353529" y="67030"/>
                  </a:lnTo>
                  <a:lnTo>
                    <a:pt x="366903" y="67030"/>
                  </a:lnTo>
                  <a:lnTo>
                    <a:pt x="367677" y="66255"/>
                  </a:lnTo>
                  <a:lnTo>
                    <a:pt x="368452" y="67030"/>
                  </a:lnTo>
                  <a:lnTo>
                    <a:pt x="381825" y="67030"/>
                  </a:lnTo>
                  <a:lnTo>
                    <a:pt x="386956" y="67030"/>
                  </a:lnTo>
                  <a:lnTo>
                    <a:pt x="400316" y="67030"/>
                  </a:lnTo>
                  <a:lnTo>
                    <a:pt x="401091" y="66255"/>
                  </a:lnTo>
                  <a:lnTo>
                    <a:pt x="401878" y="67030"/>
                  </a:lnTo>
                  <a:lnTo>
                    <a:pt x="420382" y="67030"/>
                  </a:lnTo>
                  <a:lnTo>
                    <a:pt x="427837" y="59550"/>
                  </a:lnTo>
                  <a:lnTo>
                    <a:pt x="427837" y="50279"/>
                  </a:lnTo>
                  <a:lnTo>
                    <a:pt x="427837" y="41008"/>
                  </a:lnTo>
                  <a:close/>
                </a:path>
              </a:pathLst>
            </a:custGeom>
            <a:solidFill>
              <a:srgbClr val="94373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5" name="object 15"/>
            <p:cNvSpPr/>
            <p:nvPr/>
          </p:nvSpPr>
          <p:spPr>
            <a:xfrm>
              <a:off x="6904016" y="3910991"/>
              <a:ext cx="1678305" cy="730885"/>
            </a:xfrm>
            <a:custGeom>
              <a:avLst/>
              <a:gdLst/>
              <a:ahLst/>
              <a:cxnLst/>
              <a:rect l="l" t="t" r="r" b="b"/>
              <a:pathLst>
                <a:path w="1678304" h="730885">
                  <a:moveTo>
                    <a:pt x="33425" y="730576"/>
                  </a:moveTo>
                  <a:lnTo>
                    <a:pt x="1677945" y="730576"/>
                  </a:lnTo>
                </a:path>
                <a:path w="1678304" h="730885">
                  <a:moveTo>
                    <a:pt x="33425" y="549607"/>
                  </a:moveTo>
                  <a:lnTo>
                    <a:pt x="1677945" y="549607"/>
                  </a:lnTo>
                </a:path>
                <a:path w="1678304" h="730885">
                  <a:moveTo>
                    <a:pt x="33425" y="180968"/>
                  </a:moveTo>
                  <a:lnTo>
                    <a:pt x="1677945" y="180968"/>
                  </a:lnTo>
                </a:path>
                <a:path w="1678304" h="730885">
                  <a:moveTo>
                    <a:pt x="33425" y="0"/>
                  </a:moveTo>
                  <a:lnTo>
                    <a:pt x="1677945" y="0"/>
                  </a:lnTo>
                </a:path>
                <a:path w="1678304" h="730885">
                  <a:moveTo>
                    <a:pt x="33425" y="730576"/>
                  </a:moveTo>
                  <a:lnTo>
                    <a:pt x="33425" y="0"/>
                  </a:lnTo>
                </a:path>
                <a:path w="1678304" h="730885">
                  <a:moveTo>
                    <a:pt x="0" y="730576"/>
                  </a:moveTo>
                  <a:lnTo>
                    <a:pt x="33425" y="730576"/>
                  </a:lnTo>
                </a:path>
                <a:path w="1678304" h="730885">
                  <a:moveTo>
                    <a:pt x="0" y="549607"/>
                  </a:moveTo>
                  <a:lnTo>
                    <a:pt x="33425" y="549607"/>
                  </a:lnTo>
                </a:path>
                <a:path w="1678304" h="730885">
                  <a:moveTo>
                    <a:pt x="0" y="368639"/>
                  </a:moveTo>
                  <a:lnTo>
                    <a:pt x="33425" y="368639"/>
                  </a:lnTo>
                </a:path>
                <a:path w="1678304" h="730885">
                  <a:moveTo>
                    <a:pt x="0" y="180968"/>
                  </a:moveTo>
                  <a:lnTo>
                    <a:pt x="33425" y="180968"/>
                  </a:lnTo>
                </a:path>
                <a:path w="1678304" h="730885">
                  <a:moveTo>
                    <a:pt x="0" y="0"/>
                  </a:moveTo>
                  <a:lnTo>
                    <a:pt x="33425" y="0"/>
                  </a:lnTo>
                </a:path>
                <a:path w="1678304" h="730885">
                  <a:moveTo>
                    <a:pt x="33425" y="368639"/>
                  </a:moveTo>
                  <a:lnTo>
                    <a:pt x="1677945" y="368639"/>
                  </a:lnTo>
                </a:path>
              </a:pathLst>
            </a:custGeom>
            <a:ln w="6700">
              <a:solidFill>
                <a:srgbClr val="85858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6" name="object 16"/>
            <p:cNvSpPr/>
            <p:nvPr/>
          </p:nvSpPr>
          <p:spPr>
            <a:xfrm>
              <a:off x="6934098" y="4256176"/>
              <a:ext cx="1270635" cy="67310"/>
            </a:xfrm>
            <a:custGeom>
              <a:avLst/>
              <a:gdLst/>
              <a:ahLst/>
              <a:cxnLst/>
              <a:rect l="l" t="t" r="r" b="b"/>
              <a:pathLst>
                <a:path w="1270634" h="67310">
                  <a:moveTo>
                    <a:pt x="494690" y="7493"/>
                  </a:moveTo>
                  <a:lnTo>
                    <a:pt x="487222" y="0"/>
                  </a:lnTo>
                  <a:lnTo>
                    <a:pt x="473849" y="0"/>
                  </a:lnTo>
                  <a:lnTo>
                    <a:pt x="468731" y="0"/>
                  </a:lnTo>
                  <a:lnTo>
                    <a:pt x="455358" y="0"/>
                  </a:lnTo>
                  <a:lnTo>
                    <a:pt x="454571" y="787"/>
                  </a:lnTo>
                  <a:lnTo>
                    <a:pt x="453796" y="0"/>
                  </a:lnTo>
                  <a:lnTo>
                    <a:pt x="440423" y="0"/>
                  </a:lnTo>
                  <a:lnTo>
                    <a:pt x="435305" y="0"/>
                  </a:lnTo>
                  <a:lnTo>
                    <a:pt x="421932" y="0"/>
                  </a:lnTo>
                  <a:lnTo>
                    <a:pt x="421144" y="787"/>
                  </a:lnTo>
                  <a:lnTo>
                    <a:pt x="420370" y="0"/>
                  </a:lnTo>
                  <a:lnTo>
                    <a:pt x="406996" y="0"/>
                  </a:lnTo>
                  <a:lnTo>
                    <a:pt x="401878" y="0"/>
                  </a:lnTo>
                  <a:lnTo>
                    <a:pt x="388505" y="0"/>
                  </a:lnTo>
                  <a:lnTo>
                    <a:pt x="387718" y="787"/>
                  </a:lnTo>
                  <a:lnTo>
                    <a:pt x="386943" y="0"/>
                  </a:lnTo>
                  <a:lnTo>
                    <a:pt x="373583" y="0"/>
                  </a:lnTo>
                  <a:lnTo>
                    <a:pt x="368452" y="0"/>
                  </a:lnTo>
                  <a:lnTo>
                    <a:pt x="355079" y="0"/>
                  </a:lnTo>
                  <a:lnTo>
                    <a:pt x="354291" y="787"/>
                  </a:lnTo>
                  <a:lnTo>
                    <a:pt x="353517" y="0"/>
                  </a:lnTo>
                  <a:lnTo>
                    <a:pt x="340156" y="0"/>
                  </a:lnTo>
                  <a:lnTo>
                    <a:pt x="335026" y="0"/>
                  </a:lnTo>
                  <a:lnTo>
                    <a:pt x="326783" y="0"/>
                  </a:lnTo>
                  <a:lnTo>
                    <a:pt x="321652" y="0"/>
                  </a:lnTo>
                  <a:lnTo>
                    <a:pt x="308292" y="0"/>
                  </a:lnTo>
                  <a:lnTo>
                    <a:pt x="307505" y="787"/>
                  </a:lnTo>
                  <a:lnTo>
                    <a:pt x="306730" y="0"/>
                  </a:lnTo>
                  <a:lnTo>
                    <a:pt x="293357" y="0"/>
                  </a:lnTo>
                  <a:lnTo>
                    <a:pt x="288226" y="0"/>
                  </a:lnTo>
                  <a:lnTo>
                    <a:pt x="274866" y="0"/>
                  </a:lnTo>
                  <a:lnTo>
                    <a:pt x="274078" y="787"/>
                  </a:lnTo>
                  <a:lnTo>
                    <a:pt x="273304" y="0"/>
                  </a:lnTo>
                  <a:lnTo>
                    <a:pt x="259930" y="0"/>
                  </a:lnTo>
                  <a:lnTo>
                    <a:pt x="254800" y="0"/>
                  </a:lnTo>
                  <a:lnTo>
                    <a:pt x="241439" y="0"/>
                  </a:lnTo>
                  <a:lnTo>
                    <a:pt x="240652" y="787"/>
                  </a:lnTo>
                  <a:lnTo>
                    <a:pt x="239877" y="0"/>
                  </a:lnTo>
                  <a:lnTo>
                    <a:pt x="226504" y="0"/>
                  </a:lnTo>
                  <a:lnTo>
                    <a:pt x="221386" y="0"/>
                  </a:lnTo>
                  <a:lnTo>
                    <a:pt x="208013" y="0"/>
                  </a:lnTo>
                  <a:lnTo>
                    <a:pt x="207225" y="787"/>
                  </a:lnTo>
                  <a:lnTo>
                    <a:pt x="206451" y="0"/>
                  </a:lnTo>
                  <a:lnTo>
                    <a:pt x="193078" y="0"/>
                  </a:lnTo>
                  <a:lnTo>
                    <a:pt x="187960" y="0"/>
                  </a:lnTo>
                  <a:lnTo>
                    <a:pt x="174586" y="0"/>
                  </a:lnTo>
                  <a:lnTo>
                    <a:pt x="173799" y="787"/>
                  </a:lnTo>
                  <a:lnTo>
                    <a:pt x="173024" y="0"/>
                  </a:lnTo>
                  <a:lnTo>
                    <a:pt x="159651" y="0"/>
                  </a:lnTo>
                  <a:lnTo>
                    <a:pt x="154533" y="0"/>
                  </a:lnTo>
                  <a:lnTo>
                    <a:pt x="146291" y="0"/>
                  </a:lnTo>
                  <a:lnTo>
                    <a:pt x="141160" y="0"/>
                  </a:lnTo>
                  <a:lnTo>
                    <a:pt x="127787" y="0"/>
                  </a:lnTo>
                  <a:lnTo>
                    <a:pt x="127000" y="787"/>
                  </a:lnTo>
                  <a:lnTo>
                    <a:pt x="126225" y="0"/>
                  </a:lnTo>
                  <a:lnTo>
                    <a:pt x="112864" y="0"/>
                  </a:lnTo>
                  <a:lnTo>
                    <a:pt x="107734" y="0"/>
                  </a:lnTo>
                  <a:lnTo>
                    <a:pt x="94361" y="0"/>
                  </a:lnTo>
                  <a:lnTo>
                    <a:pt x="93586" y="787"/>
                  </a:lnTo>
                  <a:lnTo>
                    <a:pt x="92811" y="0"/>
                  </a:lnTo>
                  <a:lnTo>
                    <a:pt x="79438" y="0"/>
                  </a:lnTo>
                  <a:lnTo>
                    <a:pt x="74307" y="0"/>
                  </a:lnTo>
                  <a:lnTo>
                    <a:pt x="60934" y="0"/>
                  </a:lnTo>
                  <a:lnTo>
                    <a:pt x="60159" y="787"/>
                  </a:lnTo>
                  <a:lnTo>
                    <a:pt x="59385" y="0"/>
                  </a:lnTo>
                  <a:lnTo>
                    <a:pt x="46012" y="0"/>
                  </a:lnTo>
                  <a:lnTo>
                    <a:pt x="40881" y="0"/>
                  </a:lnTo>
                  <a:lnTo>
                    <a:pt x="27520" y="0"/>
                  </a:lnTo>
                  <a:lnTo>
                    <a:pt x="26733" y="787"/>
                  </a:lnTo>
                  <a:lnTo>
                    <a:pt x="25958" y="0"/>
                  </a:lnTo>
                  <a:lnTo>
                    <a:pt x="7454" y="0"/>
                  </a:lnTo>
                  <a:lnTo>
                    <a:pt x="0" y="7493"/>
                  </a:lnTo>
                  <a:lnTo>
                    <a:pt x="0" y="26035"/>
                  </a:lnTo>
                  <a:lnTo>
                    <a:pt x="7454" y="33515"/>
                  </a:lnTo>
                  <a:lnTo>
                    <a:pt x="25958" y="33515"/>
                  </a:lnTo>
                  <a:lnTo>
                    <a:pt x="26733" y="32740"/>
                  </a:lnTo>
                  <a:lnTo>
                    <a:pt x="27520" y="33515"/>
                  </a:lnTo>
                  <a:lnTo>
                    <a:pt x="40881" y="33515"/>
                  </a:lnTo>
                  <a:lnTo>
                    <a:pt x="46012" y="33515"/>
                  </a:lnTo>
                  <a:lnTo>
                    <a:pt x="59385" y="33515"/>
                  </a:lnTo>
                  <a:lnTo>
                    <a:pt x="60159" y="32740"/>
                  </a:lnTo>
                  <a:lnTo>
                    <a:pt x="60934" y="33515"/>
                  </a:lnTo>
                  <a:lnTo>
                    <a:pt x="74307" y="33515"/>
                  </a:lnTo>
                  <a:lnTo>
                    <a:pt x="79438" y="33515"/>
                  </a:lnTo>
                  <a:lnTo>
                    <a:pt x="92811" y="33515"/>
                  </a:lnTo>
                  <a:lnTo>
                    <a:pt x="93586" y="32740"/>
                  </a:lnTo>
                  <a:lnTo>
                    <a:pt x="94361" y="33515"/>
                  </a:lnTo>
                  <a:lnTo>
                    <a:pt x="107734" y="33515"/>
                  </a:lnTo>
                  <a:lnTo>
                    <a:pt x="112864" y="33515"/>
                  </a:lnTo>
                  <a:lnTo>
                    <a:pt x="126225" y="33515"/>
                  </a:lnTo>
                  <a:lnTo>
                    <a:pt x="127000" y="32740"/>
                  </a:lnTo>
                  <a:lnTo>
                    <a:pt x="127787" y="33515"/>
                  </a:lnTo>
                  <a:lnTo>
                    <a:pt x="141160" y="33515"/>
                  </a:lnTo>
                  <a:lnTo>
                    <a:pt x="146291" y="33515"/>
                  </a:lnTo>
                  <a:lnTo>
                    <a:pt x="154533" y="33515"/>
                  </a:lnTo>
                  <a:lnTo>
                    <a:pt x="159651" y="33515"/>
                  </a:lnTo>
                  <a:lnTo>
                    <a:pt x="173024" y="33515"/>
                  </a:lnTo>
                  <a:lnTo>
                    <a:pt x="173799" y="32740"/>
                  </a:lnTo>
                  <a:lnTo>
                    <a:pt x="174586" y="33515"/>
                  </a:lnTo>
                  <a:lnTo>
                    <a:pt x="187960" y="33515"/>
                  </a:lnTo>
                  <a:lnTo>
                    <a:pt x="193078" y="33515"/>
                  </a:lnTo>
                  <a:lnTo>
                    <a:pt x="206451" y="33515"/>
                  </a:lnTo>
                  <a:lnTo>
                    <a:pt x="207225" y="32740"/>
                  </a:lnTo>
                  <a:lnTo>
                    <a:pt x="208013" y="33515"/>
                  </a:lnTo>
                  <a:lnTo>
                    <a:pt x="221386" y="33515"/>
                  </a:lnTo>
                  <a:lnTo>
                    <a:pt x="226504" y="33515"/>
                  </a:lnTo>
                  <a:lnTo>
                    <a:pt x="239877" y="33515"/>
                  </a:lnTo>
                  <a:lnTo>
                    <a:pt x="240652" y="32740"/>
                  </a:lnTo>
                  <a:lnTo>
                    <a:pt x="241439" y="33515"/>
                  </a:lnTo>
                  <a:lnTo>
                    <a:pt x="254800" y="33515"/>
                  </a:lnTo>
                  <a:lnTo>
                    <a:pt x="259930" y="33515"/>
                  </a:lnTo>
                  <a:lnTo>
                    <a:pt x="273304" y="33515"/>
                  </a:lnTo>
                  <a:lnTo>
                    <a:pt x="274078" y="32740"/>
                  </a:lnTo>
                  <a:lnTo>
                    <a:pt x="274866" y="33515"/>
                  </a:lnTo>
                  <a:lnTo>
                    <a:pt x="288226" y="33515"/>
                  </a:lnTo>
                  <a:lnTo>
                    <a:pt x="293357" y="33515"/>
                  </a:lnTo>
                  <a:lnTo>
                    <a:pt x="306730" y="33515"/>
                  </a:lnTo>
                  <a:lnTo>
                    <a:pt x="307505" y="32740"/>
                  </a:lnTo>
                  <a:lnTo>
                    <a:pt x="308292" y="33515"/>
                  </a:lnTo>
                  <a:lnTo>
                    <a:pt x="321652" y="33515"/>
                  </a:lnTo>
                  <a:lnTo>
                    <a:pt x="326783" y="33515"/>
                  </a:lnTo>
                  <a:lnTo>
                    <a:pt x="335026" y="33515"/>
                  </a:lnTo>
                  <a:lnTo>
                    <a:pt x="340156" y="33515"/>
                  </a:lnTo>
                  <a:lnTo>
                    <a:pt x="353517" y="33515"/>
                  </a:lnTo>
                  <a:lnTo>
                    <a:pt x="354291" y="32740"/>
                  </a:lnTo>
                  <a:lnTo>
                    <a:pt x="355079" y="33515"/>
                  </a:lnTo>
                  <a:lnTo>
                    <a:pt x="368452" y="33515"/>
                  </a:lnTo>
                  <a:lnTo>
                    <a:pt x="373583" y="33515"/>
                  </a:lnTo>
                  <a:lnTo>
                    <a:pt x="386943" y="33515"/>
                  </a:lnTo>
                  <a:lnTo>
                    <a:pt x="387718" y="32740"/>
                  </a:lnTo>
                  <a:lnTo>
                    <a:pt x="388505" y="33515"/>
                  </a:lnTo>
                  <a:lnTo>
                    <a:pt x="401878" y="33515"/>
                  </a:lnTo>
                  <a:lnTo>
                    <a:pt x="406996" y="33515"/>
                  </a:lnTo>
                  <a:lnTo>
                    <a:pt x="420370" y="33515"/>
                  </a:lnTo>
                  <a:lnTo>
                    <a:pt x="421144" y="32740"/>
                  </a:lnTo>
                  <a:lnTo>
                    <a:pt x="421932" y="33515"/>
                  </a:lnTo>
                  <a:lnTo>
                    <a:pt x="435305" y="33515"/>
                  </a:lnTo>
                  <a:lnTo>
                    <a:pt x="440423" y="33515"/>
                  </a:lnTo>
                  <a:lnTo>
                    <a:pt x="453796" y="33515"/>
                  </a:lnTo>
                  <a:lnTo>
                    <a:pt x="454571" y="32740"/>
                  </a:lnTo>
                  <a:lnTo>
                    <a:pt x="455358" y="33515"/>
                  </a:lnTo>
                  <a:lnTo>
                    <a:pt x="468731" y="33515"/>
                  </a:lnTo>
                  <a:lnTo>
                    <a:pt x="473849" y="33515"/>
                  </a:lnTo>
                  <a:lnTo>
                    <a:pt x="487222" y="33515"/>
                  </a:lnTo>
                  <a:lnTo>
                    <a:pt x="494690" y="26035"/>
                  </a:lnTo>
                  <a:lnTo>
                    <a:pt x="494690" y="16764"/>
                  </a:lnTo>
                  <a:lnTo>
                    <a:pt x="494690" y="7493"/>
                  </a:lnTo>
                  <a:close/>
                </a:path>
                <a:path w="1270634" h="67310">
                  <a:moveTo>
                    <a:pt x="1270152" y="40995"/>
                  </a:moveTo>
                  <a:lnTo>
                    <a:pt x="1262684" y="33515"/>
                  </a:lnTo>
                  <a:lnTo>
                    <a:pt x="1244193" y="33515"/>
                  </a:lnTo>
                  <a:lnTo>
                    <a:pt x="1243406" y="34302"/>
                  </a:lnTo>
                  <a:lnTo>
                    <a:pt x="1242631" y="33515"/>
                  </a:lnTo>
                  <a:lnTo>
                    <a:pt x="1229258" y="33515"/>
                  </a:lnTo>
                  <a:lnTo>
                    <a:pt x="1224140" y="33515"/>
                  </a:lnTo>
                  <a:lnTo>
                    <a:pt x="1210767" y="33515"/>
                  </a:lnTo>
                  <a:lnTo>
                    <a:pt x="1209979" y="34302"/>
                  </a:lnTo>
                  <a:lnTo>
                    <a:pt x="1209205" y="33515"/>
                  </a:lnTo>
                  <a:lnTo>
                    <a:pt x="1195832" y="33515"/>
                  </a:lnTo>
                  <a:lnTo>
                    <a:pt x="1190713" y="33515"/>
                  </a:lnTo>
                  <a:lnTo>
                    <a:pt x="1177340" y="33515"/>
                  </a:lnTo>
                  <a:lnTo>
                    <a:pt x="1176553" y="34302"/>
                  </a:lnTo>
                  <a:lnTo>
                    <a:pt x="1175778" y="33515"/>
                  </a:lnTo>
                  <a:lnTo>
                    <a:pt x="1162418" y="33515"/>
                  </a:lnTo>
                  <a:lnTo>
                    <a:pt x="1169873" y="26035"/>
                  </a:lnTo>
                  <a:lnTo>
                    <a:pt x="1169873" y="16764"/>
                  </a:lnTo>
                  <a:lnTo>
                    <a:pt x="1169873" y="7493"/>
                  </a:lnTo>
                  <a:lnTo>
                    <a:pt x="1162418" y="0"/>
                  </a:lnTo>
                  <a:lnTo>
                    <a:pt x="1143914" y="0"/>
                  </a:lnTo>
                  <a:lnTo>
                    <a:pt x="1143127" y="787"/>
                  </a:lnTo>
                  <a:lnTo>
                    <a:pt x="1142352" y="0"/>
                  </a:lnTo>
                  <a:lnTo>
                    <a:pt x="1097127" y="0"/>
                  </a:lnTo>
                  <a:lnTo>
                    <a:pt x="1096340" y="787"/>
                  </a:lnTo>
                  <a:lnTo>
                    <a:pt x="1095565" y="0"/>
                  </a:lnTo>
                  <a:lnTo>
                    <a:pt x="1082192" y="0"/>
                  </a:lnTo>
                  <a:lnTo>
                    <a:pt x="1077061" y="0"/>
                  </a:lnTo>
                  <a:lnTo>
                    <a:pt x="1063701" y="0"/>
                  </a:lnTo>
                  <a:lnTo>
                    <a:pt x="1062913" y="787"/>
                  </a:lnTo>
                  <a:lnTo>
                    <a:pt x="1062139" y="0"/>
                  </a:lnTo>
                  <a:lnTo>
                    <a:pt x="1048766" y="0"/>
                  </a:lnTo>
                  <a:lnTo>
                    <a:pt x="1043635" y="0"/>
                  </a:lnTo>
                  <a:lnTo>
                    <a:pt x="1030274" y="0"/>
                  </a:lnTo>
                  <a:lnTo>
                    <a:pt x="1029487" y="787"/>
                  </a:lnTo>
                  <a:lnTo>
                    <a:pt x="1028712" y="0"/>
                  </a:lnTo>
                  <a:lnTo>
                    <a:pt x="1015339" y="0"/>
                  </a:lnTo>
                  <a:lnTo>
                    <a:pt x="1010221" y="0"/>
                  </a:lnTo>
                  <a:lnTo>
                    <a:pt x="996848" y="0"/>
                  </a:lnTo>
                  <a:lnTo>
                    <a:pt x="996061" y="787"/>
                  </a:lnTo>
                  <a:lnTo>
                    <a:pt x="995286" y="0"/>
                  </a:lnTo>
                  <a:lnTo>
                    <a:pt x="981913" y="0"/>
                  </a:lnTo>
                  <a:lnTo>
                    <a:pt x="976795" y="0"/>
                  </a:lnTo>
                  <a:lnTo>
                    <a:pt x="963422" y="0"/>
                  </a:lnTo>
                  <a:lnTo>
                    <a:pt x="962634" y="787"/>
                  </a:lnTo>
                  <a:lnTo>
                    <a:pt x="961859" y="0"/>
                  </a:lnTo>
                  <a:lnTo>
                    <a:pt x="948486" y="0"/>
                  </a:lnTo>
                  <a:lnTo>
                    <a:pt x="943368" y="0"/>
                  </a:lnTo>
                  <a:lnTo>
                    <a:pt x="935126" y="0"/>
                  </a:lnTo>
                  <a:lnTo>
                    <a:pt x="929995" y="0"/>
                  </a:lnTo>
                  <a:lnTo>
                    <a:pt x="916622" y="0"/>
                  </a:lnTo>
                  <a:lnTo>
                    <a:pt x="915835" y="787"/>
                  </a:lnTo>
                  <a:lnTo>
                    <a:pt x="915060" y="0"/>
                  </a:lnTo>
                  <a:lnTo>
                    <a:pt x="901700" y="0"/>
                  </a:lnTo>
                  <a:lnTo>
                    <a:pt x="896569" y="0"/>
                  </a:lnTo>
                  <a:lnTo>
                    <a:pt x="883196" y="0"/>
                  </a:lnTo>
                  <a:lnTo>
                    <a:pt x="882421" y="787"/>
                  </a:lnTo>
                  <a:lnTo>
                    <a:pt x="881646" y="0"/>
                  </a:lnTo>
                  <a:lnTo>
                    <a:pt x="868273" y="0"/>
                  </a:lnTo>
                  <a:lnTo>
                    <a:pt x="863142" y="0"/>
                  </a:lnTo>
                  <a:lnTo>
                    <a:pt x="849769" y="0"/>
                  </a:lnTo>
                  <a:lnTo>
                    <a:pt x="848995" y="787"/>
                  </a:lnTo>
                  <a:lnTo>
                    <a:pt x="848220" y="0"/>
                  </a:lnTo>
                  <a:lnTo>
                    <a:pt x="834847" y="0"/>
                  </a:lnTo>
                  <a:lnTo>
                    <a:pt x="829716" y="0"/>
                  </a:lnTo>
                  <a:lnTo>
                    <a:pt x="816356" y="0"/>
                  </a:lnTo>
                  <a:lnTo>
                    <a:pt x="815568" y="787"/>
                  </a:lnTo>
                  <a:lnTo>
                    <a:pt x="814793" y="0"/>
                  </a:lnTo>
                  <a:lnTo>
                    <a:pt x="801420" y="0"/>
                  </a:lnTo>
                  <a:lnTo>
                    <a:pt x="796290" y="0"/>
                  </a:lnTo>
                  <a:lnTo>
                    <a:pt x="782929" y="0"/>
                  </a:lnTo>
                  <a:lnTo>
                    <a:pt x="782142" y="787"/>
                  </a:lnTo>
                  <a:lnTo>
                    <a:pt x="781367" y="0"/>
                  </a:lnTo>
                  <a:lnTo>
                    <a:pt x="767994" y="0"/>
                  </a:lnTo>
                  <a:lnTo>
                    <a:pt x="762863" y="0"/>
                  </a:lnTo>
                  <a:lnTo>
                    <a:pt x="749503" y="0"/>
                  </a:lnTo>
                  <a:lnTo>
                    <a:pt x="748715" y="787"/>
                  </a:lnTo>
                  <a:lnTo>
                    <a:pt x="747941" y="0"/>
                  </a:lnTo>
                  <a:lnTo>
                    <a:pt x="702703" y="0"/>
                  </a:lnTo>
                  <a:lnTo>
                    <a:pt x="701916" y="787"/>
                  </a:lnTo>
                  <a:lnTo>
                    <a:pt x="701141" y="0"/>
                  </a:lnTo>
                  <a:lnTo>
                    <a:pt x="687768" y="0"/>
                  </a:lnTo>
                  <a:lnTo>
                    <a:pt x="682650" y="0"/>
                  </a:lnTo>
                  <a:lnTo>
                    <a:pt x="669277" y="0"/>
                  </a:lnTo>
                  <a:lnTo>
                    <a:pt x="668489" y="787"/>
                  </a:lnTo>
                  <a:lnTo>
                    <a:pt x="667715" y="0"/>
                  </a:lnTo>
                  <a:lnTo>
                    <a:pt x="654354" y="0"/>
                  </a:lnTo>
                  <a:lnTo>
                    <a:pt x="649224" y="0"/>
                  </a:lnTo>
                  <a:lnTo>
                    <a:pt x="635850" y="0"/>
                  </a:lnTo>
                  <a:lnTo>
                    <a:pt x="635063" y="787"/>
                  </a:lnTo>
                  <a:lnTo>
                    <a:pt x="634288" y="0"/>
                  </a:lnTo>
                  <a:lnTo>
                    <a:pt x="620928" y="0"/>
                  </a:lnTo>
                  <a:lnTo>
                    <a:pt x="615797" y="0"/>
                  </a:lnTo>
                  <a:lnTo>
                    <a:pt x="602424" y="0"/>
                  </a:lnTo>
                  <a:lnTo>
                    <a:pt x="601637" y="787"/>
                  </a:lnTo>
                  <a:lnTo>
                    <a:pt x="600862" y="0"/>
                  </a:lnTo>
                  <a:lnTo>
                    <a:pt x="587502" y="0"/>
                  </a:lnTo>
                  <a:lnTo>
                    <a:pt x="582371" y="0"/>
                  </a:lnTo>
                  <a:lnTo>
                    <a:pt x="568998" y="0"/>
                  </a:lnTo>
                  <a:lnTo>
                    <a:pt x="561543" y="7493"/>
                  </a:lnTo>
                  <a:lnTo>
                    <a:pt x="561543" y="26035"/>
                  </a:lnTo>
                  <a:lnTo>
                    <a:pt x="568998" y="33515"/>
                  </a:lnTo>
                  <a:lnTo>
                    <a:pt x="582371" y="33515"/>
                  </a:lnTo>
                  <a:lnTo>
                    <a:pt x="587502" y="33515"/>
                  </a:lnTo>
                  <a:lnTo>
                    <a:pt x="600862" y="33515"/>
                  </a:lnTo>
                  <a:lnTo>
                    <a:pt x="601637" y="32740"/>
                  </a:lnTo>
                  <a:lnTo>
                    <a:pt x="602424" y="33515"/>
                  </a:lnTo>
                  <a:lnTo>
                    <a:pt x="615797" y="33515"/>
                  </a:lnTo>
                  <a:lnTo>
                    <a:pt x="620928" y="33515"/>
                  </a:lnTo>
                  <a:lnTo>
                    <a:pt x="634288" y="33515"/>
                  </a:lnTo>
                  <a:lnTo>
                    <a:pt x="635063" y="32740"/>
                  </a:lnTo>
                  <a:lnTo>
                    <a:pt x="635850" y="33515"/>
                  </a:lnTo>
                  <a:lnTo>
                    <a:pt x="649224" y="33515"/>
                  </a:lnTo>
                  <a:lnTo>
                    <a:pt x="654354" y="33515"/>
                  </a:lnTo>
                  <a:lnTo>
                    <a:pt x="667715" y="33515"/>
                  </a:lnTo>
                  <a:lnTo>
                    <a:pt x="668489" y="32740"/>
                  </a:lnTo>
                  <a:lnTo>
                    <a:pt x="669277" y="33515"/>
                  </a:lnTo>
                  <a:lnTo>
                    <a:pt x="682650" y="33515"/>
                  </a:lnTo>
                  <a:lnTo>
                    <a:pt x="687768" y="33515"/>
                  </a:lnTo>
                  <a:lnTo>
                    <a:pt x="701141" y="33515"/>
                  </a:lnTo>
                  <a:lnTo>
                    <a:pt x="701916" y="32740"/>
                  </a:lnTo>
                  <a:lnTo>
                    <a:pt x="702703" y="33515"/>
                  </a:lnTo>
                  <a:lnTo>
                    <a:pt x="716076" y="33515"/>
                  </a:lnTo>
                  <a:lnTo>
                    <a:pt x="721194" y="33515"/>
                  </a:lnTo>
                  <a:lnTo>
                    <a:pt x="729449" y="33515"/>
                  </a:lnTo>
                  <a:lnTo>
                    <a:pt x="734568" y="33515"/>
                  </a:lnTo>
                  <a:lnTo>
                    <a:pt x="747941" y="33515"/>
                  </a:lnTo>
                  <a:lnTo>
                    <a:pt x="748715" y="32740"/>
                  </a:lnTo>
                  <a:lnTo>
                    <a:pt x="749503" y="33515"/>
                  </a:lnTo>
                  <a:lnTo>
                    <a:pt x="762863" y="33515"/>
                  </a:lnTo>
                  <a:lnTo>
                    <a:pt x="767994" y="33515"/>
                  </a:lnTo>
                  <a:lnTo>
                    <a:pt x="781367" y="33515"/>
                  </a:lnTo>
                  <a:lnTo>
                    <a:pt x="782142" y="32740"/>
                  </a:lnTo>
                  <a:lnTo>
                    <a:pt x="782929" y="33515"/>
                  </a:lnTo>
                  <a:lnTo>
                    <a:pt x="796290" y="33515"/>
                  </a:lnTo>
                  <a:lnTo>
                    <a:pt x="801420" y="33515"/>
                  </a:lnTo>
                  <a:lnTo>
                    <a:pt x="814793" y="33515"/>
                  </a:lnTo>
                  <a:lnTo>
                    <a:pt x="815568" y="32740"/>
                  </a:lnTo>
                  <a:lnTo>
                    <a:pt x="816356" y="33515"/>
                  </a:lnTo>
                  <a:lnTo>
                    <a:pt x="829716" y="33515"/>
                  </a:lnTo>
                  <a:lnTo>
                    <a:pt x="834847" y="33515"/>
                  </a:lnTo>
                  <a:lnTo>
                    <a:pt x="848220" y="33515"/>
                  </a:lnTo>
                  <a:lnTo>
                    <a:pt x="848995" y="32740"/>
                  </a:lnTo>
                  <a:lnTo>
                    <a:pt x="849769" y="33515"/>
                  </a:lnTo>
                  <a:lnTo>
                    <a:pt x="863142" y="33515"/>
                  </a:lnTo>
                  <a:lnTo>
                    <a:pt x="868273" y="33515"/>
                  </a:lnTo>
                  <a:lnTo>
                    <a:pt x="881646" y="33515"/>
                  </a:lnTo>
                  <a:lnTo>
                    <a:pt x="882421" y="32740"/>
                  </a:lnTo>
                  <a:lnTo>
                    <a:pt x="883196" y="33515"/>
                  </a:lnTo>
                  <a:lnTo>
                    <a:pt x="896569" y="33515"/>
                  </a:lnTo>
                  <a:lnTo>
                    <a:pt x="901700" y="33515"/>
                  </a:lnTo>
                  <a:lnTo>
                    <a:pt x="915060" y="33515"/>
                  </a:lnTo>
                  <a:lnTo>
                    <a:pt x="915835" y="32740"/>
                  </a:lnTo>
                  <a:lnTo>
                    <a:pt x="916622" y="33515"/>
                  </a:lnTo>
                  <a:lnTo>
                    <a:pt x="961859" y="33515"/>
                  </a:lnTo>
                  <a:lnTo>
                    <a:pt x="962634" y="32740"/>
                  </a:lnTo>
                  <a:lnTo>
                    <a:pt x="963422" y="33515"/>
                  </a:lnTo>
                  <a:lnTo>
                    <a:pt x="976795" y="33515"/>
                  </a:lnTo>
                  <a:lnTo>
                    <a:pt x="981913" y="33515"/>
                  </a:lnTo>
                  <a:lnTo>
                    <a:pt x="995286" y="33515"/>
                  </a:lnTo>
                  <a:lnTo>
                    <a:pt x="996061" y="32740"/>
                  </a:lnTo>
                  <a:lnTo>
                    <a:pt x="996848" y="33515"/>
                  </a:lnTo>
                  <a:lnTo>
                    <a:pt x="1010221" y="33515"/>
                  </a:lnTo>
                  <a:lnTo>
                    <a:pt x="1015339" y="33515"/>
                  </a:lnTo>
                  <a:lnTo>
                    <a:pt x="1028712" y="33515"/>
                  </a:lnTo>
                  <a:lnTo>
                    <a:pt x="1029487" y="32740"/>
                  </a:lnTo>
                  <a:lnTo>
                    <a:pt x="1030274" y="33515"/>
                  </a:lnTo>
                  <a:lnTo>
                    <a:pt x="1043635" y="33515"/>
                  </a:lnTo>
                  <a:lnTo>
                    <a:pt x="1048766" y="33515"/>
                  </a:lnTo>
                  <a:lnTo>
                    <a:pt x="1062139" y="33515"/>
                  </a:lnTo>
                  <a:lnTo>
                    <a:pt x="1062913" y="32740"/>
                  </a:lnTo>
                  <a:lnTo>
                    <a:pt x="1063701" y="33515"/>
                  </a:lnTo>
                  <a:lnTo>
                    <a:pt x="1077061" y="33515"/>
                  </a:lnTo>
                  <a:lnTo>
                    <a:pt x="1082192" y="33515"/>
                  </a:lnTo>
                  <a:lnTo>
                    <a:pt x="1095565" y="33515"/>
                  </a:lnTo>
                  <a:lnTo>
                    <a:pt x="1096340" y="32740"/>
                  </a:lnTo>
                  <a:lnTo>
                    <a:pt x="1097127" y="33515"/>
                  </a:lnTo>
                  <a:lnTo>
                    <a:pt x="1110488" y="33515"/>
                  </a:lnTo>
                  <a:lnTo>
                    <a:pt x="1115618" y="33515"/>
                  </a:lnTo>
                  <a:lnTo>
                    <a:pt x="1123861" y="33515"/>
                  </a:lnTo>
                  <a:lnTo>
                    <a:pt x="1128991" y="33515"/>
                  </a:lnTo>
                  <a:lnTo>
                    <a:pt x="1142352" y="33515"/>
                  </a:lnTo>
                  <a:lnTo>
                    <a:pt x="1143127" y="32740"/>
                  </a:lnTo>
                  <a:lnTo>
                    <a:pt x="1143914" y="33515"/>
                  </a:lnTo>
                  <a:lnTo>
                    <a:pt x="1157287" y="33515"/>
                  </a:lnTo>
                  <a:lnTo>
                    <a:pt x="1149819" y="40995"/>
                  </a:lnTo>
                  <a:lnTo>
                    <a:pt x="1149819" y="59537"/>
                  </a:lnTo>
                  <a:lnTo>
                    <a:pt x="1157287" y="67030"/>
                  </a:lnTo>
                  <a:lnTo>
                    <a:pt x="1175778" y="67030"/>
                  </a:lnTo>
                  <a:lnTo>
                    <a:pt x="1176553" y="66255"/>
                  </a:lnTo>
                  <a:lnTo>
                    <a:pt x="1177340" y="67030"/>
                  </a:lnTo>
                  <a:lnTo>
                    <a:pt x="1190713" y="67030"/>
                  </a:lnTo>
                  <a:lnTo>
                    <a:pt x="1195832" y="67030"/>
                  </a:lnTo>
                  <a:lnTo>
                    <a:pt x="1209205" y="67030"/>
                  </a:lnTo>
                  <a:lnTo>
                    <a:pt x="1209979" y="66255"/>
                  </a:lnTo>
                  <a:lnTo>
                    <a:pt x="1210767" y="67030"/>
                  </a:lnTo>
                  <a:lnTo>
                    <a:pt x="1224140" y="67030"/>
                  </a:lnTo>
                  <a:lnTo>
                    <a:pt x="1229258" y="67030"/>
                  </a:lnTo>
                  <a:lnTo>
                    <a:pt x="1242631" y="67030"/>
                  </a:lnTo>
                  <a:lnTo>
                    <a:pt x="1243406" y="66255"/>
                  </a:lnTo>
                  <a:lnTo>
                    <a:pt x="1244193" y="67030"/>
                  </a:lnTo>
                  <a:lnTo>
                    <a:pt x="1262684" y="67030"/>
                  </a:lnTo>
                  <a:lnTo>
                    <a:pt x="1270152" y="59537"/>
                  </a:lnTo>
                  <a:lnTo>
                    <a:pt x="1270152" y="50266"/>
                  </a:lnTo>
                  <a:lnTo>
                    <a:pt x="1270152" y="40995"/>
                  </a:lnTo>
                  <a:close/>
                </a:path>
              </a:pathLst>
            </a:custGeom>
            <a:solidFill>
              <a:srgbClr val="94373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7" name="object 17"/>
            <p:cNvSpPr/>
            <p:nvPr/>
          </p:nvSpPr>
          <p:spPr>
            <a:xfrm>
              <a:off x="8170824" y="4256176"/>
              <a:ext cx="427990" cy="67310"/>
            </a:xfrm>
            <a:custGeom>
              <a:avLst/>
              <a:gdLst/>
              <a:ahLst/>
              <a:cxnLst/>
              <a:rect l="l" t="t" r="r" b="b"/>
              <a:pathLst>
                <a:path w="427990" h="67310">
                  <a:moveTo>
                    <a:pt x="260718" y="40995"/>
                  </a:moveTo>
                  <a:lnTo>
                    <a:pt x="253250" y="33515"/>
                  </a:lnTo>
                  <a:lnTo>
                    <a:pt x="239877" y="33515"/>
                  </a:lnTo>
                  <a:lnTo>
                    <a:pt x="234759" y="33515"/>
                  </a:lnTo>
                  <a:lnTo>
                    <a:pt x="221386" y="33515"/>
                  </a:lnTo>
                  <a:lnTo>
                    <a:pt x="220599" y="34302"/>
                  </a:lnTo>
                  <a:lnTo>
                    <a:pt x="219824" y="33515"/>
                  </a:lnTo>
                  <a:lnTo>
                    <a:pt x="206463" y="33515"/>
                  </a:lnTo>
                  <a:lnTo>
                    <a:pt x="201333" y="33515"/>
                  </a:lnTo>
                  <a:lnTo>
                    <a:pt x="187960" y="33515"/>
                  </a:lnTo>
                  <a:lnTo>
                    <a:pt x="187172" y="34302"/>
                  </a:lnTo>
                  <a:lnTo>
                    <a:pt x="186397" y="33515"/>
                  </a:lnTo>
                  <a:lnTo>
                    <a:pt x="173037" y="33515"/>
                  </a:lnTo>
                  <a:lnTo>
                    <a:pt x="167906" y="33515"/>
                  </a:lnTo>
                  <a:lnTo>
                    <a:pt x="154533" y="33515"/>
                  </a:lnTo>
                  <a:lnTo>
                    <a:pt x="153746" y="34302"/>
                  </a:lnTo>
                  <a:lnTo>
                    <a:pt x="152971" y="33515"/>
                  </a:lnTo>
                  <a:lnTo>
                    <a:pt x="139611" y="33515"/>
                  </a:lnTo>
                  <a:lnTo>
                    <a:pt x="134480" y="33515"/>
                  </a:lnTo>
                  <a:lnTo>
                    <a:pt x="121107" y="33515"/>
                  </a:lnTo>
                  <a:lnTo>
                    <a:pt x="120332" y="34302"/>
                  </a:lnTo>
                  <a:lnTo>
                    <a:pt x="119557" y="33515"/>
                  </a:lnTo>
                  <a:lnTo>
                    <a:pt x="106184" y="33515"/>
                  </a:lnTo>
                  <a:lnTo>
                    <a:pt x="101053" y="33515"/>
                  </a:lnTo>
                  <a:lnTo>
                    <a:pt x="92811" y="33515"/>
                  </a:lnTo>
                  <a:lnTo>
                    <a:pt x="87693" y="33515"/>
                  </a:lnTo>
                  <a:lnTo>
                    <a:pt x="74320" y="33515"/>
                  </a:lnTo>
                  <a:lnTo>
                    <a:pt x="73533" y="34302"/>
                  </a:lnTo>
                  <a:lnTo>
                    <a:pt x="72758" y="33515"/>
                  </a:lnTo>
                  <a:lnTo>
                    <a:pt x="59385" y="33515"/>
                  </a:lnTo>
                  <a:lnTo>
                    <a:pt x="54267" y="33515"/>
                  </a:lnTo>
                  <a:lnTo>
                    <a:pt x="40894" y="33515"/>
                  </a:lnTo>
                  <a:lnTo>
                    <a:pt x="40106" y="34302"/>
                  </a:lnTo>
                  <a:lnTo>
                    <a:pt x="39331" y="33515"/>
                  </a:lnTo>
                  <a:lnTo>
                    <a:pt x="25958" y="33515"/>
                  </a:lnTo>
                  <a:lnTo>
                    <a:pt x="20840" y="33515"/>
                  </a:lnTo>
                  <a:lnTo>
                    <a:pt x="7467" y="33515"/>
                  </a:lnTo>
                  <a:lnTo>
                    <a:pt x="0" y="40995"/>
                  </a:lnTo>
                  <a:lnTo>
                    <a:pt x="0" y="59537"/>
                  </a:lnTo>
                  <a:lnTo>
                    <a:pt x="7467" y="67030"/>
                  </a:lnTo>
                  <a:lnTo>
                    <a:pt x="20840" y="67030"/>
                  </a:lnTo>
                  <a:lnTo>
                    <a:pt x="25958" y="67030"/>
                  </a:lnTo>
                  <a:lnTo>
                    <a:pt x="39331" y="67030"/>
                  </a:lnTo>
                  <a:lnTo>
                    <a:pt x="40106" y="66255"/>
                  </a:lnTo>
                  <a:lnTo>
                    <a:pt x="40894" y="67030"/>
                  </a:lnTo>
                  <a:lnTo>
                    <a:pt x="54267" y="67030"/>
                  </a:lnTo>
                  <a:lnTo>
                    <a:pt x="59385" y="67030"/>
                  </a:lnTo>
                  <a:lnTo>
                    <a:pt x="72758" y="67030"/>
                  </a:lnTo>
                  <a:lnTo>
                    <a:pt x="73533" y="66255"/>
                  </a:lnTo>
                  <a:lnTo>
                    <a:pt x="74320" y="67030"/>
                  </a:lnTo>
                  <a:lnTo>
                    <a:pt x="87693" y="67030"/>
                  </a:lnTo>
                  <a:lnTo>
                    <a:pt x="92811" y="67030"/>
                  </a:lnTo>
                  <a:lnTo>
                    <a:pt x="101053" y="67030"/>
                  </a:lnTo>
                  <a:lnTo>
                    <a:pt x="106184" y="67030"/>
                  </a:lnTo>
                  <a:lnTo>
                    <a:pt x="119557" y="67030"/>
                  </a:lnTo>
                  <a:lnTo>
                    <a:pt x="120332" y="66255"/>
                  </a:lnTo>
                  <a:lnTo>
                    <a:pt x="121107" y="67030"/>
                  </a:lnTo>
                  <a:lnTo>
                    <a:pt x="134480" y="67030"/>
                  </a:lnTo>
                  <a:lnTo>
                    <a:pt x="139611" y="67030"/>
                  </a:lnTo>
                  <a:lnTo>
                    <a:pt x="152971" y="67030"/>
                  </a:lnTo>
                  <a:lnTo>
                    <a:pt x="153746" y="66255"/>
                  </a:lnTo>
                  <a:lnTo>
                    <a:pt x="154533" y="67030"/>
                  </a:lnTo>
                  <a:lnTo>
                    <a:pt x="167906" y="67030"/>
                  </a:lnTo>
                  <a:lnTo>
                    <a:pt x="173037" y="67030"/>
                  </a:lnTo>
                  <a:lnTo>
                    <a:pt x="186397" y="67030"/>
                  </a:lnTo>
                  <a:lnTo>
                    <a:pt x="187172" y="66255"/>
                  </a:lnTo>
                  <a:lnTo>
                    <a:pt x="187960" y="67030"/>
                  </a:lnTo>
                  <a:lnTo>
                    <a:pt x="201333" y="67030"/>
                  </a:lnTo>
                  <a:lnTo>
                    <a:pt x="206463" y="67030"/>
                  </a:lnTo>
                  <a:lnTo>
                    <a:pt x="219824" y="67030"/>
                  </a:lnTo>
                  <a:lnTo>
                    <a:pt x="220599" y="66255"/>
                  </a:lnTo>
                  <a:lnTo>
                    <a:pt x="221386" y="67030"/>
                  </a:lnTo>
                  <a:lnTo>
                    <a:pt x="234759" y="67030"/>
                  </a:lnTo>
                  <a:lnTo>
                    <a:pt x="239877" y="67030"/>
                  </a:lnTo>
                  <a:lnTo>
                    <a:pt x="253250" y="67030"/>
                  </a:lnTo>
                  <a:lnTo>
                    <a:pt x="260718" y="59537"/>
                  </a:lnTo>
                  <a:lnTo>
                    <a:pt x="260718" y="50266"/>
                  </a:lnTo>
                  <a:lnTo>
                    <a:pt x="260718" y="40995"/>
                  </a:lnTo>
                  <a:close/>
                </a:path>
                <a:path w="427990" h="67310">
                  <a:moveTo>
                    <a:pt x="427850" y="7493"/>
                  </a:moveTo>
                  <a:lnTo>
                    <a:pt x="420382" y="0"/>
                  </a:lnTo>
                  <a:lnTo>
                    <a:pt x="401878" y="0"/>
                  </a:lnTo>
                  <a:lnTo>
                    <a:pt x="401104" y="787"/>
                  </a:lnTo>
                  <a:lnTo>
                    <a:pt x="400329" y="0"/>
                  </a:lnTo>
                  <a:lnTo>
                    <a:pt x="386956" y="0"/>
                  </a:lnTo>
                  <a:lnTo>
                    <a:pt x="381825" y="0"/>
                  </a:lnTo>
                  <a:lnTo>
                    <a:pt x="368465" y="0"/>
                  </a:lnTo>
                  <a:lnTo>
                    <a:pt x="367677" y="787"/>
                  </a:lnTo>
                  <a:lnTo>
                    <a:pt x="366903" y="0"/>
                  </a:lnTo>
                  <a:lnTo>
                    <a:pt x="353529" y="0"/>
                  </a:lnTo>
                  <a:lnTo>
                    <a:pt x="348399" y="0"/>
                  </a:lnTo>
                  <a:lnTo>
                    <a:pt x="335038" y="0"/>
                  </a:lnTo>
                  <a:lnTo>
                    <a:pt x="334251" y="787"/>
                  </a:lnTo>
                  <a:lnTo>
                    <a:pt x="333476" y="0"/>
                  </a:lnTo>
                  <a:lnTo>
                    <a:pt x="320103" y="0"/>
                  </a:lnTo>
                  <a:lnTo>
                    <a:pt x="314972" y="0"/>
                  </a:lnTo>
                  <a:lnTo>
                    <a:pt x="301612" y="0"/>
                  </a:lnTo>
                  <a:lnTo>
                    <a:pt x="300824" y="787"/>
                  </a:lnTo>
                  <a:lnTo>
                    <a:pt x="300050" y="0"/>
                  </a:lnTo>
                  <a:lnTo>
                    <a:pt x="286677" y="0"/>
                  </a:lnTo>
                  <a:lnTo>
                    <a:pt x="281559" y="0"/>
                  </a:lnTo>
                  <a:lnTo>
                    <a:pt x="273304" y="0"/>
                  </a:lnTo>
                  <a:lnTo>
                    <a:pt x="268185" y="0"/>
                  </a:lnTo>
                  <a:lnTo>
                    <a:pt x="254812" y="0"/>
                  </a:lnTo>
                  <a:lnTo>
                    <a:pt x="247345" y="7493"/>
                  </a:lnTo>
                  <a:lnTo>
                    <a:pt x="247345" y="26035"/>
                  </a:lnTo>
                  <a:lnTo>
                    <a:pt x="254812" y="33515"/>
                  </a:lnTo>
                  <a:lnTo>
                    <a:pt x="268185" y="33515"/>
                  </a:lnTo>
                  <a:lnTo>
                    <a:pt x="273304" y="33515"/>
                  </a:lnTo>
                  <a:lnTo>
                    <a:pt x="281559" y="33515"/>
                  </a:lnTo>
                  <a:lnTo>
                    <a:pt x="286677" y="33515"/>
                  </a:lnTo>
                  <a:lnTo>
                    <a:pt x="300050" y="33515"/>
                  </a:lnTo>
                  <a:lnTo>
                    <a:pt x="300824" y="32740"/>
                  </a:lnTo>
                  <a:lnTo>
                    <a:pt x="301612" y="33515"/>
                  </a:lnTo>
                  <a:lnTo>
                    <a:pt x="314972" y="33515"/>
                  </a:lnTo>
                  <a:lnTo>
                    <a:pt x="320103" y="33515"/>
                  </a:lnTo>
                  <a:lnTo>
                    <a:pt x="333476" y="33515"/>
                  </a:lnTo>
                  <a:lnTo>
                    <a:pt x="334251" y="32740"/>
                  </a:lnTo>
                  <a:lnTo>
                    <a:pt x="335038" y="33515"/>
                  </a:lnTo>
                  <a:lnTo>
                    <a:pt x="348399" y="33515"/>
                  </a:lnTo>
                  <a:lnTo>
                    <a:pt x="353529" y="33515"/>
                  </a:lnTo>
                  <a:lnTo>
                    <a:pt x="366903" y="33515"/>
                  </a:lnTo>
                  <a:lnTo>
                    <a:pt x="367677" y="32740"/>
                  </a:lnTo>
                  <a:lnTo>
                    <a:pt x="368465" y="33515"/>
                  </a:lnTo>
                  <a:lnTo>
                    <a:pt x="381825" y="33515"/>
                  </a:lnTo>
                  <a:lnTo>
                    <a:pt x="386956" y="33515"/>
                  </a:lnTo>
                  <a:lnTo>
                    <a:pt x="400329" y="33515"/>
                  </a:lnTo>
                  <a:lnTo>
                    <a:pt x="401104" y="32740"/>
                  </a:lnTo>
                  <a:lnTo>
                    <a:pt x="401878" y="33515"/>
                  </a:lnTo>
                  <a:lnTo>
                    <a:pt x="420382" y="33515"/>
                  </a:lnTo>
                  <a:lnTo>
                    <a:pt x="427850" y="26035"/>
                  </a:lnTo>
                  <a:lnTo>
                    <a:pt x="427850" y="16764"/>
                  </a:lnTo>
                  <a:lnTo>
                    <a:pt x="427850" y="7493"/>
                  </a:lnTo>
                  <a:close/>
                </a:path>
              </a:pathLst>
            </a:custGeom>
            <a:solidFill>
              <a:srgbClr val="94373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8" name="object 18"/>
            <p:cNvSpPr/>
            <p:nvPr/>
          </p:nvSpPr>
          <p:spPr>
            <a:xfrm>
              <a:off x="9417592" y="3910991"/>
              <a:ext cx="1678305" cy="730885"/>
            </a:xfrm>
            <a:custGeom>
              <a:avLst/>
              <a:gdLst/>
              <a:ahLst/>
              <a:cxnLst/>
              <a:rect l="l" t="t" r="r" b="b"/>
              <a:pathLst>
                <a:path w="1678304" h="730885">
                  <a:moveTo>
                    <a:pt x="33425" y="730576"/>
                  </a:moveTo>
                  <a:lnTo>
                    <a:pt x="1677945" y="730576"/>
                  </a:lnTo>
                </a:path>
                <a:path w="1678304" h="730885">
                  <a:moveTo>
                    <a:pt x="33425" y="549607"/>
                  </a:moveTo>
                  <a:lnTo>
                    <a:pt x="1677945" y="549607"/>
                  </a:lnTo>
                </a:path>
                <a:path w="1678304" h="730885">
                  <a:moveTo>
                    <a:pt x="33425" y="180968"/>
                  </a:moveTo>
                  <a:lnTo>
                    <a:pt x="1677945" y="180968"/>
                  </a:lnTo>
                </a:path>
                <a:path w="1678304" h="730885">
                  <a:moveTo>
                    <a:pt x="33425" y="0"/>
                  </a:moveTo>
                  <a:lnTo>
                    <a:pt x="1677945" y="0"/>
                  </a:lnTo>
                </a:path>
                <a:path w="1678304" h="730885">
                  <a:moveTo>
                    <a:pt x="33425" y="730576"/>
                  </a:moveTo>
                  <a:lnTo>
                    <a:pt x="33425" y="0"/>
                  </a:lnTo>
                </a:path>
                <a:path w="1678304" h="730885">
                  <a:moveTo>
                    <a:pt x="0" y="730576"/>
                  </a:moveTo>
                  <a:lnTo>
                    <a:pt x="33425" y="730576"/>
                  </a:lnTo>
                </a:path>
                <a:path w="1678304" h="730885">
                  <a:moveTo>
                    <a:pt x="0" y="549607"/>
                  </a:moveTo>
                  <a:lnTo>
                    <a:pt x="33425" y="549607"/>
                  </a:lnTo>
                </a:path>
                <a:path w="1678304" h="730885">
                  <a:moveTo>
                    <a:pt x="0" y="368639"/>
                  </a:moveTo>
                  <a:lnTo>
                    <a:pt x="33425" y="368639"/>
                  </a:lnTo>
                </a:path>
                <a:path w="1678304" h="730885">
                  <a:moveTo>
                    <a:pt x="0" y="180968"/>
                  </a:moveTo>
                  <a:lnTo>
                    <a:pt x="33425" y="180968"/>
                  </a:lnTo>
                </a:path>
                <a:path w="1678304" h="730885">
                  <a:moveTo>
                    <a:pt x="0" y="0"/>
                  </a:moveTo>
                  <a:lnTo>
                    <a:pt x="33425" y="0"/>
                  </a:lnTo>
                </a:path>
                <a:path w="1678304" h="730885">
                  <a:moveTo>
                    <a:pt x="33425" y="368639"/>
                  </a:moveTo>
                  <a:lnTo>
                    <a:pt x="1677945" y="368639"/>
                  </a:lnTo>
                </a:path>
              </a:pathLst>
            </a:custGeom>
            <a:ln w="6700">
              <a:solidFill>
                <a:srgbClr val="85858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9" name="object 19"/>
            <p:cNvSpPr/>
            <p:nvPr/>
          </p:nvSpPr>
          <p:spPr>
            <a:xfrm>
              <a:off x="9447670" y="4256176"/>
              <a:ext cx="1270635" cy="33655"/>
            </a:xfrm>
            <a:custGeom>
              <a:avLst/>
              <a:gdLst/>
              <a:ahLst/>
              <a:cxnLst/>
              <a:rect l="l" t="t" r="r" b="b"/>
              <a:pathLst>
                <a:path w="1270634" h="33654">
                  <a:moveTo>
                    <a:pt x="494690" y="7493"/>
                  </a:moveTo>
                  <a:lnTo>
                    <a:pt x="487222" y="0"/>
                  </a:lnTo>
                  <a:lnTo>
                    <a:pt x="473862" y="0"/>
                  </a:lnTo>
                  <a:lnTo>
                    <a:pt x="468731" y="0"/>
                  </a:lnTo>
                  <a:lnTo>
                    <a:pt x="455358" y="0"/>
                  </a:lnTo>
                  <a:lnTo>
                    <a:pt x="454571" y="787"/>
                  </a:lnTo>
                  <a:lnTo>
                    <a:pt x="453796" y="0"/>
                  </a:lnTo>
                  <a:lnTo>
                    <a:pt x="440436" y="0"/>
                  </a:lnTo>
                  <a:lnTo>
                    <a:pt x="435305" y="0"/>
                  </a:lnTo>
                  <a:lnTo>
                    <a:pt x="421932" y="0"/>
                  </a:lnTo>
                  <a:lnTo>
                    <a:pt x="421157" y="787"/>
                  </a:lnTo>
                  <a:lnTo>
                    <a:pt x="420382" y="0"/>
                  </a:lnTo>
                  <a:lnTo>
                    <a:pt x="407009" y="0"/>
                  </a:lnTo>
                  <a:lnTo>
                    <a:pt x="401878" y="0"/>
                  </a:lnTo>
                  <a:lnTo>
                    <a:pt x="388518" y="0"/>
                  </a:lnTo>
                  <a:lnTo>
                    <a:pt x="387731" y="787"/>
                  </a:lnTo>
                  <a:lnTo>
                    <a:pt x="386956" y="0"/>
                  </a:lnTo>
                  <a:lnTo>
                    <a:pt x="373583" y="0"/>
                  </a:lnTo>
                  <a:lnTo>
                    <a:pt x="368452" y="0"/>
                  </a:lnTo>
                  <a:lnTo>
                    <a:pt x="355092" y="0"/>
                  </a:lnTo>
                  <a:lnTo>
                    <a:pt x="354304" y="787"/>
                  </a:lnTo>
                  <a:lnTo>
                    <a:pt x="353529" y="0"/>
                  </a:lnTo>
                  <a:lnTo>
                    <a:pt x="340156" y="0"/>
                  </a:lnTo>
                  <a:lnTo>
                    <a:pt x="335026" y="0"/>
                  </a:lnTo>
                  <a:lnTo>
                    <a:pt x="326783" y="0"/>
                  </a:lnTo>
                  <a:lnTo>
                    <a:pt x="321665" y="0"/>
                  </a:lnTo>
                  <a:lnTo>
                    <a:pt x="308292" y="0"/>
                  </a:lnTo>
                  <a:lnTo>
                    <a:pt x="307505" y="787"/>
                  </a:lnTo>
                  <a:lnTo>
                    <a:pt x="306730" y="0"/>
                  </a:lnTo>
                  <a:lnTo>
                    <a:pt x="293357" y="0"/>
                  </a:lnTo>
                  <a:lnTo>
                    <a:pt x="288239" y="0"/>
                  </a:lnTo>
                  <a:lnTo>
                    <a:pt x="274866" y="0"/>
                  </a:lnTo>
                  <a:lnTo>
                    <a:pt x="274078" y="787"/>
                  </a:lnTo>
                  <a:lnTo>
                    <a:pt x="273304" y="0"/>
                  </a:lnTo>
                  <a:lnTo>
                    <a:pt x="259930" y="0"/>
                  </a:lnTo>
                  <a:lnTo>
                    <a:pt x="254812" y="0"/>
                  </a:lnTo>
                  <a:lnTo>
                    <a:pt x="241439" y="0"/>
                  </a:lnTo>
                  <a:lnTo>
                    <a:pt x="240652" y="787"/>
                  </a:lnTo>
                  <a:lnTo>
                    <a:pt x="239877" y="0"/>
                  </a:lnTo>
                  <a:lnTo>
                    <a:pt x="226517" y="0"/>
                  </a:lnTo>
                  <a:lnTo>
                    <a:pt x="221386" y="0"/>
                  </a:lnTo>
                  <a:lnTo>
                    <a:pt x="208013" y="0"/>
                  </a:lnTo>
                  <a:lnTo>
                    <a:pt x="207225" y="787"/>
                  </a:lnTo>
                  <a:lnTo>
                    <a:pt x="206451" y="0"/>
                  </a:lnTo>
                  <a:lnTo>
                    <a:pt x="193090" y="0"/>
                  </a:lnTo>
                  <a:lnTo>
                    <a:pt x="187960" y="0"/>
                  </a:lnTo>
                  <a:lnTo>
                    <a:pt x="174586" y="0"/>
                  </a:lnTo>
                  <a:lnTo>
                    <a:pt x="173799" y="787"/>
                  </a:lnTo>
                  <a:lnTo>
                    <a:pt x="173024" y="0"/>
                  </a:lnTo>
                  <a:lnTo>
                    <a:pt x="159664" y="0"/>
                  </a:lnTo>
                  <a:lnTo>
                    <a:pt x="154533" y="0"/>
                  </a:lnTo>
                  <a:lnTo>
                    <a:pt x="146291" y="0"/>
                  </a:lnTo>
                  <a:lnTo>
                    <a:pt x="141160" y="0"/>
                  </a:lnTo>
                  <a:lnTo>
                    <a:pt x="127800" y="0"/>
                  </a:lnTo>
                  <a:lnTo>
                    <a:pt x="127012" y="787"/>
                  </a:lnTo>
                  <a:lnTo>
                    <a:pt x="126238" y="0"/>
                  </a:lnTo>
                  <a:lnTo>
                    <a:pt x="112864" y="0"/>
                  </a:lnTo>
                  <a:lnTo>
                    <a:pt x="107734" y="0"/>
                  </a:lnTo>
                  <a:lnTo>
                    <a:pt x="94373" y="0"/>
                  </a:lnTo>
                  <a:lnTo>
                    <a:pt x="93586" y="787"/>
                  </a:lnTo>
                  <a:lnTo>
                    <a:pt x="92811" y="0"/>
                  </a:lnTo>
                  <a:lnTo>
                    <a:pt x="79438" y="0"/>
                  </a:lnTo>
                  <a:lnTo>
                    <a:pt x="74320" y="0"/>
                  </a:lnTo>
                  <a:lnTo>
                    <a:pt x="60947" y="0"/>
                  </a:lnTo>
                  <a:lnTo>
                    <a:pt x="60159" y="787"/>
                  </a:lnTo>
                  <a:lnTo>
                    <a:pt x="59385" y="0"/>
                  </a:lnTo>
                  <a:lnTo>
                    <a:pt x="46012" y="0"/>
                  </a:lnTo>
                  <a:lnTo>
                    <a:pt x="40894" y="0"/>
                  </a:lnTo>
                  <a:lnTo>
                    <a:pt x="27520" y="0"/>
                  </a:lnTo>
                  <a:lnTo>
                    <a:pt x="26733" y="787"/>
                  </a:lnTo>
                  <a:lnTo>
                    <a:pt x="25958" y="0"/>
                  </a:lnTo>
                  <a:lnTo>
                    <a:pt x="7467" y="0"/>
                  </a:lnTo>
                  <a:lnTo>
                    <a:pt x="0" y="7493"/>
                  </a:lnTo>
                  <a:lnTo>
                    <a:pt x="0" y="26035"/>
                  </a:lnTo>
                  <a:lnTo>
                    <a:pt x="7467" y="33515"/>
                  </a:lnTo>
                  <a:lnTo>
                    <a:pt x="25958" y="33515"/>
                  </a:lnTo>
                  <a:lnTo>
                    <a:pt x="26733" y="32740"/>
                  </a:lnTo>
                  <a:lnTo>
                    <a:pt x="27520" y="33515"/>
                  </a:lnTo>
                  <a:lnTo>
                    <a:pt x="40894" y="33515"/>
                  </a:lnTo>
                  <a:lnTo>
                    <a:pt x="46012" y="33515"/>
                  </a:lnTo>
                  <a:lnTo>
                    <a:pt x="59385" y="33515"/>
                  </a:lnTo>
                  <a:lnTo>
                    <a:pt x="60159" y="32740"/>
                  </a:lnTo>
                  <a:lnTo>
                    <a:pt x="60947" y="33515"/>
                  </a:lnTo>
                  <a:lnTo>
                    <a:pt x="74320" y="33515"/>
                  </a:lnTo>
                  <a:lnTo>
                    <a:pt x="79438" y="33515"/>
                  </a:lnTo>
                  <a:lnTo>
                    <a:pt x="92811" y="33515"/>
                  </a:lnTo>
                  <a:lnTo>
                    <a:pt x="93586" y="32740"/>
                  </a:lnTo>
                  <a:lnTo>
                    <a:pt x="94373" y="33515"/>
                  </a:lnTo>
                  <a:lnTo>
                    <a:pt x="107734" y="33515"/>
                  </a:lnTo>
                  <a:lnTo>
                    <a:pt x="112864" y="33515"/>
                  </a:lnTo>
                  <a:lnTo>
                    <a:pt x="126238" y="33515"/>
                  </a:lnTo>
                  <a:lnTo>
                    <a:pt x="127012" y="32740"/>
                  </a:lnTo>
                  <a:lnTo>
                    <a:pt x="127800" y="33515"/>
                  </a:lnTo>
                  <a:lnTo>
                    <a:pt x="141160" y="33515"/>
                  </a:lnTo>
                  <a:lnTo>
                    <a:pt x="146291" y="33515"/>
                  </a:lnTo>
                  <a:lnTo>
                    <a:pt x="154533" y="33515"/>
                  </a:lnTo>
                  <a:lnTo>
                    <a:pt x="159664" y="33515"/>
                  </a:lnTo>
                  <a:lnTo>
                    <a:pt x="173024" y="33515"/>
                  </a:lnTo>
                  <a:lnTo>
                    <a:pt x="173799" y="32740"/>
                  </a:lnTo>
                  <a:lnTo>
                    <a:pt x="174586" y="33515"/>
                  </a:lnTo>
                  <a:lnTo>
                    <a:pt x="187960" y="33515"/>
                  </a:lnTo>
                  <a:lnTo>
                    <a:pt x="193090" y="33515"/>
                  </a:lnTo>
                  <a:lnTo>
                    <a:pt x="206451" y="33515"/>
                  </a:lnTo>
                  <a:lnTo>
                    <a:pt x="207225" y="32740"/>
                  </a:lnTo>
                  <a:lnTo>
                    <a:pt x="208013" y="33515"/>
                  </a:lnTo>
                  <a:lnTo>
                    <a:pt x="221386" y="33515"/>
                  </a:lnTo>
                  <a:lnTo>
                    <a:pt x="226517" y="33515"/>
                  </a:lnTo>
                  <a:lnTo>
                    <a:pt x="239877" y="33515"/>
                  </a:lnTo>
                  <a:lnTo>
                    <a:pt x="240652" y="32740"/>
                  </a:lnTo>
                  <a:lnTo>
                    <a:pt x="241439" y="33515"/>
                  </a:lnTo>
                  <a:lnTo>
                    <a:pt x="254812" y="33515"/>
                  </a:lnTo>
                  <a:lnTo>
                    <a:pt x="259930" y="33515"/>
                  </a:lnTo>
                  <a:lnTo>
                    <a:pt x="273304" y="33515"/>
                  </a:lnTo>
                  <a:lnTo>
                    <a:pt x="274078" y="32740"/>
                  </a:lnTo>
                  <a:lnTo>
                    <a:pt x="274866" y="33515"/>
                  </a:lnTo>
                  <a:lnTo>
                    <a:pt x="288239" y="33515"/>
                  </a:lnTo>
                  <a:lnTo>
                    <a:pt x="293357" y="33515"/>
                  </a:lnTo>
                  <a:lnTo>
                    <a:pt x="306730" y="33515"/>
                  </a:lnTo>
                  <a:lnTo>
                    <a:pt x="307505" y="32740"/>
                  </a:lnTo>
                  <a:lnTo>
                    <a:pt x="308292" y="33515"/>
                  </a:lnTo>
                  <a:lnTo>
                    <a:pt x="321665" y="33515"/>
                  </a:lnTo>
                  <a:lnTo>
                    <a:pt x="326783" y="33515"/>
                  </a:lnTo>
                  <a:lnTo>
                    <a:pt x="335026" y="33515"/>
                  </a:lnTo>
                  <a:lnTo>
                    <a:pt x="340156" y="33515"/>
                  </a:lnTo>
                  <a:lnTo>
                    <a:pt x="353529" y="33515"/>
                  </a:lnTo>
                  <a:lnTo>
                    <a:pt x="354304" y="32740"/>
                  </a:lnTo>
                  <a:lnTo>
                    <a:pt x="355092" y="33515"/>
                  </a:lnTo>
                  <a:lnTo>
                    <a:pt x="368452" y="33515"/>
                  </a:lnTo>
                  <a:lnTo>
                    <a:pt x="373583" y="33515"/>
                  </a:lnTo>
                  <a:lnTo>
                    <a:pt x="386956" y="33515"/>
                  </a:lnTo>
                  <a:lnTo>
                    <a:pt x="387731" y="32740"/>
                  </a:lnTo>
                  <a:lnTo>
                    <a:pt x="388518" y="33515"/>
                  </a:lnTo>
                  <a:lnTo>
                    <a:pt x="401878" y="33515"/>
                  </a:lnTo>
                  <a:lnTo>
                    <a:pt x="407009" y="33515"/>
                  </a:lnTo>
                  <a:lnTo>
                    <a:pt x="420382" y="33515"/>
                  </a:lnTo>
                  <a:lnTo>
                    <a:pt x="421157" y="32740"/>
                  </a:lnTo>
                  <a:lnTo>
                    <a:pt x="421932" y="33515"/>
                  </a:lnTo>
                  <a:lnTo>
                    <a:pt x="435305" y="33515"/>
                  </a:lnTo>
                  <a:lnTo>
                    <a:pt x="440436" y="33515"/>
                  </a:lnTo>
                  <a:lnTo>
                    <a:pt x="453796" y="33515"/>
                  </a:lnTo>
                  <a:lnTo>
                    <a:pt x="454571" y="32740"/>
                  </a:lnTo>
                  <a:lnTo>
                    <a:pt x="455358" y="33515"/>
                  </a:lnTo>
                  <a:lnTo>
                    <a:pt x="468731" y="33515"/>
                  </a:lnTo>
                  <a:lnTo>
                    <a:pt x="473862" y="33515"/>
                  </a:lnTo>
                  <a:lnTo>
                    <a:pt x="487222" y="33515"/>
                  </a:lnTo>
                  <a:lnTo>
                    <a:pt x="494690" y="26035"/>
                  </a:lnTo>
                  <a:lnTo>
                    <a:pt x="494690" y="16764"/>
                  </a:lnTo>
                  <a:lnTo>
                    <a:pt x="494690" y="7493"/>
                  </a:lnTo>
                  <a:close/>
                </a:path>
                <a:path w="1270634" h="33654">
                  <a:moveTo>
                    <a:pt x="1270152" y="7493"/>
                  </a:moveTo>
                  <a:lnTo>
                    <a:pt x="1262697" y="0"/>
                  </a:lnTo>
                  <a:lnTo>
                    <a:pt x="1244193" y="0"/>
                  </a:lnTo>
                  <a:lnTo>
                    <a:pt x="1243406" y="787"/>
                  </a:lnTo>
                  <a:lnTo>
                    <a:pt x="1242631" y="0"/>
                  </a:lnTo>
                  <a:lnTo>
                    <a:pt x="1229271" y="0"/>
                  </a:lnTo>
                  <a:lnTo>
                    <a:pt x="1224140" y="0"/>
                  </a:lnTo>
                  <a:lnTo>
                    <a:pt x="1210767" y="0"/>
                  </a:lnTo>
                  <a:lnTo>
                    <a:pt x="1209992" y="787"/>
                  </a:lnTo>
                  <a:lnTo>
                    <a:pt x="1209217" y="0"/>
                  </a:lnTo>
                  <a:lnTo>
                    <a:pt x="1195844" y="0"/>
                  </a:lnTo>
                  <a:lnTo>
                    <a:pt x="1190713" y="0"/>
                  </a:lnTo>
                  <a:lnTo>
                    <a:pt x="1177353" y="0"/>
                  </a:lnTo>
                  <a:lnTo>
                    <a:pt x="1176566" y="787"/>
                  </a:lnTo>
                  <a:lnTo>
                    <a:pt x="1175791" y="0"/>
                  </a:lnTo>
                  <a:lnTo>
                    <a:pt x="1162418" y="0"/>
                  </a:lnTo>
                  <a:lnTo>
                    <a:pt x="1157287" y="0"/>
                  </a:lnTo>
                  <a:lnTo>
                    <a:pt x="1143927" y="0"/>
                  </a:lnTo>
                  <a:lnTo>
                    <a:pt x="1143139" y="787"/>
                  </a:lnTo>
                  <a:lnTo>
                    <a:pt x="1142365" y="0"/>
                  </a:lnTo>
                  <a:lnTo>
                    <a:pt x="1128991" y="0"/>
                  </a:lnTo>
                  <a:lnTo>
                    <a:pt x="1123861" y="0"/>
                  </a:lnTo>
                  <a:lnTo>
                    <a:pt x="1115618" y="0"/>
                  </a:lnTo>
                  <a:lnTo>
                    <a:pt x="1110500" y="0"/>
                  </a:lnTo>
                  <a:lnTo>
                    <a:pt x="1097127" y="0"/>
                  </a:lnTo>
                  <a:lnTo>
                    <a:pt x="1096340" y="787"/>
                  </a:lnTo>
                  <a:lnTo>
                    <a:pt x="1095565" y="0"/>
                  </a:lnTo>
                  <a:lnTo>
                    <a:pt x="1082192" y="0"/>
                  </a:lnTo>
                  <a:lnTo>
                    <a:pt x="1077074" y="0"/>
                  </a:lnTo>
                  <a:lnTo>
                    <a:pt x="1063701" y="0"/>
                  </a:lnTo>
                  <a:lnTo>
                    <a:pt x="1062913" y="787"/>
                  </a:lnTo>
                  <a:lnTo>
                    <a:pt x="1062139" y="0"/>
                  </a:lnTo>
                  <a:lnTo>
                    <a:pt x="1048766" y="0"/>
                  </a:lnTo>
                  <a:lnTo>
                    <a:pt x="1043647" y="0"/>
                  </a:lnTo>
                  <a:lnTo>
                    <a:pt x="1030274" y="0"/>
                  </a:lnTo>
                  <a:lnTo>
                    <a:pt x="1029487" y="787"/>
                  </a:lnTo>
                  <a:lnTo>
                    <a:pt x="1028712" y="0"/>
                  </a:lnTo>
                  <a:lnTo>
                    <a:pt x="1015352" y="0"/>
                  </a:lnTo>
                  <a:lnTo>
                    <a:pt x="1010221" y="0"/>
                  </a:lnTo>
                  <a:lnTo>
                    <a:pt x="996848" y="0"/>
                  </a:lnTo>
                  <a:lnTo>
                    <a:pt x="996061" y="787"/>
                  </a:lnTo>
                  <a:lnTo>
                    <a:pt x="995286" y="0"/>
                  </a:lnTo>
                  <a:lnTo>
                    <a:pt x="981925" y="0"/>
                  </a:lnTo>
                  <a:lnTo>
                    <a:pt x="976795" y="0"/>
                  </a:lnTo>
                  <a:lnTo>
                    <a:pt x="963422" y="0"/>
                  </a:lnTo>
                  <a:lnTo>
                    <a:pt x="962634" y="787"/>
                  </a:lnTo>
                  <a:lnTo>
                    <a:pt x="961859" y="0"/>
                  </a:lnTo>
                  <a:lnTo>
                    <a:pt x="948499" y="0"/>
                  </a:lnTo>
                  <a:lnTo>
                    <a:pt x="943368" y="0"/>
                  </a:lnTo>
                  <a:lnTo>
                    <a:pt x="935126" y="0"/>
                  </a:lnTo>
                  <a:lnTo>
                    <a:pt x="929995" y="0"/>
                  </a:lnTo>
                  <a:lnTo>
                    <a:pt x="916635" y="0"/>
                  </a:lnTo>
                  <a:lnTo>
                    <a:pt x="915847" y="787"/>
                  </a:lnTo>
                  <a:lnTo>
                    <a:pt x="915073" y="0"/>
                  </a:lnTo>
                  <a:lnTo>
                    <a:pt x="901700" y="0"/>
                  </a:lnTo>
                  <a:lnTo>
                    <a:pt x="896569" y="0"/>
                  </a:lnTo>
                  <a:lnTo>
                    <a:pt x="883208" y="0"/>
                  </a:lnTo>
                  <a:lnTo>
                    <a:pt x="882421" y="787"/>
                  </a:lnTo>
                  <a:lnTo>
                    <a:pt x="881646" y="0"/>
                  </a:lnTo>
                  <a:lnTo>
                    <a:pt x="868273" y="0"/>
                  </a:lnTo>
                  <a:lnTo>
                    <a:pt x="863155" y="0"/>
                  </a:lnTo>
                  <a:lnTo>
                    <a:pt x="849782" y="0"/>
                  </a:lnTo>
                  <a:lnTo>
                    <a:pt x="848995" y="787"/>
                  </a:lnTo>
                  <a:lnTo>
                    <a:pt x="848220" y="0"/>
                  </a:lnTo>
                  <a:lnTo>
                    <a:pt x="834847" y="0"/>
                  </a:lnTo>
                  <a:lnTo>
                    <a:pt x="829729" y="0"/>
                  </a:lnTo>
                  <a:lnTo>
                    <a:pt x="816356" y="0"/>
                  </a:lnTo>
                  <a:lnTo>
                    <a:pt x="815568" y="787"/>
                  </a:lnTo>
                  <a:lnTo>
                    <a:pt x="814793" y="0"/>
                  </a:lnTo>
                  <a:lnTo>
                    <a:pt x="801420" y="0"/>
                  </a:lnTo>
                  <a:lnTo>
                    <a:pt x="796302" y="0"/>
                  </a:lnTo>
                  <a:lnTo>
                    <a:pt x="782929" y="0"/>
                  </a:lnTo>
                  <a:lnTo>
                    <a:pt x="782142" y="787"/>
                  </a:lnTo>
                  <a:lnTo>
                    <a:pt x="781367" y="0"/>
                  </a:lnTo>
                  <a:lnTo>
                    <a:pt x="767994" y="0"/>
                  </a:lnTo>
                  <a:lnTo>
                    <a:pt x="762876" y="0"/>
                  </a:lnTo>
                  <a:lnTo>
                    <a:pt x="749503" y="0"/>
                  </a:lnTo>
                  <a:lnTo>
                    <a:pt x="748715" y="787"/>
                  </a:lnTo>
                  <a:lnTo>
                    <a:pt x="747941" y="0"/>
                  </a:lnTo>
                  <a:lnTo>
                    <a:pt x="702703" y="0"/>
                  </a:lnTo>
                  <a:lnTo>
                    <a:pt x="701929" y="787"/>
                  </a:lnTo>
                  <a:lnTo>
                    <a:pt x="701154" y="0"/>
                  </a:lnTo>
                  <a:lnTo>
                    <a:pt x="687781" y="0"/>
                  </a:lnTo>
                  <a:lnTo>
                    <a:pt x="682650" y="0"/>
                  </a:lnTo>
                  <a:lnTo>
                    <a:pt x="669290" y="0"/>
                  </a:lnTo>
                  <a:lnTo>
                    <a:pt x="668502" y="787"/>
                  </a:lnTo>
                  <a:lnTo>
                    <a:pt x="667727" y="0"/>
                  </a:lnTo>
                  <a:lnTo>
                    <a:pt x="654354" y="0"/>
                  </a:lnTo>
                  <a:lnTo>
                    <a:pt x="649224" y="0"/>
                  </a:lnTo>
                  <a:lnTo>
                    <a:pt x="635863" y="0"/>
                  </a:lnTo>
                  <a:lnTo>
                    <a:pt x="635076" y="787"/>
                  </a:lnTo>
                  <a:lnTo>
                    <a:pt x="634301" y="0"/>
                  </a:lnTo>
                  <a:lnTo>
                    <a:pt x="620928" y="0"/>
                  </a:lnTo>
                  <a:lnTo>
                    <a:pt x="615797" y="0"/>
                  </a:lnTo>
                  <a:lnTo>
                    <a:pt x="602437" y="0"/>
                  </a:lnTo>
                  <a:lnTo>
                    <a:pt x="601649" y="787"/>
                  </a:lnTo>
                  <a:lnTo>
                    <a:pt x="600875" y="0"/>
                  </a:lnTo>
                  <a:lnTo>
                    <a:pt x="587502" y="0"/>
                  </a:lnTo>
                  <a:lnTo>
                    <a:pt x="582383" y="0"/>
                  </a:lnTo>
                  <a:lnTo>
                    <a:pt x="569010" y="0"/>
                  </a:lnTo>
                  <a:lnTo>
                    <a:pt x="561543" y="7493"/>
                  </a:lnTo>
                  <a:lnTo>
                    <a:pt x="561543" y="26035"/>
                  </a:lnTo>
                  <a:lnTo>
                    <a:pt x="569010" y="33515"/>
                  </a:lnTo>
                  <a:lnTo>
                    <a:pt x="582383" y="33515"/>
                  </a:lnTo>
                  <a:lnTo>
                    <a:pt x="587502" y="33515"/>
                  </a:lnTo>
                  <a:lnTo>
                    <a:pt x="600875" y="33515"/>
                  </a:lnTo>
                  <a:lnTo>
                    <a:pt x="601649" y="32740"/>
                  </a:lnTo>
                  <a:lnTo>
                    <a:pt x="602437" y="33515"/>
                  </a:lnTo>
                  <a:lnTo>
                    <a:pt x="615797" y="33515"/>
                  </a:lnTo>
                  <a:lnTo>
                    <a:pt x="620928" y="33515"/>
                  </a:lnTo>
                  <a:lnTo>
                    <a:pt x="634301" y="33515"/>
                  </a:lnTo>
                  <a:lnTo>
                    <a:pt x="635076" y="32740"/>
                  </a:lnTo>
                  <a:lnTo>
                    <a:pt x="635863" y="33515"/>
                  </a:lnTo>
                  <a:lnTo>
                    <a:pt x="649224" y="33515"/>
                  </a:lnTo>
                  <a:lnTo>
                    <a:pt x="654354" y="33515"/>
                  </a:lnTo>
                  <a:lnTo>
                    <a:pt x="667727" y="33515"/>
                  </a:lnTo>
                  <a:lnTo>
                    <a:pt x="668502" y="32740"/>
                  </a:lnTo>
                  <a:lnTo>
                    <a:pt x="669290" y="33515"/>
                  </a:lnTo>
                  <a:lnTo>
                    <a:pt x="682650" y="33515"/>
                  </a:lnTo>
                  <a:lnTo>
                    <a:pt x="687781" y="33515"/>
                  </a:lnTo>
                  <a:lnTo>
                    <a:pt x="701154" y="33515"/>
                  </a:lnTo>
                  <a:lnTo>
                    <a:pt x="701929" y="32740"/>
                  </a:lnTo>
                  <a:lnTo>
                    <a:pt x="702703" y="33515"/>
                  </a:lnTo>
                  <a:lnTo>
                    <a:pt x="716076" y="33515"/>
                  </a:lnTo>
                  <a:lnTo>
                    <a:pt x="721207" y="33515"/>
                  </a:lnTo>
                  <a:lnTo>
                    <a:pt x="729449" y="33515"/>
                  </a:lnTo>
                  <a:lnTo>
                    <a:pt x="734580" y="33515"/>
                  </a:lnTo>
                  <a:lnTo>
                    <a:pt x="747941" y="33515"/>
                  </a:lnTo>
                  <a:lnTo>
                    <a:pt x="748715" y="32740"/>
                  </a:lnTo>
                  <a:lnTo>
                    <a:pt x="749503" y="33515"/>
                  </a:lnTo>
                  <a:lnTo>
                    <a:pt x="762876" y="33515"/>
                  </a:lnTo>
                  <a:lnTo>
                    <a:pt x="767994" y="33515"/>
                  </a:lnTo>
                  <a:lnTo>
                    <a:pt x="781367" y="33515"/>
                  </a:lnTo>
                  <a:lnTo>
                    <a:pt x="782142" y="32740"/>
                  </a:lnTo>
                  <a:lnTo>
                    <a:pt x="782929" y="33515"/>
                  </a:lnTo>
                  <a:lnTo>
                    <a:pt x="796302" y="33515"/>
                  </a:lnTo>
                  <a:lnTo>
                    <a:pt x="801420" y="33515"/>
                  </a:lnTo>
                  <a:lnTo>
                    <a:pt x="814793" y="33515"/>
                  </a:lnTo>
                  <a:lnTo>
                    <a:pt x="815568" y="32740"/>
                  </a:lnTo>
                  <a:lnTo>
                    <a:pt x="816356" y="33515"/>
                  </a:lnTo>
                  <a:lnTo>
                    <a:pt x="829729" y="33515"/>
                  </a:lnTo>
                  <a:lnTo>
                    <a:pt x="834847" y="33515"/>
                  </a:lnTo>
                  <a:lnTo>
                    <a:pt x="848220" y="33515"/>
                  </a:lnTo>
                  <a:lnTo>
                    <a:pt x="848995" y="32740"/>
                  </a:lnTo>
                  <a:lnTo>
                    <a:pt x="849782" y="33515"/>
                  </a:lnTo>
                  <a:lnTo>
                    <a:pt x="863155" y="33515"/>
                  </a:lnTo>
                  <a:lnTo>
                    <a:pt x="868273" y="33515"/>
                  </a:lnTo>
                  <a:lnTo>
                    <a:pt x="881646" y="33515"/>
                  </a:lnTo>
                  <a:lnTo>
                    <a:pt x="882421" y="32740"/>
                  </a:lnTo>
                  <a:lnTo>
                    <a:pt x="883208" y="33515"/>
                  </a:lnTo>
                  <a:lnTo>
                    <a:pt x="896569" y="33515"/>
                  </a:lnTo>
                  <a:lnTo>
                    <a:pt x="901700" y="33515"/>
                  </a:lnTo>
                  <a:lnTo>
                    <a:pt x="915073" y="33515"/>
                  </a:lnTo>
                  <a:lnTo>
                    <a:pt x="915847" y="32740"/>
                  </a:lnTo>
                  <a:lnTo>
                    <a:pt x="916635" y="33515"/>
                  </a:lnTo>
                  <a:lnTo>
                    <a:pt x="961859" y="33515"/>
                  </a:lnTo>
                  <a:lnTo>
                    <a:pt x="962634" y="32740"/>
                  </a:lnTo>
                  <a:lnTo>
                    <a:pt x="963422" y="33515"/>
                  </a:lnTo>
                  <a:lnTo>
                    <a:pt x="976795" y="33515"/>
                  </a:lnTo>
                  <a:lnTo>
                    <a:pt x="981925" y="33515"/>
                  </a:lnTo>
                  <a:lnTo>
                    <a:pt x="995286" y="33515"/>
                  </a:lnTo>
                  <a:lnTo>
                    <a:pt x="996061" y="32740"/>
                  </a:lnTo>
                  <a:lnTo>
                    <a:pt x="996848" y="33515"/>
                  </a:lnTo>
                  <a:lnTo>
                    <a:pt x="1010221" y="33515"/>
                  </a:lnTo>
                  <a:lnTo>
                    <a:pt x="1015352" y="33515"/>
                  </a:lnTo>
                  <a:lnTo>
                    <a:pt x="1028712" y="33515"/>
                  </a:lnTo>
                  <a:lnTo>
                    <a:pt x="1029487" y="32740"/>
                  </a:lnTo>
                  <a:lnTo>
                    <a:pt x="1030274" y="33515"/>
                  </a:lnTo>
                  <a:lnTo>
                    <a:pt x="1043647" y="33515"/>
                  </a:lnTo>
                  <a:lnTo>
                    <a:pt x="1048766" y="33515"/>
                  </a:lnTo>
                  <a:lnTo>
                    <a:pt x="1062139" y="33515"/>
                  </a:lnTo>
                  <a:lnTo>
                    <a:pt x="1062913" y="32740"/>
                  </a:lnTo>
                  <a:lnTo>
                    <a:pt x="1063701" y="33515"/>
                  </a:lnTo>
                  <a:lnTo>
                    <a:pt x="1077074" y="33515"/>
                  </a:lnTo>
                  <a:lnTo>
                    <a:pt x="1082192" y="33515"/>
                  </a:lnTo>
                  <a:lnTo>
                    <a:pt x="1095565" y="33515"/>
                  </a:lnTo>
                  <a:lnTo>
                    <a:pt x="1096340" y="32740"/>
                  </a:lnTo>
                  <a:lnTo>
                    <a:pt x="1097127" y="33515"/>
                  </a:lnTo>
                  <a:lnTo>
                    <a:pt x="1110500" y="33515"/>
                  </a:lnTo>
                  <a:lnTo>
                    <a:pt x="1115618" y="33515"/>
                  </a:lnTo>
                  <a:lnTo>
                    <a:pt x="1123861" y="33515"/>
                  </a:lnTo>
                  <a:lnTo>
                    <a:pt x="1128991" y="33515"/>
                  </a:lnTo>
                  <a:lnTo>
                    <a:pt x="1142365" y="33515"/>
                  </a:lnTo>
                  <a:lnTo>
                    <a:pt x="1143139" y="32740"/>
                  </a:lnTo>
                  <a:lnTo>
                    <a:pt x="1143927" y="33515"/>
                  </a:lnTo>
                  <a:lnTo>
                    <a:pt x="1157287" y="33515"/>
                  </a:lnTo>
                  <a:lnTo>
                    <a:pt x="1162418" y="33515"/>
                  </a:lnTo>
                  <a:lnTo>
                    <a:pt x="1175791" y="33515"/>
                  </a:lnTo>
                  <a:lnTo>
                    <a:pt x="1176566" y="32740"/>
                  </a:lnTo>
                  <a:lnTo>
                    <a:pt x="1177353" y="33515"/>
                  </a:lnTo>
                  <a:lnTo>
                    <a:pt x="1190713" y="33515"/>
                  </a:lnTo>
                  <a:lnTo>
                    <a:pt x="1195844" y="33515"/>
                  </a:lnTo>
                  <a:lnTo>
                    <a:pt x="1209217" y="33515"/>
                  </a:lnTo>
                  <a:lnTo>
                    <a:pt x="1209992" y="32740"/>
                  </a:lnTo>
                  <a:lnTo>
                    <a:pt x="1210767" y="33515"/>
                  </a:lnTo>
                  <a:lnTo>
                    <a:pt x="1224140" y="33515"/>
                  </a:lnTo>
                  <a:lnTo>
                    <a:pt x="1229271" y="33515"/>
                  </a:lnTo>
                  <a:lnTo>
                    <a:pt x="1242631" y="33515"/>
                  </a:lnTo>
                  <a:lnTo>
                    <a:pt x="1243406" y="32740"/>
                  </a:lnTo>
                  <a:lnTo>
                    <a:pt x="1244193" y="33515"/>
                  </a:lnTo>
                  <a:lnTo>
                    <a:pt x="1262697" y="33515"/>
                  </a:lnTo>
                  <a:lnTo>
                    <a:pt x="1270152" y="26035"/>
                  </a:lnTo>
                  <a:lnTo>
                    <a:pt x="1270152" y="16764"/>
                  </a:lnTo>
                  <a:lnTo>
                    <a:pt x="1270152" y="7493"/>
                  </a:lnTo>
                  <a:close/>
                </a:path>
              </a:pathLst>
            </a:custGeom>
            <a:solidFill>
              <a:srgbClr val="94373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0" name="object 20"/>
            <p:cNvSpPr/>
            <p:nvPr/>
          </p:nvSpPr>
          <p:spPr>
            <a:xfrm>
              <a:off x="10684408" y="4256176"/>
              <a:ext cx="427990" cy="33655"/>
            </a:xfrm>
            <a:custGeom>
              <a:avLst/>
              <a:gdLst/>
              <a:ahLst/>
              <a:cxnLst/>
              <a:rect l="l" t="t" r="r" b="b"/>
              <a:pathLst>
                <a:path w="427990" h="33654">
                  <a:moveTo>
                    <a:pt x="427837" y="7493"/>
                  </a:moveTo>
                  <a:lnTo>
                    <a:pt x="420370" y="0"/>
                  </a:lnTo>
                  <a:lnTo>
                    <a:pt x="401878" y="0"/>
                  </a:lnTo>
                  <a:lnTo>
                    <a:pt x="401091" y="787"/>
                  </a:lnTo>
                  <a:lnTo>
                    <a:pt x="400316" y="0"/>
                  </a:lnTo>
                  <a:lnTo>
                    <a:pt x="386943" y="0"/>
                  </a:lnTo>
                  <a:lnTo>
                    <a:pt x="381825" y="0"/>
                  </a:lnTo>
                  <a:lnTo>
                    <a:pt x="368452" y="0"/>
                  </a:lnTo>
                  <a:lnTo>
                    <a:pt x="367665" y="787"/>
                  </a:lnTo>
                  <a:lnTo>
                    <a:pt x="366890" y="0"/>
                  </a:lnTo>
                  <a:lnTo>
                    <a:pt x="353517" y="0"/>
                  </a:lnTo>
                  <a:lnTo>
                    <a:pt x="348399" y="0"/>
                  </a:lnTo>
                  <a:lnTo>
                    <a:pt x="335026" y="0"/>
                  </a:lnTo>
                  <a:lnTo>
                    <a:pt x="334238" y="787"/>
                  </a:lnTo>
                  <a:lnTo>
                    <a:pt x="333463" y="0"/>
                  </a:lnTo>
                  <a:lnTo>
                    <a:pt x="320090" y="0"/>
                  </a:lnTo>
                  <a:lnTo>
                    <a:pt x="314972" y="0"/>
                  </a:lnTo>
                  <a:lnTo>
                    <a:pt x="301599" y="0"/>
                  </a:lnTo>
                  <a:lnTo>
                    <a:pt x="300812" y="787"/>
                  </a:lnTo>
                  <a:lnTo>
                    <a:pt x="300037" y="0"/>
                  </a:lnTo>
                  <a:lnTo>
                    <a:pt x="286677" y="0"/>
                  </a:lnTo>
                  <a:lnTo>
                    <a:pt x="281546" y="0"/>
                  </a:lnTo>
                  <a:lnTo>
                    <a:pt x="273304" y="0"/>
                  </a:lnTo>
                  <a:lnTo>
                    <a:pt x="268173" y="0"/>
                  </a:lnTo>
                  <a:lnTo>
                    <a:pt x="254800" y="0"/>
                  </a:lnTo>
                  <a:lnTo>
                    <a:pt x="254025" y="787"/>
                  </a:lnTo>
                  <a:lnTo>
                    <a:pt x="253250" y="0"/>
                  </a:lnTo>
                  <a:lnTo>
                    <a:pt x="239877" y="0"/>
                  </a:lnTo>
                  <a:lnTo>
                    <a:pt x="234746" y="0"/>
                  </a:lnTo>
                  <a:lnTo>
                    <a:pt x="221386" y="0"/>
                  </a:lnTo>
                  <a:lnTo>
                    <a:pt x="220599" y="787"/>
                  </a:lnTo>
                  <a:lnTo>
                    <a:pt x="219824" y="0"/>
                  </a:lnTo>
                  <a:lnTo>
                    <a:pt x="206451" y="0"/>
                  </a:lnTo>
                  <a:lnTo>
                    <a:pt x="201320" y="0"/>
                  </a:lnTo>
                  <a:lnTo>
                    <a:pt x="187960" y="0"/>
                  </a:lnTo>
                  <a:lnTo>
                    <a:pt x="187172" y="787"/>
                  </a:lnTo>
                  <a:lnTo>
                    <a:pt x="186397" y="0"/>
                  </a:lnTo>
                  <a:lnTo>
                    <a:pt x="173024" y="0"/>
                  </a:lnTo>
                  <a:lnTo>
                    <a:pt x="167894" y="0"/>
                  </a:lnTo>
                  <a:lnTo>
                    <a:pt x="154533" y="0"/>
                  </a:lnTo>
                  <a:lnTo>
                    <a:pt x="153746" y="787"/>
                  </a:lnTo>
                  <a:lnTo>
                    <a:pt x="152971" y="0"/>
                  </a:lnTo>
                  <a:lnTo>
                    <a:pt x="139598" y="0"/>
                  </a:lnTo>
                  <a:lnTo>
                    <a:pt x="134480" y="0"/>
                  </a:lnTo>
                  <a:lnTo>
                    <a:pt x="121107" y="0"/>
                  </a:lnTo>
                  <a:lnTo>
                    <a:pt x="120319" y="787"/>
                  </a:lnTo>
                  <a:lnTo>
                    <a:pt x="119545" y="0"/>
                  </a:lnTo>
                  <a:lnTo>
                    <a:pt x="106172" y="0"/>
                  </a:lnTo>
                  <a:lnTo>
                    <a:pt x="101053" y="0"/>
                  </a:lnTo>
                  <a:lnTo>
                    <a:pt x="92798" y="0"/>
                  </a:lnTo>
                  <a:lnTo>
                    <a:pt x="87680" y="0"/>
                  </a:lnTo>
                  <a:lnTo>
                    <a:pt x="74307" y="0"/>
                  </a:lnTo>
                  <a:lnTo>
                    <a:pt x="73520" y="787"/>
                  </a:lnTo>
                  <a:lnTo>
                    <a:pt x="72745" y="0"/>
                  </a:lnTo>
                  <a:lnTo>
                    <a:pt x="59385" y="0"/>
                  </a:lnTo>
                  <a:lnTo>
                    <a:pt x="54254" y="0"/>
                  </a:lnTo>
                  <a:lnTo>
                    <a:pt x="40881" y="0"/>
                  </a:lnTo>
                  <a:lnTo>
                    <a:pt x="40093" y="787"/>
                  </a:lnTo>
                  <a:lnTo>
                    <a:pt x="39319" y="0"/>
                  </a:lnTo>
                  <a:lnTo>
                    <a:pt x="25958" y="0"/>
                  </a:lnTo>
                  <a:lnTo>
                    <a:pt x="20828" y="0"/>
                  </a:lnTo>
                  <a:lnTo>
                    <a:pt x="7454" y="0"/>
                  </a:lnTo>
                  <a:lnTo>
                    <a:pt x="0" y="7493"/>
                  </a:lnTo>
                  <a:lnTo>
                    <a:pt x="0" y="26035"/>
                  </a:lnTo>
                  <a:lnTo>
                    <a:pt x="7454" y="33515"/>
                  </a:lnTo>
                  <a:lnTo>
                    <a:pt x="20828" y="33515"/>
                  </a:lnTo>
                  <a:lnTo>
                    <a:pt x="25958" y="33515"/>
                  </a:lnTo>
                  <a:lnTo>
                    <a:pt x="39319" y="33515"/>
                  </a:lnTo>
                  <a:lnTo>
                    <a:pt x="40093" y="32740"/>
                  </a:lnTo>
                  <a:lnTo>
                    <a:pt x="40881" y="33515"/>
                  </a:lnTo>
                  <a:lnTo>
                    <a:pt x="54254" y="33515"/>
                  </a:lnTo>
                  <a:lnTo>
                    <a:pt x="59385" y="33515"/>
                  </a:lnTo>
                  <a:lnTo>
                    <a:pt x="72745" y="33515"/>
                  </a:lnTo>
                  <a:lnTo>
                    <a:pt x="73520" y="32740"/>
                  </a:lnTo>
                  <a:lnTo>
                    <a:pt x="74307" y="33515"/>
                  </a:lnTo>
                  <a:lnTo>
                    <a:pt x="87680" y="33515"/>
                  </a:lnTo>
                  <a:lnTo>
                    <a:pt x="92798" y="33515"/>
                  </a:lnTo>
                  <a:lnTo>
                    <a:pt x="101053" y="33515"/>
                  </a:lnTo>
                  <a:lnTo>
                    <a:pt x="106172" y="33515"/>
                  </a:lnTo>
                  <a:lnTo>
                    <a:pt x="119545" y="33515"/>
                  </a:lnTo>
                  <a:lnTo>
                    <a:pt x="120319" y="32740"/>
                  </a:lnTo>
                  <a:lnTo>
                    <a:pt x="121107" y="33515"/>
                  </a:lnTo>
                  <a:lnTo>
                    <a:pt x="134480" y="33515"/>
                  </a:lnTo>
                  <a:lnTo>
                    <a:pt x="139598" y="33515"/>
                  </a:lnTo>
                  <a:lnTo>
                    <a:pt x="152971" y="33515"/>
                  </a:lnTo>
                  <a:lnTo>
                    <a:pt x="153746" y="32740"/>
                  </a:lnTo>
                  <a:lnTo>
                    <a:pt x="154533" y="33515"/>
                  </a:lnTo>
                  <a:lnTo>
                    <a:pt x="167894" y="33515"/>
                  </a:lnTo>
                  <a:lnTo>
                    <a:pt x="173024" y="33515"/>
                  </a:lnTo>
                  <a:lnTo>
                    <a:pt x="186397" y="33515"/>
                  </a:lnTo>
                  <a:lnTo>
                    <a:pt x="187172" y="32740"/>
                  </a:lnTo>
                  <a:lnTo>
                    <a:pt x="187960" y="33515"/>
                  </a:lnTo>
                  <a:lnTo>
                    <a:pt x="201320" y="33515"/>
                  </a:lnTo>
                  <a:lnTo>
                    <a:pt x="206451" y="33515"/>
                  </a:lnTo>
                  <a:lnTo>
                    <a:pt x="219824" y="33515"/>
                  </a:lnTo>
                  <a:lnTo>
                    <a:pt x="220599" y="32740"/>
                  </a:lnTo>
                  <a:lnTo>
                    <a:pt x="221386" y="33515"/>
                  </a:lnTo>
                  <a:lnTo>
                    <a:pt x="234746" y="33515"/>
                  </a:lnTo>
                  <a:lnTo>
                    <a:pt x="239877" y="33515"/>
                  </a:lnTo>
                  <a:lnTo>
                    <a:pt x="253250" y="33515"/>
                  </a:lnTo>
                  <a:lnTo>
                    <a:pt x="254025" y="32740"/>
                  </a:lnTo>
                  <a:lnTo>
                    <a:pt x="254800" y="33515"/>
                  </a:lnTo>
                  <a:lnTo>
                    <a:pt x="268173" y="33515"/>
                  </a:lnTo>
                  <a:lnTo>
                    <a:pt x="273304" y="33515"/>
                  </a:lnTo>
                  <a:lnTo>
                    <a:pt x="281546" y="33515"/>
                  </a:lnTo>
                  <a:lnTo>
                    <a:pt x="286677" y="33515"/>
                  </a:lnTo>
                  <a:lnTo>
                    <a:pt x="300037" y="33515"/>
                  </a:lnTo>
                  <a:lnTo>
                    <a:pt x="300812" y="32740"/>
                  </a:lnTo>
                  <a:lnTo>
                    <a:pt x="301599" y="33515"/>
                  </a:lnTo>
                  <a:lnTo>
                    <a:pt x="314972" y="33515"/>
                  </a:lnTo>
                  <a:lnTo>
                    <a:pt x="320090" y="33515"/>
                  </a:lnTo>
                  <a:lnTo>
                    <a:pt x="333463" y="33515"/>
                  </a:lnTo>
                  <a:lnTo>
                    <a:pt x="334238" y="32740"/>
                  </a:lnTo>
                  <a:lnTo>
                    <a:pt x="335026" y="33515"/>
                  </a:lnTo>
                  <a:lnTo>
                    <a:pt x="348399" y="33515"/>
                  </a:lnTo>
                  <a:lnTo>
                    <a:pt x="353517" y="33515"/>
                  </a:lnTo>
                  <a:lnTo>
                    <a:pt x="366890" y="33515"/>
                  </a:lnTo>
                  <a:lnTo>
                    <a:pt x="367665" y="32740"/>
                  </a:lnTo>
                  <a:lnTo>
                    <a:pt x="368452" y="33515"/>
                  </a:lnTo>
                  <a:lnTo>
                    <a:pt x="381825" y="33515"/>
                  </a:lnTo>
                  <a:lnTo>
                    <a:pt x="386943" y="33515"/>
                  </a:lnTo>
                  <a:lnTo>
                    <a:pt x="400316" y="33515"/>
                  </a:lnTo>
                  <a:lnTo>
                    <a:pt x="401091" y="32740"/>
                  </a:lnTo>
                  <a:lnTo>
                    <a:pt x="401878" y="33515"/>
                  </a:lnTo>
                  <a:lnTo>
                    <a:pt x="420370" y="33515"/>
                  </a:lnTo>
                  <a:lnTo>
                    <a:pt x="427837" y="26035"/>
                  </a:lnTo>
                  <a:lnTo>
                    <a:pt x="427837" y="16764"/>
                  </a:lnTo>
                  <a:lnTo>
                    <a:pt x="427837" y="7493"/>
                  </a:lnTo>
                  <a:close/>
                </a:path>
              </a:pathLst>
            </a:custGeom>
            <a:solidFill>
              <a:srgbClr val="94373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1" name="object 21"/>
            <p:cNvSpPr/>
            <p:nvPr/>
          </p:nvSpPr>
          <p:spPr>
            <a:xfrm>
              <a:off x="1669628" y="4916371"/>
              <a:ext cx="1678305" cy="730885"/>
            </a:xfrm>
            <a:custGeom>
              <a:avLst/>
              <a:gdLst/>
              <a:ahLst/>
              <a:cxnLst/>
              <a:rect l="l" t="t" r="r" b="b"/>
              <a:pathLst>
                <a:path w="1678304" h="730885">
                  <a:moveTo>
                    <a:pt x="33425" y="730576"/>
                  </a:moveTo>
                  <a:lnTo>
                    <a:pt x="1677945" y="730576"/>
                  </a:lnTo>
                </a:path>
                <a:path w="1678304" h="730885">
                  <a:moveTo>
                    <a:pt x="33425" y="549607"/>
                  </a:moveTo>
                  <a:lnTo>
                    <a:pt x="1677945" y="549607"/>
                  </a:lnTo>
                </a:path>
                <a:path w="1678304" h="730885">
                  <a:moveTo>
                    <a:pt x="33425" y="180968"/>
                  </a:moveTo>
                  <a:lnTo>
                    <a:pt x="1677945" y="180968"/>
                  </a:lnTo>
                </a:path>
                <a:path w="1678304" h="730885">
                  <a:moveTo>
                    <a:pt x="33425" y="0"/>
                  </a:moveTo>
                  <a:lnTo>
                    <a:pt x="1677945" y="0"/>
                  </a:lnTo>
                </a:path>
                <a:path w="1678304" h="730885">
                  <a:moveTo>
                    <a:pt x="33425" y="730576"/>
                  </a:moveTo>
                  <a:lnTo>
                    <a:pt x="33425" y="0"/>
                  </a:lnTo>
                </a:path>
                <a:path w="1678304" h="730885">
                  <a:moveTo>
                    <a:pt x="0" y="730576"/>
                  </a:moveTo>
                  <a:lnTo>
                    <a:pt x="33425" y="730576"/>
                  </a:lnTo>
                </a:path>
                <a:path w="1678304" h="730885">
                  <a:moveTo>
                    <a:pt x="0" y="549607"/>
                  </a:moveTo>
                  <a:lnTo>
                    <a:pt x="33425" y="549607"/>
                  </a:lnTo>
                </a:path>
                <a:path w="1678304" h="730885">
                  <a:moveTo>
                    <a:pt x="0" y="368639"/>
                  </a:moveTo>
                  <a:lnTo>
                    <a:pt x="33425" y="368639"/>
                  </a:lnTo>
                </a:path>
                <a:path w="1678304" h="730885">
                  <a:moveTo>
                    <a:pt x="0" y="180968"/>
                  </a:moveTo>
                  <a:lnTo>
                    <a:pt x="33425" y="180968"/>
                  </a:lnTo>
                </a:path>
                <a:path w="1678304" h="730885">
                  <a:moveTo>
                    <a:pt x="0" y="0"/>
                  </a:moveTo>
                  <a:lnTo>
                    <a:pt x="33425" y="0"/>
                  </a:lnTo>
                </a:path>
                <a:path w="1678304" h="730885">
                  <a:moveTo>
                    <a:pt x="33425" y="368639"/>
                  </a:moveTo>
                  <a:lnTo>
                    <a:pt x="1677945" y="368639"/>
                  </a:lnTo>
                </a:path>
              </a:pathLst>
            </a:custGeom>
            <a:ln w="6700">
              <a:solidFill>
                <a:srgbClr val="85858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2" name="object 22"/>
            <p:cNvSpPr/>
            <p:nvPr/>
          </p:nvSpPr>
          <p:spPr>
            <a:xfrm>
              <a:off x="1699704" y="5080584"/>
              <a:ext cx="1270635" cy="395605"/>
            </a:xfrm>
            <a:custGeom>
              <a:avLst/>
              <a:gdLst/>
              <a:ahLst/>
              <a:cxnLst/>
              <a:rect l="l" t="t" r="r" b="b"/>
              <a:pathLst>
                <a:path w="1270635" h="395604">
                  <a:moveTo>
                    <a:pt x="33426" y="369430"/>
                  </a:moveTo>
                  <a:lnTo>
                    <a:pt x="25933" y="361937"/>
                  </a:lnTo>
                  <a:lnTo>
                    <a:pt x="7493" y="361937"/>
                  </a:lnTo>
                  <a:lnTo>
                    <a:pt x="0" y="369430"/>
                  </a:lnTo>
                  <a:lnTo>
                    <a:pt x="0" y="387972"/>
                  </a:lnTo>
                  <a:lnTo>
                    <a:pt x="7493" y="395452"/>
                  </a:lnTo>
                  <a:lnTo>
                    <a:pt x="25933" y="395452"/>
                  </a:lnTo>
                  <a:lnTo>
                    <a:pt x="33426" y="387972"/>
                  </a:lnTo>
                  <a:lnTo>
                    <a:pt x="33426" y="378701"/>
                  </a:lnTo>
                  <a:lnTo>
                    <a:pt x="33426" y="369430"/>
                  </a:lnTo>
                  <a:close/>
                </a:path>
                <a:path w="1270635" h="395604">
                  <a:moveTo>
                    <a:pt x="53479" y="188455"/>
                  </a:moveTo>
                  <a:lnTo>
                    <a:pt x="45986" y="180975"/>
                  </a:lnTo>
                  <a:lnTo>
                    <a:pt x="27546" y="180975"/>
                  </a:lnTo>
                  <a:lnTo>
                    <a:pt x="20053" y="188455"/>
                  </a:lnTo>
                  <a:lnTo>
                    <a:pt x="20053" y="206997"/>
                  </a:lnTo>
                  <a:lnTo>
                    <a:pt x="27546" y="214490"/>
                  </a:lnTo>
                  <a:lnTo>
                    <a:pt x="45986" y="214490"/>
                  </a:lnTo>
                  <a:lnTo>
                    <a:pt x="53479" y="206997"/>
                  </a:lnTo>
                  <a:lnTo>
                    <a:pt x="53479" y="197726"/>
                  </a:lnTo>
                  <a:lnTo>
                    <a:pt x="53479" y="188455"/>
                  </a:lnTo>
                  <a:close/>
                </a:path>
                <a:path w="1270635" h="395604">
                  <a:moveTo>
                    <a:pt x="66852" y="7493"/>
                  </a:moveTo>
                  <a:lnTo>
                    <a:pt x="59359" y="0"/>
                  </a:lnTo>
                  <a:lnTo>
                    <a:pt x="40906" y="0"/>
                  </a:lnTo>
                  <a:lnTo>
                    <a:pt x="33426" y="7493"/>
                  </a:lnTo>
                  <a:lnTo>
                    <a:pt x="33426" y="26035"/>
                  </a:lnTo>
                  <a:lnTo>
                    <a:pt x="40906" y="33515"/>
                  </a:lnTo>
                  <a:lnTo>
                    <a:pt x="59359" y="33515"/>
                  </a:lnTo>
                  <a:lnTo>
                    <a:pt x="66852" y="26035"/>
                  </a:lnTo>
                  <a:lnTo>
                    <a:pt x="66852" y="16764"/>
                  </a:lnTo>
                  <a:lnTo>
                    <a:pt x="66852" y="7493"/>
                  </a:lnTo>
                  <a:close/>
                </a:path>
                <a:path w="1270635" h="395604">
                  <a:moveTo>
                    <a:pt x="86906" y="369430"/>
                  </a:moveTo>
                  <a:lnTo>
                    <a:pt x="79438" y="361937"/>
                  </a:lnTo>
                  <a:lnTo>
                    <a:pt x="60972" y="361937"/>
                  </a:lnTo>
                  <a:lnTo>
                    <a:pt x="53479" y="369430"/>
                  </a:lnTo>
                  <a:lnTo>
                    <a:pt x="53479" y="387972"/>
                  </a:lnTo>
                  <a:lnTo>
                    <a:pt x="60972" y="395452"/>
                  </a:lnTo>
                  <a:lnTo>
                    <a:pt x="79438" y="395452"/>
                  </a:lnTo>
                  <a:lnTo>
                    <a:pt x="86906" y="387972"/>
                  </a:lnTo>
                  <a:lnTo>
                    <a:pt x="86906" y="378701"/>
                  </a:lnTo>
                  <a:lnTo>
                    <a:pt x="86906" y="369430"/>
                  </a:lnTo>
                  <a:close/>
                </a:path>
                <a:path w="1270635" h="395604">
                  <a:moveTo>
                    <a:pt x="100279" y="188455"/>
                  </a:moveTo>
                  <a:lnTo>
                    <a:pt x="92811" y="180975"/>
                  </a:lnTo>
                  <a:lnTo>
                    <a:pt x="74320" y="180975"/>
                  </a:lnTo>
                  <a:lnTo>
                    <a:pt x="66852" y="188455"/>
                  </a:lnTo>
                  <a:lnTo>
                    <a:pt x="66852" y="206997"/>
                  </a:lnTo>
                  <a:lnTo>
                    <a:pt x="74320" y="214490"/>
                  </a:lnTo>
                  <a:lnTo>
                    <a:pt x="92811" y="214490"/>
                  </a:lnTo>
                  <a:lnTo>
                    <a:pt x="100279" y="206997"/>
                  </a:lnTo>
                  <a:lnTo>
                    <a:pt x="100279" y="197726"/>
                  </a:lnTo>
                  <a:lnTo>
                    <a:pt x="100279" y="188455"/>
                  </a:lnTo>
                  <a:close/>
                </a:path>
                <a:path w="1270635" h="395604">
                  <a:moveTo>
                    <a:pt x="120332" y="7493"/>
                  </a:moveTo>
                  <a:lnTo>
                    <a:pt x="112864" y="0"/>
                  </a:lnTo>
                  <a:lnTo>
                    <a:pt x="94373" y="0"/>
                  </a:lnTo>
                  <a:lnTo>
                    <a:pt x="86906" y="7493"/>
                  </a:lnTo>
                  <a:lnTo>
                    <a:pt x="86906" y="26035"/>
                  </a:lnTo>
                  <a:lnTo>
                    <a:pt x="94373" y="33515"/>
                  </a:lnTo>
                  <a:lnTo>
                    <a:pt x="112864" y="33515"/>
                  </a:lnTo>
                  <a:lnTo>
                    <a:pt x="120332" y="26035"/>
                  </a:lnTo>
                  <a:lnTo>
                    <a:pt x="120332" y="16764"/>
                  </a:lnTo>
                  <a:lnTo>
                    <a:pt x="120332" y="7493"/>
                  </a:lnTo>
                  <a:close/>
                </a:path>
                <a:path w="1270635" h="395604">
                  <a:moveTo>
                    <a:pt x="133705" y="369430"/>
                  </a:moveTo>
                  <a:lnTo>
                    <a:pt x="126238" y="361937"/>
                  </a:lnTo>
                  <a:lnTo>
                    <a:pt x="107746" y="361937"/>
                  </a:lnTo>
                  <a:lnTo>
                    <a:pt x="100279" y="369430"/>
                  </a:lnTo>
                  <a:lnTo>
                    <a:pt x="100279" y="387972"/>
                  </a:lnTo>
                  <a:lnTo>
                    <a:pt x="107746" y="395452"/>
                  </a:lnTo>
                  <a:lnTo>
                    <a:pt x="126238" y="395452"/>
                  </a:lnTo>
                  <a:lnTo>
                    <a:pt x="133705" y="387972"/>
                  </a:lnTo>
                  <a:lnTo>
                    <a:pt x="133705" y="378701"/>
                  </a:lnTo>
                  <a:lnTo>
                    <a:pt x="133705" y="369430"/>
                  </a:lnTo>
                  <a:close/>
                </a:path>
                <a:path w="1270635" h="395604">
                  <a:moveTo>
                    <a:pt x="153758" y="188455"/>
                  </a:moveTo>
                  <a:lnTo>
                    <a:pt x="146291" y="180975"/>
                  </a:lnTo>
                  <a:lnTo>
                    <a:pt x="127800" y="180975"/>
                  </a:lnTo>
                  <a:lnTo>
                    <a:pt x="120332" y="188455"/>
                  </a:lnTo>
                  <a:lnTo>
                    <a:pt x="120332" y="206997"/>
                  </a:lnTo>
                  <a:lnTo>
                    <a:pt x="127800" y="214490"/>
                  </a:lnTo>
                  <a:lnTo>
                    <a:pt x="146291" y="214490"/>
                  </a:lnTo>
                  <a:lnTo>
                    <a:pt x="153758" y="206997"/>
                  </a:lnTo>
                  <a:lnTo>
                    <a:pt x="153758" y="197726"/>
                  </a:lnTo>
                  <a:lnTo>
                    <a:pt x="153758" y="188455"/>
                  </a:lnTo>
                  <a:close/>
                </a:path>
                <a:path w="1270635" h="395604">
                  <a:moveTo>
                    <a:pt x="167132" y="7493"/>
                  </a:moveTo>
                  <a:lnTo>
                    <a:pt x="159664" y="0"/>
                  </a:lnTo>
                  <a:lnTo>
                    <a:pt x="141160" y="0"/>
                  </a:lnTo>
                  <a:lnTo>
                    <a:pt x="133705" y="7493"/>
                  </a:lnTo>
                  <a:lnTo>
                    <a:pt x="133705" y="26035"/>
                  </a:lnTo>
                  <a:lnTo>
                    <a:pt x="141160" y="33515"/>
                  </a:lnTo>
                  <a:lnTo>
                    <a:pt x="159664" y="33515"/>
                  </a:lnTo>
                  <a:lnTo>
                    <a:pt x="167132" y="26035"/>
                  </a:lnTo>
                  <a:lnTo>
                    <a:pt x="167132" y="16764"/>
                  </a:lnTo>
                  <a:lnTo>
                    <a:pt x="167132" y="7493"/>
                  </a:lnTo>
                  <a:close/>
                </a:path>
                <a:path w="1270635" h="395604">
                  <a:moveTo>
                    <a:pt x="180492" y="369430"/>
                  </a:moveTo>
                  <a:lnTo>
                    <a:pt x="173024" y="361937"/>
                  </a:lnTo>
                  <a:lnTo>
                    <a:pt x="154533" y="361937"/>
                  </a:lnTo>
                  <a:lnTo>
                    <a:pt x="147066" y="369430"/>
                  </a:lnTo>
                  <a:lnTo>
                    <a:pt x="147066" y="387972"/>
                  </a:lnTo>
                  <a:lnTo>
                    <a:pt x="154533" y="395452"/>
                  </a:lnTo>
                  <a:lnTo>
                    <a:pt x="173024" y="395452"/>
                  </a:lnTo>
                  <a:lnTo>
                    <a:pt x="180492" y="387972"/>
                  </a:lnTo>
                  <a:lnTo>
                    <a:pt x="180492" y="378701"/>
                  </a:lnTo>
                  <a:lnTo>
                    <a:pt x="180492" y="369430"/>
                  </a:lnTo>
                  <a:close/>
                </a:path>
                <a:path w="1270635" h="395604">
                  <a:moveTo>
                    <a:pt x="200545" y="188455"/>
                  </a:moveTo>
                  <a:lnTo>
                    <a:pt x="193090" y="180975"/>
                  </a:lnTo>
                  <a:lnTo>
                    <a:pt x="174586" y="180975"/>
                  </a:lnTo>
                  <a:lnTo>
                    <a:pt x="167132" y="188455"/>
                  </a:lnTo>
                  <a:lnTo>
                    <a:pt x="167132" y="206997"/>
                  </a:lnTo>
                  <a:lnTo>
                    <a:pt x="174586" y="214490"/>
                  </a:lnTo>
                  <a:lnTo>
                    <a:pt x="193090" y="214490"/>
                  </a:lnTo>
                  <a:lnTo>
                    <a:pt x="200545" y="206997"/>
                  </a:lnTo>
                  <a:lnTo>
                    <a:pt x="200545" y="197726"/>
                  </a:lnTo>
                  <a:lnTo>
                    <a:pt x="200545" y="188455"/>
                  </a:lnTo>
                  <a:close/>
                </a:path>
                <a:path w="1270635" h="395604">
                  <a:moveTo>
                    <a:pt x="213918" y="7493"/>
                  </a:moveTo>
                  <a:lnTo>
                    <a:pt x="206451" y="0"/>
                  </a:lnTo>
                  <a:lnTo>
                    <a:pt x="187960" y="0"/>
                  </a:lnTo>
                  <a:lnTo>
                    <a:pt x="180492" y="7493"/>
                  </a:lnTo>
                  <a:lnTo>
                    <a:pt x="180492" y="26035"/>
                  </a:lnTo>
                  <a:lnTo>
                    <a:pt x="187960" y="33515"/>
                  </a:lnTo>
                  <a:lnTo>
                    <a:pt x="206451" y="33515"/>
                  </a:lnTo>
                  <a:lnTo>
                    <a:pt x="213918" y="26035"/>
                  </a:lnTo>
                  <a:lnTo>
                    <a:pt x="213918" y="16764"/>
                  </a:lnTo>
                  <a:lnTo>
                    <a:pt x="213918" y="7493"/>
                  </a:lnTo>
                  <a:close/>
                </a:path>
                <a:path w="1270635" h="395604">
                  <a:moveTo>
                    <a:pt x="233972" y="369430"/>
                  </a:moveTo>
                  <a:lnTo>
                    <a:pt x="226517" y="361937"/>
                  </a:lnTo>
                  <a:lnTo>
                    <a:pt x="208013" y="361937"/>
                  </a:lnTo>
                  <a:lnTo>
                    <a:pt x="200545" y="369430"/>
                  </a:lnTo>
                  <a:lnTo>
                    <a:pt x="200545" y="387972"/>
                  </a:lnTo>
                  <a:lnTo>
                    <a:pt x="208013" y="395452"/>
                  </a:lnTo>
                  <a:lnTo>
                    <a:pt x="226517" y="395452"/>
                  </a:lnTo>
                  <a:lnTo>
                    <a:pt x="233972" y="387972"/>
                  </a:lnTo>
                  <a:lnTo>
                    <a:pt x="233972" y="378701"/>
                  </a:lnTo>
                  <a:lnTo>
                    <a:pt x="233972" y="369430"/>
                  </a:lnTo>
                  <a:close/>
                </a:path>
                <a:path w="1270635" h="395604">
                  <a:moveTo>
                    <a:pt x="247345" y="188455"/>
                  </a:moveTo>
                  <a:lnTo>
                    <a:pt x="239877" y="180975"/>
                  </a:lnTo>
                  <a:lnTo>
                    <a:pt x="221386" y="180975"/>
                  </a:lnTo>
                  <a:lnTo>
                    <a:pt x="213918" y="188455"/>
                  </a:lnTo>
                  <a:lnTo>
                    <a:pt x="213918" y="206997"/>
                  </a:lnTo>
                  <a:lnTo>
                    <a:pt x="221386" y="214490"/>
                  </a:lnTo>
                  <a:lnTo>
                    <a:pt x="239877" y="214490"/>
                  </a:lnTo>
                  <a:lnTo>
                    <a:pt x="247345" y="206997"/>
                  </a:lnTo>
                  <a:lnTo>
                    <a:pt x="247345" y="197726"/>
                  </a:lnTo>
                  <a:lnTo>
                    <a:pt x="247345" y="188455"/>
                  </a:lnTo>
                  <a:close/>
                </a:path>
                <a:path w="1270635" h="395604">
                  <a:moveTo>
                    <a:pt x="267398" y="7493"/>
                  </a:moveTo>
                  <a:lnTo>
                    <a:pt x="259930" y="0"/>
                  </a:lnTo>
                  <a:lnTo>
                    <a:pt x="241439" y="0"/>
                  </a:lnTo>
                  <a:lnTo>
                    <a:pt x="233972" y="7493"/>
                  </a:lnTo>
                  <a:lnTo>
                    <a:pt x="233972" y="26035"/>
                  </a:lnTo>
                  <a:lnTo>
                    <a:pt x="241439" y="33515"/>
                  </a:lnTo>
                  <a:lnTo>
                    <a:pt x="259930" y="33515"/>
                  </a:lnTo>
                  <a:lnTo>
                    <a:pt x="267398" y="26035"/>
                  </a:lnTo>
                  <a:lnTo>
                    <a:pt x="267398" y="16764"/>
                  </a:lnTo>
                  <a:lnTo>
                    <a:pt x="267398" y="7493"/>
                  </a:lnTo>
                  <a:close/>
                </a:path>
                <a:path w="1270635" h="395604">
                  <a:moveTo>
                    <a:pt x="280771" y="369430"/>
                  </a:moveTo>
                  <a:lnTo>
                    <a:pt x="273304" y="361937"/>
                  </a:lnTo>
                  <a:lnTo>
                    <a:pt x="254812" y="361937"/>
                  </a:lnTo>
                  <a:lnTo>
                    <a:pt x="247345" y="369430"/>
                  </a:lnTo>
                  <a:lnTo>
                    <a:pt x="247345" y="387972"/>
                  </a:lnTo>
                  <a:lnTo>
                    <a:pt x="254812" y="395452"/>
                  </a:lnTo>
                  <a:lnTo>
                    <a:pt x="273304" y="395452"/>
                  </a:lnTo>
                  <a:lnTo>
                    <a:pt x="280771" y="387972"/>
                  </a:lnTo>
                  <a:lnTo>
                    <a:pt x="280771" y="378701"/>
                  </a:lnTo>
                  <a:lnTo>
                    <a:pt x="280771" y="369430"/>
                  </a:lnTo>
                  <a:close/>
                </a:path>
                <a:path w="1270635" h="395604">
                  <a:moveTo>
                    <a:pt x="300824" y="188455"/>
                  </a:moveTo>
                  <a:lnTo>
                    <a:pt x="293357" y="180975"/>
                  </a:lnTo>
                  <a:lnTo>
                    <a:pt x="274866" y="180975"/>
                  </a:lnTo>
                  <a:lnTo>
                    <a:pt x="267398" y="188455"/>
                  </a:lnTo>
                  <a:lnTo>
                    <a:pt x="267398" y="206997"/>
                  </a:lnTo>
                  <a:lnTo>
                    <a:pt x="274866" y="214490"/>
                  </a:lnTo>
                  <a:lnTo>
                    <a:pt x="293357" y="214490"/>
                  </a:lnTo>
                  <a:lnTo>
                    <a:pt x="300824" y="206997"/>
                  </a:lnTo>
                  <a:lnTo>
                    <a:pt x="300824" y="197726"/>
                  </a:lnTo>
                  <a:lnTo>
                    <a:pt x="300824" y="188455"/>
                  </a:lnTo>
                  <a:close/>
                </a:path>
                <a:path w="1270635" h="395604">
                  <a:moveTo>
                    <a:pt x="314198" y="7493"/>
                  </a:moveTo>
                  <a:lnTo>
                    <a:pt x="306730" y="0"/>
                  </a:lnTo>
                  <a:lnTo>
                    <a:pt x="288239" y="0"/>
                  </a:lnTo>
                  <a:lnTo>
                    <a:pt x="280771" y="7493"/>
                  </a:lnTo>
                  <a:lnTo>
                    <a:pt x="280771" y="26035"/>
                  </a:lnTo>
                  <a:lnTo>
                    <a:pt x="288239" y="33515"/>
                  </a:lnTo>
                  <a:lnTo>
                    <a:pt x="306730" y="33515"/>
                  </a:lnTo>
                  <a:lnTo>
                    <a:pt x="314198" y="26035"/>
                  </a:lnTo>
                  <a:lnTo>
                    <a:pt x="314198" y="16764"/>
                  </a:lnTo>
                  <a:lnTo>
                    <a:pt x="314198" y="7493"/>
                  </a:lnTo>
                  <a:close/>
                </a:path>
                <a:path w="1270635" h="395604">
                  <a:moveTo>
                    <a:pt x="334251" y="369430"/>
                  </a:moveTo>
                  <a:lnTo>
                    <a:pt x="326783" y="361937"/>
                  </a:lnTo>
                  <a:lnTo>
                    <a:pt x="308292" y="361937"/>
                  </a:lnTo>
                  <a:lnTo>
                    <a:pt x="300824" y="369430"/>
                  </a:lnTo>
                  <a:lnTo>
                    <a:pt x="300824" y="387972"/>
                  </a:lnTo>
                  <a:lnTo>
                    <a:pt x="308292" y="395452"/>
                  </a:lnTo>
                  <a:lnTo>
                    <a:pt x="326783" y="395452"/>
                  </a:lnTo>
                  <a:lnTo>
                    <a:pt x="334251" y="387972"/>
                  </a:lnTo>
                  <a:lnTo>
                    <a:pt x="334251" y="378701"/>
                  </a:lnTo>
                  <a:lnTo>
                    <a:pt x="334251" y="369430"/>
                  </a:lnTo>
                  <a:close/>
                </a:path>
                <a:path w="1270635" h="395604">
                  <a:moveTo>
                    <a:pt x="347624" y="188455"/>
                  </a:moveTo>
                  <a:lnTo>
                    <a:pt x="340156" y="180975"/>
                  </a:lnTo>
                  <a:lnTo>
                    <a:pt x="321665" y="180975"/>
                  </a:lnTo>
                  <a:lnTo>
                    <a:pt x="314198" y="188455"/>
                  </a:lnTo>
                  <a:lnTo>
                    <a:pt x="314198" y="206997"/>
                  </a:lnTo>
                  <a:lnTo>
                    <a:pt x="321665" y="214490"/>
                  </a:lnTo>
                  <a:lnTo>
                    <a:pt x="340156" y="214490"/>
                  </a:lnTo>
                  <a:lnTo>
                    <a:pt x="347624" y="206997"/>
                  </a:lnTo>
                  <a:lnTo>
                    <a:pt x="347624" y="197726"/>
                  </a:lnTo>
                  <a:lnTo>
                    <a:pt x="347624" y="188455"/>
                  </a:lnTo>
                  <a:close/>
                </a:path>
                <a:path w="1270635" h="395604">
                  <a:moveTo>
                    <a:pt x="360997" y="7493"/>
                  </a:moveTo>
                  <a:lnTo>
                    <a:pt x="353529" y="0"/>
                  </a:lnTo>
                  <a:lnTo>
                    <a:pt x="335026" y="0"/>
                  </a:lnTo>
                  <a:lnTo>
                    <a:pt x="327571" y="7493"/>
                  </a:lnTo>
                  <a:lnTo>
                    <a:pt x="327571" y="26035"/>
                  </a:lnTo>
                  <a:lnTo>
                    <a:pt x="335026" y="33515"/>
                  </a:lnTo>
                  <a:lnTo>
                    <a:pt x="353529" y="33515"/>
                  </a:lnTo>
                  <a:lnTo>
                    <a:pt x="360997" y="26035"/>
                  </a:lnTo>
                  <a:lnTo>
                    <a:pt x="360997" y="16764"/>
                  </a:lnTo>
                  <a:lnTo>
                    <a:pt x="360997" y="7493"/>
                  </a:lnTo>
                  <a:close/>
                </a:path>
                <a:path w="1270635" h="395604">
                  <a:moveTo>
                    <a:pt x="381050" y="369430"/>
                  </a:moveTo>
                  <a:lnTo>
                    <a:pt x="373583" y="361937"/>
                  </a:lnTo>
                  <a:lnTo>
                    <a:pt x="355092" y="361937"/>
                  </a:lnTo>
                  <a:lnTo>
                    <a:pt x="347624" y="369430"/>
                  </a:lnTo>
                  <a:lnTo>
                    <a:pt x="347624" y="387972"/>
                  </a:lnTo>
                  <a:lnTo>
                    <a:pt x="355092" y="395452"/>
                  </a:lnTo>
                  <a:lnTo>
                    <a:pt x="373583" y="395452"/>
                  </a:lnTo>
                  <a:lnTo>
                    <a:pt x="381050" y="387972"/>
                  </a:lnTo>
                  <a:lnTo>
                    <a:pt x="381050" y="378701"/>
                  </a:lnTo>
                  <a:lnTo>
                    <a:pt x="381050" y="369430"/>
                  </a:lnTo>
                  <a:close/>
                </a:path>
                <a:path w="1270635" h="395604">
                  <a:moveTo>
                    <a:pt x="394411" y="188455"/>
                  </a:moveTo>
                  <a:lnTo>
                    <a:pt x="386956" y="180975"/>
                  </a:lnTo>
                  <a:lnTo>
                    <a:pt x="368452" y="180975"/>
                  </a:lnTo>
                  <a:lnTo>
                    <a:pt x="360997" y="188455"/>
                  </a:lnTo>
                  <a:lnTo>
                    <a:pt x="360997" y="206997"/>
                  </a:lnTo>
                  <a:lnTo>
                    <a:pt x="368452" y="214490"/>
                  </a:lnTo>
                  <a:lnTo>
                    <a:pt x="386956" y="214490"/>
                  </a:lnTo>
                  <a:lnTo>
                    <a:pt x="394411" y="206997"/>
                  </a:lnTo>
                  <a:lnTo>
                    <a:pt x="394411" y="197726"/>
                  </a:lnTo>
                  <a:lnTo>
                    <a:pt x="394411" y="188455"/>
                  </a:lnTo>
                  <a:close/>
                </a:path>
                <a:path w="1270635" h="395604">
                  <a:moveTo>
                    <a:pt x="414477" y="7493"/>
                  </a:moveTo>
                  <a:lnTo>
                    <a:pt x="407009" y="0"/>
                  </a:lnTo>
                  <a:lnTo>
                    <a:pt x="388518" y="0"/>
                  </a:lnTo>
                  <a:lnTo>
                    <a:pt x="381050" y="7493"/>
                  </a:lnTo>
                  <a:lnTo>
                    <a:pt x="381050" y="26035"/>
                  </a:lnTo>
                  <a:lnTo>
                    <a:pt x="388518" y="33515"/>
                  </a:lnTo>
                  <a:lnTo>
                    <a:pt x="407009" y="33515"/>
                  </a:lnTo>
                  <a:lnTo>
                    <a:pt x="414477" y="26035"/>
                  </a:lnTo>
                  <a:lnTo>
                    <a:pt x="414477" y="16764"/>
                  </a:lnTo>
                  <a:lnTo>
                    <a:pt x="414477" y="7493"/>
                  </a:lnTo>
                  <a:close/>
                </a:path>
                <a:path w="1270635" h="395604">
                  <a:moveTo>
                    <a:pt x="427837" y="369430"/>
                  </a:moveTo>
                  <a:lnTo>
                    <a:pt x="420382" y="361937"/>
                  </a:lnTo>
                  <a:lnTo>
                    <a:pt x="401878" y="361937"/>
                  </a:lnTo>
                  <a:lnTo>
                    <a:pt x="394411" y="369430"/>
                  </a:lnTo>
                  <a:lnTo>
                    <a:pt x="394411" y="387972"/>
                  </a:lnTo>
                  <a:lnTo>
                    <a:pt x="401878" y="395452"/>
                  </a:lnTo>
                  <a:lnTo>
                    <a:pt x="420382" y="395452"/>
                  </a:lnTo>
                  <a:lnTo>
                    <a:pt x="427837" y="387972"/>
                  </a:lnTo>
                  <a:lnTo>
                    <a:pt x="427837" y="378701"/>
                  </a:lnTo>
                  <a:lnTo>
                    <a:pt x="427837" y="369430"/>
                  </a:lnTo>
                  <a:close/>
                </a:path>
                <a:path w="1270635" h="395604">
                  <a:moveTo>
                    <a:pt x="447903" y="188455"/>
                  </a:moveTo>
                  <a:lnTo>
                    <a:pt x="440436" y="180975"/>
                  </a:lnTo>
                  <a:lnTo>
                    <a:pt x="421932" y="180975"/>
                  </a:lnTo>
                  <a:lnTo>
                    <a:pt x="414477" y="188455"/>
                  </a:lnTo>
                  <a:lnTo>
                    <a:pt x="414477" y="206997"/>
                  </a:lnTo>
                  <a:lnTo>
                    <a:pt x="421932" y="214490"/>
                  </a:lnTo>
                  <a:lnTo>
                    <a:pt x="440436" y="214490"/>
                  </a:lnTo>
                  <a:lnTo>
                    <a:pt x="447903" y="206997"/>
                  </a:lnTo>
                  <a:lnTo>
                    <a:pt x="447903" y="197726"/>
                  </a:lnTo>
                  <a:lnTo>
                    <a:pt x="447903" y="188455"/>
                  </a:lnTo>
                  <a:close/>
                </a:path>
                <a:path w="1270635" h="395604">
                  <a:moveTo>
                    <a:pt x="461264" y="7493"/>
                  </a:moveTo>
                  <a:lnTo>
                    <a:pt x="453809" y="0"/>
                  </a:lnTo>
                  <a:lnTo>
                    <a:pt x="435305" y="0"/>
                  </a:lnTo>
                  <a:lnTo>
                    <a:pt x="427837" y="7493"/>
                  </a:lnTo>
                  <a:lnTo>
                    <a:pt x="427837" y="26035"/>
                  </a:lnTo>
                  <a:lnTo>
                    <a:pt x="435305" y="33515"/>
                  </a:lnTo>
                  <a:lnTo>
                    <a:pt x="453809" y="33515"/>
                  </a:lnTo>
                  <a:lnTo>
                    <a:pt x="461264" y="26035"/>
                  </a:lnTo>
                  <a:lnTo>
                    <a:pt x="461264" y="16764"/>
                  </a:lnTo>
                  <a:lnTo>
                    <a:pt x="461264" y="7493"/>
                  </a:lnTo>
                  <a:close/>
                </a:path>
                <a:path w="1270635" h="395604">
                  <a:moveTo>
                    <a:pt x="481317" y="369430"/>
                  </a:moveTo>
                  <a:lnTo>
                    <a:pt x="473862" y="361937"/>
                  </a:lnTo>
                  <a:lnTo>
                    <a:pt x="455358" y="361937"/>
                  </a:lnTo>
                  <a:lnTo>
                    <a:pt x="447903" y="369430"/>
                  </a:lnTo>
                  <a:lnTo>
                    <a:pt x="447903" y="387972"/>
                  </a:lnTo>
                  <a:lnTo>
                    <a:pt x="455358" y="395452"/>
                  </a:lnTo>
                  <a:lnTo>
                    <a:pt x="473862" y="395452"/>
                  </a:lnTo>
                  <a:lnTo>
                    <a:pt x="481317" y="387972"/>
                  </a:lnTo>
                  <a:lnTo>
                    <a:pt x="481317" y="378701"/>
                  </a:lnTo>
                  <a:lnTo>
                    <a:pt x="481317" y="369430"/>
                  </a:lnTo>
                  <a:close/>
                </a:path>
                <a:path w="1270635" h="395604">
                  <a:moveTo>
                    <a:pt x="494690" y="188455"/>
                  </a:moveTo>
                  <a:lnTo>
                    <a:pt x="487222" y="180975"/>
                  </a:lnTo>
                  <a:lnTo>
                    <a:pt x="468731" y="180975"/>
                  </a:lnTo>
                  <a:lnTo>
                    <a:pt x="461264" y="188455"/>
                  </a:lnTo>
                  <a:lnTo>
                    <a:pt x="461264" y="206997"/>
                  </a:lnTo>
                  <a:lnTo>
                    <a:pt x="468731" y="214490"/>
                  </a:lnTo>
                  <a:lnTo>
                    <a:pt x="487222" y="214490"/>
                  </a:lnTo>
                  <a:lnTo>
                    <a:pt x="494690" y="206997"/>
                  </a:lnTo>
                  <a:lnTo>
                    <a:pt x="494690" y="197726"/>
                  </a:lnTo>
                  <a:lnTo>
                    <a:pt x="494690" y="188455"/>
                  </a:lnTo>
                  <a:close/>
                </a:path>
                <a:path w="1270635" h="395604">
                  <a:moveTo>
                    <a:pt x="594969" y="369430"/>
                  </a:moveTo>
                  <a:lnTo>
                    <a:pt x="587502" y="361937"/>
                  </a:lnTo>
                  <a:lnTo>
                    <a:pt x="569010" y="361937"/>
                  </a:lnTo>
                  <a:lnTo>
                    <a:pt x="561543" y="369430"/>
                  </a:lnTo>
                  <a:lnTo>
                    <a:pt x="561543" y="387972"/>
                  </a:lnTo>
                  <a:lnTo>
                    <a:pt x="569010" y="395452"/>
                  </a:lnTo>
                  <a:lnTo>
                    <a:pt x="587502" y="395452"/>
                  </a:lnTo>
                  <a:lnTo>
                    <a:pt x="594969" y="387972"/>
                  </a:lnTo>
                  <a:lnTo>
                    <a:pt x="594969" y="378701"/>
                  </a:lnTo>
                  <a:lnTo>
                    <a:pt x="594969" y="369430"/>
                  </a:lnTo>
                  <a:close/>
                </a:path>
                <a:path w="1270635" h="395604">
                  <a:moveTo>
                    <a:pt x="608342" y="188455"/>
                  </a:moveTo>
                  <a:lnTo>
                    <a:pt x="600875" y="180975"/>
                  </a:lnTo>
                  <a:lnTo>
                    <a:pt x="582383" y="180975"/>
                  </a:lnTo>
                  <a:lnTo>
                    <a:pt x="574916" y="188455"/>
                  </a:lnTo>
                  <a:lnTo>
                    <a:pt x="574916" y="206997"/>
                  </a:lnTo>
                  <a:lnTo>
                    <a:pt x="582383" y="214490"/>
                  </a:lnTo>
                  <a:lnTo>
                    <a:pt x="600875" y="214490"/>
                  </a:lnTo>
                  <a:lnTo>
                    <a:pt x="608342" y="206997"/>
                  </a:lnTo>
                  <a:lnTo>
                    <a:pt x="608342" y="197726"/>
                  </a:lnTo>
                  <a:lnTo>
                    <a:pt x="608342" y="188455"/>
                  </a:lnTo>
                  <a:close/>
                </a:path>
                <a:path w="1270635" h="395604">
                  <a:moveTo>
                    <a:pt x="628396" y="7493"/>
                  </a:moveTo>
                  <a:lnTo>
                    <a:pt x="620928" y="0"/>
                  </a:lnTo>
                  <a:lnTo>
                    <a:pt x="602437" y="0"/>
                  </a:lnTo>
                  <a:lnTo>
                    <a:pt x="594969" y="7493"/>
                  </a:lnTo>
                  <a:lnTo>
                    <a:pt x="594969" y="26035"/>
                  </a:lnTo>
                  <a:lnTo>
                    <a:pt x="602437" y="33515"/>
                  </a:lnTo>
                  <a:lnTo>
                    <a:pt x="620928" y="33515"/>
                  </a:lnTo>
                  <a:lnTo>
                    <a:pt x="628396" y="26035"/>
                  </a:lnTo>
                  <a:lnTo>
                    <a:pt x="628396" y="16764"/>
                  </a:lnTo>
                  <a:lnTo>
                    <a:pt x="628396" y="7493"/>
                  </a:lnTo>
                  <a:close/>
                </a:path>
                <a:path w="1270635" h="395604">
                  <a:moveTo>
                    <a:pt x="641769" y="369430"/>
                  </a:moveTo>
                  <a:lnTo>
                    <a:pt x="634301" y="361937"/>
                  </a:lnTo>
                  <a:lnTo>
                    <a:pt x="615797" y="361937"/>
                  </a:lnTo>
                  <a:lnTo>
                    <a:pt x="608342" y="369430"/>
                  </a:lnTo>
                  <a:lnTo>
                    <a:pt x="608342" y="387972"/>
                  </a:lnTo>
                  <a:lnTo>
                    <a:pt x="615797" y="395452"/>
                  </a:lnTo>
                  <a:lnTo>
                    <a:pt x="634301" y="395452"/>
                  </a:lnTo>
                  <a:lnTo>
                    <a:pt x="641769" y="387972"/>
                  </a:lnTo>
                  <a:lnTo>
                    <a:pt x="641769" y="378701"/>
                  </a:lnTo>
                  <a:lnTo>
                    <a:pt x="641769" y="369430"/>
                  </a:lnTo>
                  <a:close/>
                </a:path>
                <a:path w="1270635" h="395604">
                  <a:moveTo>
                    <a:pt x="661822" y="188455"/>
                  </a:moveTo>
                  <a:lnTo>
                    <a:pt x="654354" y="180975"/>
                  </a:lnTo>
                  <a:lnTo>
                    <a:pt x="635863" y="180975"/>
                  </a:lnTo>
                  <a:lnTo>
                    <a:pt x="628396" y="188455"/>
                  </a:lnTo>
                  <a:lnTo>
                    <a:pt x="628396" y="206997"/>
                  </a:lnTo>
                  <a:lnTo>
                    <a:pt x="635863" y="214490"/>
                  </a:lnTo>
                  <a:lnTo>
                    <a:pt x="654354" y="214490"/>
                  </a:lnTo>
                  <a:lnTo>
                    <a:pt x="661822" y="206997"/>
                  </a:lnTo>
                  <a:lnTo>
                    <a:pt x="661822" y="197726"/>
                  </a:lnTo>
                  <a:lnTo>
                    <a:pt x="661822" y="188455"/>
                  </a:lnTo>
                  <a:close/>
                </a:path>
                <a:path w="1270635" h="395604">
                  <a:moveTo>
                    <a:pt x="675195" y="7493"/>
                  </a:moveTo>
                  <a:lnTo>
                    <a:pt x="667727" y="0"/>
                  </a:lnTo>
                  <a:lnTo>
                    <a:pt x="649224" y="0"/>
                  </a:lnTo>
                  <a:lnTo>
                    <a:pt x="641769" y="7493"/>
                  </a:lnTo>
                  <a:lnTo>
                    <a:pt x="641769" y="26035"/>
                  </a:lnTo>
                  <a:lnTo>
                    <a:pt x="649224" y="33515"/>
                  </a:lnTo>
                  <a:lnTo>
                    <a:pt x="667727" y="33515"/>
                  </a:lnTo>
                  <a:lnTo>
                    <a:pt x="675195" y="26035"/>
                  </a:lnTo>
                  <a:lnTo>
                    <a:pt x="675195" y="16764"/>
                  </a:lnTo>
                  <a:lnTo>
                    <a:pt x="675195" y="7493"/>
                  </a:lnTo>
                  <a:close/>
                </a:path>
                <a:path w="1270635" h="395604">
                  <a:moveTo>
                    <a:pt x="695248" y="369430"/>
                  </a:moveTo>
                  <a:lnTo>
                    <a:pt x="687781" y="361937"/>
                  </a:lnTo>
                  <a:lnTo>
                    <a:pt x="669290" y="361937"/>
                  </a:lnTo>
                  <a:lnTo>
                    <a:pt x="661822" y="369430"/>
                  </a:lnTo>
                  <a:lnTo>
                    <a:pt x="661822" y="387972"/>
                  </a:lnTo>
                  <a:lnTo>
                    <a:pt x="669290" y="395452"/>
                  </a:lnTo>
                  <a:lnTo>
                    <a:pt x="687781" y="395452"/>
                  </a:lnTo>
                  <a:lnTo>
                    <a:pt x="695248" y="387972"/>
                  </a:lnTo>
                  <a:lnTo>
                    <a:pt x="695248" y="378701"/>
                  </a:lnTo>
                  <a:lnTo>
                    <a:pt x="695248" y="369430"/>
                  </a:lnTo>
                  <a:close/>
                </a:path>
                <a:path w="1270635" h="395604">
                  <a:moveTo>
                    <a:pt x="708609" y="188455"/>
                  </a:moveTo>
                  <a:lnTo>
                    <a:pt x="701154" y="180975"/>
                  </a:lnTo>
                  <a:lnTo>
                    <a:pt x="682650" y="180975"/>
                  </a:lnTo>
                  <a:lnTo>
                    <a:pt x="675195" y="188455"/>
                  </a:lnTo>
                  <a:lnTo>
                    <a:pt x="675195" y="206997"/>
                  </a:lnTo>
                  <a:lnTo>
                    <a:pt x="682650" y="214490"/>
                  </a:lnTo>
                  <a:lnTo>
                    <a:pt x="701154" y="214490"/>
                  </a:lnTo>
                  <a:lnTo>
                    <a:pt x="708609" y="206997"/>
                  </a:lnTo>
                  <a:lnTo>
                    <a:pt x="708609" y="197726"/>
                  </a:lnTo>
                  <a:lnTo>
                    <a:pt x="708609" y="188455"/>
                  </a:lnTo>
                  <a:close/>
                </a:path>
                <a:path w="1270635" h="395604">
                  <a:moveTo>
                    <a:pt x="728675" y="7493"/>
                  </a:moveTo>
                  <a:lnTo>
                    <a:pt x="721207" y="0"/>
                  </a:lnTo>
                  <a:lnTo>
                    <a:pt x="702703" y="0"/>
                  </a:lnTo>
                  <a:lnTo>
                    <a:pt x="695248" y="7493"/>
                  </a:lnTo>
                  <a:lnTo>
                    <a:pt x="695248" y="26035"/>
                  </a:lnTo>
                  <a:lnTo>
                    <a:pt x="702703" y="33515"/>
                  </a:lnTo>
                  <a:lnTo>
                    <a:pt x="721207" y="33515"/>
                  </a:lnTo>
                  <a:lnTo>
                    <a:pt x="728675" y="26035"/>
                  </a:lnTo>
                  <a:lnTo>
                    <a:pt x="728675" y="16764"/>
                  </a:lnTo>
                  <a:lnTo>
                    <a:pt x="728675" y="7493"/>
                  </a:lnTo>
                  <a:close/>
                </a:path>
                <a:path w="1270635" h="395604">
                  <a:moveTo>
                    <a:pt x="742035" y="369430"/>
                  </a:moveTo>
                  <a:lnTo>
                    <a:pt x="734580" y="361937"/>
                  </a:lnTo>
                  <a:lnTo>
                    <a:pt x="716076" y="361937"/>
                  </a:lnTo>
                  <a:lnTo>
                    <a:pt x="708609" y="369430"/>
                  </a:lnTo>
                  <a:lnTo>
                    <a:pt x="708609" y="387972"/>
                  </a:lnTo>
                  <a:lnTo>
                    <a:pt x="716076" y="395452"/>
                  </a:lnTo>
                  <a:lnTo>
                    <a:pt x="734580" y="395452"/>
                  </a:lnTo>
                  <a:lnTo>
                    <a:pt x="742035" y="387972"/>
                  </a:lnTo>
                  <a:lnTo>
                    <a:pt x="742035" y="378701"/>
                  </a:lnTo>
                  <a:lnTo>
                    <a:pt x="742035" y="369430"/>
                  </a:lnTo>
                  <a:close/>
                </a:path>
                <a:path w="1270635" h="395604">
                  <a:moveTo>
                    <a:pt x="755408" y="188455"/>
                  </a:moveTo>
                  <a:lnTo>
                    <a:pt x="747941" y="180975"/>
                  </a:lnTo>
                  <a:lnTo>
                    <a:pt x="729449" y="180975"/>
                  </a:lnTo>
                  <a:lnTo>
                    <a:pt x="721982" y="188455"/>
                  </a:lnTo>
                  <a:lnTo>
                    <a:pt x="721982" y="206997"/>
                  </a:lnTo>
                  <a:lnTo>
                    <a:pt x="729449" y="214490"/>
                  </a:lnTo>
                  <a:lnTo>
                    <a:pt x="747941" y="214490"/>
                  </a:lnTo>
                  <a:lnTo>
                    <a:pt x="755408" y="206997"/>
                  </a:lnTo>
                  <a:lnTo>
                    <a:pt x="755408" y="197726"/>
                  </a:lnTo>
                  <a:lnTo>
                    <a:pt x="755408" y="188455"/>
                  </a:lnTo>
                  <a:close/>
                </a:path>
                <a:path w="1270635" h="395604">
                  <a:moveTo>
                    <a:pt x="775462" y="7493"/>
                  </a:moveTo>
                  <a:lnTo>
                    <a:pt x="767994" y="0"/>
                  </a:lnTo>
                  <a:lnTo>
                    <a:pt x="749503" y="0"/>
                  </a:lnTo>
                  <a:lnTo>
                    <a:pt x="742035" y="7493"/>
                  </a:lnTo>
                  <a:lnTo>
                    <a:pt x="742035" y="26035"/>
                  </a:lnTo>
                  <a:lnTo>
                    <a:pt x="749503" y="33515"/>
                  </a:lnTo>
                  <a:lnTo>
                    <a:pt x="767994" y="33515"/>
                  </a:lnTo>
                  <a:lnTo>
                    <a:pt x="775462" y="26035"/>
                  </a:lnTo>
                  <a:lnTo>
                    <a:pt x="775462" y="16764"/>
                  </a:lnTo>
                  <a:lnTo>
                    <a:pt x="775462" y="7493"/>
                  </a:lnTo>
                  <a:close/>
                </a:path>
                <a:path w="1270635" h="395604">
                  <a:moveTo>
                    <a:pt x="788835" y="369430"/>
                  </a:moveTo>
                  <a:lnTo>
                    <a:pt x="781367" y="361937"/>
                  </a:lnTo>
                  <a:lnTo>
                    <a:pt x="762876" y="361937"/>
                  </a:lnTo>
                  <a:lnTo>
                    <a:pt x="755408" y="369430"/>
                  </a:lnTo>
                  <a:lnTo>
                    <a:pt x="755408" y="387972"/>
                  </a:lnTo>
                  <a:lnTo>
                    <a:pt x="762876" y="395452"/>
                  </a:lnTo>
                  <a:lnTo>
                    <a:pt x="781367" y="395452"/>
                  </a:lnTo>
                  <a:lnTo>
                    <a:pt x="788835" y="387972"/>
                  </a:lnTo>
                  <a:lnTo>
                    <a:pt x="788835" y="378701"/>
                  </a:lnTo>
                  <a:lnTo>
                    <a:pt x="788835" y="369430"/>
                  </a:lnTo>
                  <a:close/>
                </a:path>
                <a:path w="1270635" h="395604">
                  <a:moveTo>
                    <a:pt x="808888" y="188455"/>
                  </a:moveTo>
                  <a:lnTo>
                    <a:pt x="801420" y="180975"/>
                  </a:lnTo>
                  <a:lnTo>
                    <a:pt x="782929" y="180975"/>
                  </a:lnTo>
                  <a:lnTo>
                    <a:pt x="775462" y="188455"/>
                  </a:lnTo>
                  <a:lnTo>
                    <a:pt x="775462" y="206997"/>
                  </a:lnTo>
                  <a:lnTo>
                    <a:pt x="782929" y="214490"/>
                  </a:lnTo>
                  <a:lnTo>
                    <a:pt x="801420" y="214490"/>
                  </a:lnTo>
                  <a:lnTo>
                    <a:pt x="808888" y="206997"/>
                  </a:lnTo>
                  <a:lnTo>
                    <a:pt x="808888" y="197726"/>
                  </a:lnTo>
                  <a:lnTo>
                    <a:pt x="808888" y="188455"/>
                  </a:lnTo>
                  <a:close/>
                </a:path>
                <a:path w="1270635" h="395604">
                  <a:moveTo>
                    <a:pt x="822261" y="7493"/>
                  </a:moveTo>
                  <a:lnTo>
                    <a:pt x="814793" y="0"/>
                  </a:lnTo>
                  <a:lnTo>
                    <a:pt x="796302" y="0"/>
                  </a:lnTo>
                  <a:lnTo>
                    <a:pt x="788835" y="7493"/>
                  </a:lnTo>
                  <a:lnTo>
                    <a:pt x="788835" y="26035"/>
                  </a:lnTo>
                  <a:lnTo>
                    <a:pt x="796302" y="33515"/>
                  </a:lnTo>
                  <a:lnTo>
                    <a:pt x="814793" y="33515"/>
                  </a:lnTo>
                  <a:lnTo>
                    <a:pt x="822261" y="26035"/>
                  </a:lnTo>
                  <a:lnTo>
                    <a:pt x="822261" y="16764"/>
                  </a:lnTo>
                  <a:lnTo>
                    <a:pt x="822261" y="7493"/>
                  </a:lnTo>
                  <a:close/>
                </a:path>
                <a:path w="1270635" h="395604">
                  <a:moveTo>
                    <a:pt x="842314" y="369430"/>
                  </a:moveTo>
                  <a:lnTo>
                    <a:pt x="834847" y="361937"/>
                  </a:lnTo>
                  <a:lnTo>
                    <a:pt x="816356" y="361937"/>
                  </a:lnTo>
                  <a:lnTo>
                    <a:pt x="808888" y="369430"/>
                  </a:lnTo>
                  <a:lnTo>
                    <a:pt x="808888" y="387972"/>
                  </a:lnTo>
                  <a:lnTo>
                    <a:pt x="816356" y="395452"/>
                  </a:lnTo>
                  <a:lnTo>
                    <a:pt x="834847" y="395452"/>
                  </a:lnTo>
                  <a:lnTo>
                    <a:pt x="842314" y="387972"/>
                  </a:lnTo>
                  <a:lnTo>
                    <a:pt x="842314" y="378701"/>
                  </a:lnTo>
                  <a:lnTo>
                    <a:pt x="842314" y="369430"/>
                  </a:lnTo>
                  <a:close/>
                </a:path>
                <a:path w="1270635" h="395604">
                  <a:moveTo>
                    <a:pt x="855687" y="188455"/>
                  </a:moveTo>
                  <a:lnTo>
                    <a:pt x="848220" y="180975"/>
                  </a:lnTo>
                  <a:lnTo>
                    <a:pt x="829729" y="180975"/>
                  </a:lnTo>
                  <a:lnTo>
                    <a:pt x="822261" y="188455"/>
                  </a:lnTo>
                  <a:lnTo>
                    <a:pt x="822261" y="206997"/>
                  </a:lnTo>
                  <a:lnTo>
                    <a:pt x="829729" y="214490"/>
                  </a:lnTo>
                  <a:lnTo>
                    <a:pt x="848220" y="214490"/>
                  </a:lnTo>
                  <a:lnTo>
                    <a:pt x="855687" y="206997"/>
                  </a:lnTo>
                  <a:lnTo>
                    <a:pt x="855687" y="197726"/>
                  </a:lnTo>
                  <a:lnTo>
                    <a:pt x="855687" y="188455"/>
                  </a:lnTo>
                  <a:close/>
                </a:path>
                <a:path w="1270635" h="395604">
                  <a:moveTo>
                    <a:pt x="875741" y="7493"/>
                  </a:moveTo>
                  <a:lnTo>
                    <a:pt x="868273" y="0"/>
                  </a:lnTo>
                  <a:lnTo>
                    <a:pt x="849782" y="0"/>
                  </a:lnTo>
                  <a:lnTo>
                    <a:pt x="842314" y="7493"/>
                  </a:lnTo>
                  <a:lnTo>
                    <a:pt x="842314" y="26035"/>
                  </a:lnTo>
                  <a:lnTo>
                    <a:pt x="849782" y="33515"/>
                  </a:lnTo>
                  <a:lnTo>
                    <a:pt x="868273" y="33515"/>
                  </a:lnTo>
                  <a:lnTo>
                    <a:pt x="875741" y="26035"/>
                  </a:lnTo>
                  <a:lnTo>
                    <a:pt x="875741" y="16764"/>
                  </a:lnTo>
                  <a:lnTo>
                    <a:pt x="875741" y="7493"/>
                  </a:lnTo>
                  <a:close/>
                </a:path>
                <a:path w="1270635" h="395604">
                  <a:moveTo>
                    <a:pt x="889114" y="369430"/>
                  </a:moveTo>
                  <a:lnTo>
                    <a:pt x="881646" y="361937"/>
                  </a:lnTo>
                  <a:lnTo>
                    <a:pt x="863155" y="361937"/>
                  </a:lnTo>
                  <a:lnTo>
                    <a:pt x="855687" y="369430"/>
                  </a:lnTo>
                  <a:lnTo>
                    <a:pt x="855687" y="387972"/>
                  </a:lnTo>
                  <a:lnTo>
                    <a:pt x="863155" y="395452"/>
                  </a:lnTo>
                  <a:lnTo>
                    <a:pt x="881646" y="395452"/>
                  </a:lnTo>
                  <a:lnTo>
                    <a:pt x="889114" y="387972"/>
                  </a:lnTo>
                  <a:lnTo>
                    <a:pt x="889114" y="378701"/>
                  </a:lnTo>
                  <a:lnTo>
                    <a:pt x="889114" y="369430"/>
                  </a:lnTo>
                  <a:close/>
                </a:path>
                <a:path w="1270635" h="395604">
                  <a:moveTo>
                    <a:pt x="909167" y="188455"/>
                  </a:moveTo>
                  <a:lnTo>
                    <a:pt x="901700" y="180975"/>
                  </a:lnTo>
                  <a:lnTo>
                    <a:pt x="883208" y="180975"/>
                  </a:lnTo>
                  <a:lnTo>
                    <a:pt x="875741" y="188455"/>
                  </a:lnTo>
                  <a:lnTo>
                    <a:pt x="875741" y="206997"/>
                  </a:lnTo>
                  <a:lnTo>
                    <a:pt x="883208" y="214490"/>
                  </a:lnTo>
                  <a:lnTo>
                    <a:pt x="901700" y="214490"/>
                  </a:lnTo>
                  <a:lnTo>
                    <a:pt x="909167" y="206997"/>
                  </a:lnTo>
                  <a:lnTo>
                    <a:pt x="909167" y="197726"/>
                  </a:lnTo>
                  <a:lnTo>
                    <a:pt x="909167" y="188455"/>
                  </a:lnTo>
                  <a:close/>
                </a:path>
                <a:path w="1270635" h="395604">
                  <a:moveTo>
                    <a:pt x="922540" y="7493"/>
                  </a:moveTo>
                  <a:lnTo>
                    <a:pt x="915073" y="0"/>
                  </a:lnTo>
                  <a:lnTo>
                    <a:pt x="896581" y="0"/>
                  </a:lnTo>
                  <a:lnTo>
                    <a:pt x="889114" y="7493"/>
                  </a:lnTo>
                  <a:lnTo>
                    <a:pt x="889114" y="26035"/>
                  </a:lnTo>
                  <a:lnTo>
                    <a:pt x="896581" y="33515"/>
                  </a:lnTo>
                  <a:lnTo>
                    <a:pt x="915073" y="33515"/>
                  </a:lnTo>
                  <a:lnTo>
                    <a:pt x="922540" y="26035"/>
                  </a:lnTo>
                  <a:lnTo>
                    <a:pt x="922540" y="16764"/>
                  </a:lnTo>
                  <a:lnTo>
                    <a:pt x="922540" y="7493"/>
                  </a:lnTo>
                  <a:close/>
                </a:path>
                <a:path w="1270635" h="395604">
                  <a:moveTo>
                    <a:pt x="942594" y="369430"/>
                  </a:moveTo>
                  <a:lnTo>
                    <a:pt x="935126" y="361937"/>
                  </a:lnTo>
                  <a:lnTo>
                    <a:pt x="916635" y="361937"/>
                  </a:lnTo>
                  <a:lnTo>
                    <a:pt x="909167" y="369430"/>
                  </a:lnTo>
                  <a:lnTo>
                    <a:pt x="909167" y="387972"/>
                  </a:lnTo>
                  <a:lnTo>
                    <a:pt x="916635" y="395452"/>
                  </a:lnTo>
                  <a:lnTo>
                    <a:pt x="935126" y="395452"/>
                  </a:lnTo>
                  <a:lnTo>
                    <a:pt x="942594" y="387972"/>
                  </a:lnTo>
                  <a:lnTo>
                    <a:pt x="942594" y="378701"/>
                  </a:lnTo>
                  <a:lnTo>
                    <a:pt x="942594" y="369430"/>
                  </a:lnTo>
                  <a:close/>
                </a:path>
                <a:path w="1270635" h="395604">
                  <a:moveTo>
                    <a:pt x="955967" y="188455"/>
                  </a:moveTo>
                  <a:lnTo>
                    <a:pt x="948499" y="180975"/>
                  </a:lnTo>
                  <a:lnTo>
                    <a:pt x="929995" y="180975"/>
                  </a:lnTo>
                  <a:lnTo>
                    <a:pt x="922540" y="188455"/>
                  </a:lnTo>
                  <a:lnTo>
                    <a:pt x="922540" y="206997"/>
                  </a:lnTo>
                  <a:lnTo>
                    <a:pt x="929995" y="214490"/>
                  </a:lnTo>
                  <a:lnTo>
                    <a:pt x="948499" y="214490"/>
                  </a:lnTo>
                  <a:lnTo>
                    <a:pt x="955967" y="206997"/>
                  </a:lnTo>
                  <a:lnTo>
                    <a:pt x="955967" y="197726"/>
                  </a:lnTo>
                  <a:lnTo>
                    <a:pt x="955967" y="188455"/>
                  </a:lnTo>
                  <a:close/>
                </a:path>
                <a:path w="1270635" h="395604">
                  <a:moveTo>
                    <a:pt x="969327" y="7493"/>
                  </a:moveTo>
                  <a:lnTo>
                    <a:pt x="961859" y="0"/>
                  </a:lnTo>
                  <a:lnTo>
                    <a:pt x="943368" y="0"/>
                  </a:lnTo>
                  <a:lnTo>
                    <a:pt x="935901" y="7493"/>
                  </a:lnTo>
                  <a:lnTo>
                    <a:pt x="935901" y="26035"/>
                  </a:lnTo>
                  <a:lnTo>
                    <a:pt x="943368" y="33515"/>
                  </a:lnTo>
                  <a:lnTo>
                    <a:pt x="961859" y="33515"/>
                  </a:lnTo>
                  <a:lnTo>
                    <a:pt x="969327" y="26035"/>
                  </a:lnTo>
                  <a:lnTo>
                    <a:pt x="969327" y="16764"/>
                  </a:lnTo>
                  <a:lnTo>
                    <a:pt x="969327" y="7493"/>
                  </a:lnTo>
                  <a:close/>
                </a:path>
                <a:path w="1270635" h="395604">
                  <a:moveTo>
                    <a:pt x="989380" y="369430"/>
                  </a:moveTo>
                  <a:lnTo>
                    <a:pt x="981925" y="361937"/>
                  </a:lnTo>
                  <a:lnTo>
                    <a:pt x="963422" y="361937"/>
                  </a:lnTo>
                  <a:lnTo>
                    <a:pt x="955967" y="369430"/>
                  </a:lnTo>
                  <a:lnTo>
                    <a:pt x="955967" y="387972"/>
                  </a:lnTo>
                  <a:lnTo>
                    <a:pt x="963422" y="395452"/>
                  </a:lnTo>
                  <a:lnTo>
                    <a:pt x="981925" y="395452"/>
                  </a:lnTo>
                  <a:lnTo>
                    <a:pt x="989380" y="387972"/>
                  </a:lnTo>
                  <a:lnTo>
                    <a:pt x="989380" y="378701"/>
                  </a:lnTo>
                  <a:lnTo>
                    <a:pt x="989380" y="369430"/>
                  </a:lnTo>
                  <a:close/>
                </a:path>
                <a:path w="1270635" h="395604">
                  <a:moveTo>
                    <a:pt x="1002753" y="188455"/>
                  </a:moveTo>
                  <a:lnTo>
                    <a:pt x="995286" y="180975"/>
                  </a:lnTo>
                  <a:lnTo>
                    <a:pt x="976795" y="180975"/>
                  </a:lnTo>
                  <a:lnTo>
                    <a:pt x="969327" y="188455"/>
                  </a:lnTo>
                  <a:lnTo>
                    <a:pt x="969327" y="206997"/>
                  </a:lnTo>
                  <a:lnTo>
                    <a:pt x="976795" y="214490"/>
                  </a:lnTo>
                  <a:lnTo>
                    <a:pt x="995286" y="214490"/>
                  </a:lnTo>
                  <a:lnTo>
                    <a:pt x="1002753" y="206997"/>
                  </a:lnTo>
                  <a:lnTo>
                    <a:pt x="1002753" y="197726"/>
                  </a:lnTo>
                  <a:lnTo>
                    <a:pt x="1002753" y="188455"/>
                  </a:lnTo>
                  <a:close/>
                </a:path>
                <a:path w="1270635" h="395604">
                  <a:moveTo>
                    <a:pt x="1022807" y="7493"/>
                  </a:moveTo>
                  <a:lnTo>
                    <a:pt x="1015352" y="0"/>
                  </a:lnTo>
                  <a:lnTo>
                    <a:pt x="996848" y="0"/>
                  </a:lnTo>
                  <a:lnTo>
                    <a:pt x="989380" y="7493"/>
                  </a:lnTo>
                  <a:lnTo>
                    <a:pt x="989380" y="26035"/>
                  </a:lnTo>
                  <a:lnTo>
                    <a:pt x="996848" y="33515"/>
                  </a:lnTo>
                  <a:lnTo>
                    <a:pt x="1015352" y="33515"/>
                  </a:lnTo>
                  <a:lnTo>
                    <a:pt x="1022807" y="26035"/>
                  </a:lnTo>
                  <a:lnTo>
                    <a:pt x="1022807" y="16764"/>
                  </a:lnTo>
                  <a:lnTo>
                    <a:pt x="1022807" y="7493"/>
                  </a:lnTo>
                  <a:close/>
                </a:path>
                <a:path w="1270635" h="395604">
                  <a:moveTo>
                    <a:pt x="1036180" y="369430"/>
                  </a:moveTo>
                  <a:lnTo>
                    <a:pt x="1028712" y="361937"/>
                  </a:lnTo>
                  <a:lnTo>
                    <a:pt x="1010221" y="361937"/>
                  </a:lnTo>
                  <a:lnTo>
                    <a:pt x="1002753" y="369430"/>
                  </a:lnTo>
                  <a:lnTo>
                    <a:pt x="1002753" y="387972"/>
                  </a:lnTo>
                  <a:lnTo>
                    <a:pt x="1010221" y="395452"/>
                  </a:lnTo>
                  <a:lnTo>
                    <a:pt x="1028712" y="395452"/>
                  </a:lnTo>
                  <a:lnTo>
                    <a:pt x="1036180" y="387972"/>
                  </a:lnTo>
                  <a:lnTo>
                    <a:pt x="1036180" y="378701"/>
                  </a:lnTo>
                  <a:lnTo>
                    <a:pt x="1036180" y="369430"/>
                  </a:lnTo>
                  <a:close/>
                </a:path>
                <a:path w="1270635" h="395604">
                  <a:moveTo>
                    <a:pt x="1056233" y="188455"/>
                  </a:moveTo>
                  <a:lnTo>
                    <a:pt x="1048766" y="180975"/>
                  </a:lnTo>
                  <a:lnTo>
                    <a:pt x="1030274" y="180975"/>
                  </a:lnTo>
                  <a:lnTo>
                    <a:pt x="1022807" y="188455"/>
                  </a:lnTo>
                  <a:lnTo>
                    <a:pt x="1022807" y="206997"/>
                  </a:lnTo>
                  <a:lnTo>
                    <a:pt x="1030274" y="214490"/>
                  </a:lnTo>
                  <a:lnTo>
                    <a:pt x="1048766" y="214490"/>
                  </a:lnTo>
                  <a:lnTo>
                    <a:pt x="1056233" y="206997"/>
                  </a:lnTo>
                  <a:lnTo>
                    <a:pt x="1056233" y="197726"/>
                  </a:lnTo>
                  <a:lnTo>
                    <a:pt x="1056233" y="188455"/>
                  </a:lnTo>
                  <a:close/>
                </a:path>
                <a:path w="1270635" h="395604">
                  <a:moveTo>
                    <a:pt x="1069606" y="7493"/>
                  </a:moveTo>
                  <a:lnTo>
                    <a:pt x="1062139" y="0"/>
                  </a:lnTo>
                  <a:lnTo>
                    <a:pt x="1043647" y="0"/>
                  </a:lnTo>
                  <a:lnTo>
                    <a:pt x="1036180" y="7493"/>
                  </a:lnTo>
                  <a:lnTo>
                    <a:pt x="1036180" y="26035"/>
                  </a:lnTo>
                  <a:lnTo>
                    <a:pt x="1043647" y="33515"/>
                  </a:lnTo>
                  <a:lnTo>
                    <a:pt x="1062139" y="33515"/>
                  </a:lnTo>
                  <a:lnTo>
                    <a:pt x="1069606" y="26035"/>
                  </a:lnTo>
                  <a:lnTo>
                    <a:pt x="1069606" y="16764"/>
                  </a:lnTo>
                  <a:lnTo>
                    <a:pt x="1069606" y="7493"/>
                  </a:lnTo>
                  <a:close/>
                </a:path>
                <a:path w="1270635" h="395604">
                  <a:moveTo>
                    <a:pt x="1089660" y="369430"/>
                  </a:moveTo>
                  <a:lnTo>
                    <a:pt x="1082192" y="361937"/>
                  </a:lnTo>
                  <a:lnTo>
                    <a:pt x="1063701" y="361937"/>
                  </a:lnTo>
                  <a:lnTo>
                    <a:pt x="1056233" y="369430"/>
                  </a:lnTo>
                  <a:lnTo>
                    <a:pt x="1056233" y="387972"/>
                  </a:lnTo>
                  <a:lnTo>
                    <a:pt x="1063701" y="395452"/>
                  </a:lnTo>
                  <a:lnTo>
                    <a:pt x="1082192" y="395452"/>
                  </a:lnTo>
                  <a:lnTo>
                    <a:pt x="1089660" y="387972"/>
                  </a:lnTo>
                  <a:lnTo>
                    <a:pt x="1089660" y="378701"/>
                  </a:lnTo>
                  <a:lnTo>
                    <a:pt x="1089660" y="369430"/>
                  </a:lnTo>
                  <a:close/>
                </a:path>
                <a:path w="1270635" h="395604">
                  <a:moveTo>
                    <a:pt x="1103033" y="188455"/>
                  </a:moveTo>
                  <a:lnTo>
                    <a:pt x="1095565" y="180975"/>
                  </a:lnTo>
                  <a:lnTo>
                    <a:pt x="1077074" y="180975"/>
                  </a:lnTo>
                  <a:lnTo>
                    <a:pt x="1069606" y="188455"/>
                  </a:lnTo>
                  <a:lnTo>
                    <a:pt x="1069606" y="206997"/>
                  </a:lnTo>
                  <a:lnTo>
                    <a:pt x="1077074" y="214490"/>
                  </a:lnTo>
                  <a:lnTo>
                    <a:pt x="1095565" y="214490"/>
                  </a:lnTo>
                  <a:lnTo>
                    <a:pt x="1103033" y="206997"/>
                  </a:lnTo>
                  <a:lnTo>
                    <a:pt x="1103033" y="197726"/>
                  </a:lnTo>
                  <a:lnTo>
                    <a:pt x="1103033" y="188455"/>
                  </a:lnTo>
                  <a:close/>
                </a:path>
                <a:path w="1270635" h="395604">
                  <a:moveTo>
                    <a:pt x="1123086" y="7493"/>
                  </a:moveTo>
                  <a:lnTo>
                    <a:pt x="1115618" y="0"/>
                  </a:lnTo>
                  <a:lnTo>
                    <a:pt x="1097127" y="0"/>
                  </a:lnTo>
                  <a:lnTo>
                    <a:pt x="1089660" y="7493"/>
                  </a:lnTo>
                  <a:lnTo>
                    <a:pt x="1089660" y="26035"/>
                  </a:lnTo>
                  <a:lnTo>
                    <a:pt x="1097127" y="33515"/>
                  </a:lnTo>
                  <a:lnTo>
                    <a:pt x="1115618" y="33515"/>
                  </a:lnTo>
                  <a:lnTo>
                    <a:pt x="1123086" y="26035"/>
                  </a:lnTo>
                  <a:lnTo>
                    <a:pt x="1123086" y="16764"/>
                  </a:lnTo>
                  <a:lnTo>
                    <a:pt x="1123086" y="7493"/>
                  </a:lnTo>
                  <a:close/>
                </a:path>
                <a:path w="1270635" h="395604">
                  <a:moveTo>
                    <a:pt x="1136459" y="369430"/>
                  </a:moveTo>
                  <a:lnTo>
                    <a:pt x="1128991" y="361937"/>
                  </a:lnTo>
                  <a:lnTo>
                    <a:pt x="1110500" y="361937"/>
                  </a:lnTo>
                  <a:lnTo>
                    <a:pt x="1103033" y="369430"/>
                  </a:lnTo>
                  <a:lnTo>
                    <a:pt x="1103033" y="387972"/>
                  </a:lnTo>
                  <a:lnTo>
                    <a:pt x="1110500" y="395452"/>
                  </a:lnTo>
                  <a:lnTo>
                    <a:pt x="1128991" y="395452"/>
                  </a:lnTo>
                  <a:lnTo>
                    <a:pt x="1136459" y="387972"/>
                  </a:lnTo>
                  <a:lnTo>
                    <a:pt x="1136459" y="378701"/>
                  </a:lnTo>
                  <a:lnTo>
                    <a:pt x="1136459" y="369430"/>
                  </a:lnTo>
                  <a:close/>
                </a:path>
                <a:path w="1270635" h="395604">
                  <a:moveTo>
                    <a:pt x="1149832" y="188455"/>
                  </a:moveTo>
                  <a:lnTo>
                    <a:pt x="1142365" y="180975"/>
                  </a:lnTo>
                  <a:lnTo>
                    <a:pt x="1123861" y="180975"/>
                  </a:lnTo>
                  <a:lnTo>
                    <a:pt x="1116406" y="188455"/>
                  </a:lnTo>
                  <a:lnTo>
                    <a:pt x="1116406" y="206997"/>
                  </a:lnTo>
                  <a:lnTo>
                    <a:pt x="1123861" y="214490"/>
                  </a:lnTo>
                  <a:lnTo>
                    <a:pt x="1142365" y="214490"/>
                  </a:lnTo>
                  <a:lnTo>
                    <a:pt x="1149832" y="206997"/>
                  </a:lnTo>
                  <a:lnTo>
                    <a:pt x="1149832" y="197726"/>
                  </a:lnTo>
                  <a:lnTo>
                    <a:pt x="1149832" y="188455"/>
                  </a:lnTo>
                  <a:close/>
                </a:path>
                <a:path w="1270635" h="395604">
                  <a:moveTo>
                    <a:pt x="1169885" y="7493"/>
                  </a:moveTo>
                  <a:lnTo>
                    <a:pt x="1162418" y="0"/>
                  </a:lnTo>
                  <a:lnTo>
                    <a:pt x="1143927" y="0"/>
                  </a:lnTo>
                  <a:lnTo>
                    <a:pt x="1136459" y="7493"/>
                  </a:lnTo>
                  <a:lnTo>
                    <a:pt x="1136459" y="26035"/>
                  </a:lnTo>
                  <a:lnTo>
                    <a:pt x="1143927" y="33515"/>
                  </a:lnTo>
                  <a:lnTo>
                    <a:pt x="1162418" y="33515"/>
                  </a:lnTo>
                  <a:lnTo>
                    <a:pt x="1169885" y="26035"/>
                  </a:lnTo>
                  <a:lnTo>
                    <a:pt x="1169885" y="16764"/>
                  </a:lnTo>
                  <a:lnTo>
                    <a:pt x="1169885" y="7493"/>
                  </a:lnTo>
                  <a:close/>
                </a:path>
                <a:path w="1270635" h="395604">
                  <a:moveTo>
                    <a:pt x="1183246" y="369430"/>
                  </a:moveTo>
                  <a:lnTo>
                    <a:pt x="1175791" y="361937"/>
                  </a:lnTo>
                  <a:lnTo>
                    <a:pt x="1157287" y="361937"/>
                  </a:lnTo>
                  <a:lnTo>
                    <a:pt x="1149832" y="369430"/>
                  </a:lnTo>
                  <a:lnTo>
                    <a:pt x="1149832" y="387972"/>
                  </a:lnTo>
                  <a:lnTo>
                    <a:pt x="1157287" y="395452"/>
                  </a:lnTo>
                  <a:lnTo>
                    <a:pt x="1175791" y="395452"/>
                  </a:lnTo>
                  <a:lnTo>
                    <a:pt x="1183246" y="387972"/>
                  </a:lnTo>
                  <a:lnTo>
                    <a:pt x="1183246" y="378701"/>
                  </a:lnTo>
                  <a:lnTo>
                    <a:pt x="1183246" y="369430"/>
                  </a:lnTo>
                  <a:close/>
                </a:path>
                <a:path w="1270635" h="395604">
                  <a:moveTo>
                    <a:pt x="1203312" y="188455"/>
                  </a:moveTo>
                  <a:lnTo>
                    <a:pt x="1195844" y="180975"/>
                  </a:lnTo>
                  <a:lnTo>
                    <a:pt x="1177353" y="180975"/>
                  </a:lnTo>
                  <a:lnTo>
                    <a:pt x="1169885" y="188455"/>
                  </a:lnTo>
                  <a:lnTo>
                    <a:pt x="1169885" y="206997"/>
                  </a:lnTo>
                  <a:lnTo>
                    <a:pt x="1177353" y="214490"/>
                  </a:lnTo>
                  <a:lnTo>
                    <a:pt x="1195844" y="214490"/>
                  </a:lnTo>
                  <a:lnTo>
                    <a:pt x="1203312" y="206997"/>
                  </a:lnTo>
                  <a:lnTo>
                    <a:pt x="1203312" y="197726"/>
                  </a:lnTo>
                  <a:lnTo>
                    <a:pt x="1203312" y="188455"/>
                  </a:lnTo>
                  <a:close/>
                </a:path>
                <a:path w="1270635" h="395604">
                  <a:moveTo>
                    <a:pt x="1216672" y="7493"/>
                  </a:moveTo>
                  <a:lnTo>
                    <a:pt x="1209217" y="0"/>
                  </a:lnTo>
                  <a:lnTo>
                    <a:pt x="1190713" y="0"/>
                  </a:lnTo>
                  <a:lnTo>
                    <a:pt x="1183246" y="7493"/>
                  </a:lnTo>
                  <a:lnTo>
                    <a:pt x="1183246" y="26035"/>
                  </a:lnTo>
                  <a:lnTo>
                    <a:pt x="1190713" y="33515"/>
                  </a:lnTo>
                  <a:lnTo>
                    <a:pt x="1209217" y="33515"/>
                  </a:lnTo>
                  <a:lnTo>
                    <a:pt x="1216672" y="26035"/>
                  </a:lnTo>
                  <a:lnTo>
                    <a:pt x="1216672" y="16764"/>
                  </a:lnTo>
                  <a:lnTo>
                    <a:pt x="1216672" y="7493"/>
                  </a:lnTo>
                  <a:close/>
                </a:path>
                <a:path w="1270635" h="395604">
                  <a:moveTo>
                    <a:pt x="1236738" y="369430"/>
                  </a:moveTo>
                  <a:lnTo>
                    <a:pt x="1229271" y="361937"/>
                  </a:lnTo>
                  <a:lnTo>
                    <a:pt x="1210767" y="361937"/>
                  </a:lnTo>
                  <a:lnTo>
                    <a:pt x="1203312" y="369430"/>
                  </a:lnTo>
                  <a:lnTo>
                    <a:pt x="1203312" y="387972"/>
                  </a:lnTo>
                  <a:lnTo>
                    <a:pt x="1210767" y="395452"/>
                  </a:lnTo>
                  <a:lnTo>
                    <a:pt x="1229271" y="395452"/>
                  </a:lnTo>
                  <a:lnTo>
                    <a:pt x="1236738" y="387972"/>
                  </a:lnTo>
                  <a:lnTo>
                    <a:pt x="1236738" y="378701"/>
                  </a:lnTo>
                  <a:lnTo>
                    <a:pt x="1236738" y="369430"/>
                  </a:lnTo>
                  <a:close/>
                </a:path>
                <a:path w="1270635" h="395604">
                  <a:moveTo>
                    <a:pt x="1250099" y="188455"/>
                  </a:moveTo>
                  <a:lnTo>
                    <a:pt x="1242644" y="180975"/>
                  </a:lnTo>
                  <a:lnTo>
                    <a:pt x="1224140" y="180975"/>
                  </a:lnTo>
                  <a:lnTo>
                    <a:pt x="1216672" y="188455"/>
                  </a:lnTo>
                  <a:lnTo>
                    <a:pt x="1216672" y="206997"/>
                  </a:lnTo>
                  <a:lnTo>
                    <a:pt x="1224140" y="214490"/>
                  </a:lnTo>
                  <a:lnTo>
                    <a:pt x="1242644" y="214490"/>
                  </a:lnTo>
                  <a:lnTo>
                    <a:pt x="1250099" y="206997"/>
                  </a:lnTo>
                  <a:lnTo>
                    <a:pt x="1250099" y="197726"/>
                  </a:lnTo>
                  <a:lnTo>
                    <a:pt x="1250099" y="188455"/>
                  </a:lnTo>
                  <a:close/>
                </a:path>
                <a:path w="1270635" h="395604">
                  <a:moveTo>
                    <a:pt x="1270152" y="7493"/>
                  </a:moveTo>
                  <a:lnTo>
                    <a:pt x="1262697" y="0"/>
                  </a:lnTo>
                  <a:lnTo>
                    <a:pt x="1244193" y="0"/>
                  </a:lnTo>
                  <a:lnTo>
                    <a:pt x="1236738" y="7493"/>
                  </a:lnTo>
                  <a:lnTo>
                    <a:pt x="1236738" y="26035"/>
                  </a:lnTo>
                  <a:lnTo>
                    <a:pt x="1244193" y="33515"/>
                  </a:lnTo>
                  <a:lnTo>
                    <a:pt x="1262697" y="33515"/>
                  </a:lnTo>
                  <a:lnTo>
                    <a:pt x="1270152" y="26035"/>
                  </a:lnTo>
                  <a:lnTo>
                    <a:pt x="1270152" y="16764"/>
                  </a:lnTo>
                  <a:lnTo>
                    <a:pt x="1270152" y="7493"/>
                  </a:lnTo>
                  <a:close/>
                </a:path>
              </a:pathLst>
            </a:custGeom>
            <a:solidFill>
              <a:srgbClr val="1F487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3" name="object 23"/>
            <p:cNvSpPr/>
            <p:nvPr/>
          </p:nvSpPr>
          <p:spPr>
            <a:xfrm>
              <a:off x="2936443" y="5080584"/>
              <a:ext cx="427990" cy="395605"/>
            </a:xfrm>
            <a:custGeom>
              <a:avLst/>
              <a:gdLst/>
              <a:ahLst/>
              <a:cxnLst/>
              <a:rect l="l" t="t" r="r" b="b"/>
              <a:pathLst>
                <a:path w="427989" h="395604">
                  <a:moveTo>
                    <a:pt x="33413" y="7493"/>
                  </a:moveTo>
                  <a:lnTo>
                    <a:pt x="25958" y="0"/>
                  </a:lnTo>
                  <a:lnTo>
                    <a:pt x="7454" y="0"/>
                  </a:lnTo>
                  <a:lnTo>
                    <a:pt x="0" y="7493"/>
                  </a:lnTo>
                  <a:lnTo>
                    <a:pt x="0" y="26035"/>
                  </a:lnTo>
                  <a:lnTo>
                    <a:pt x="7454" y="33515"/>
                  </a:lnTo>
                  <a:lnTo>
                    <a:pt x="25958" y="33515"/>
                  </a:lnTo>
                  <a:lnTo>
                    <a:pt x="33413" y="26035"/>
                  </a:lnTo>
                  <a:lnTo>
                    <a:pt x="33413" y="16764"/>
                  </a:lnTo>
                  <a:lnTo>
                    <a:pt x="33413" y="7493"/>
                  </a:lnTo>
                  <a:close/>
                </a:path>
                <a:path w="427989" h="395604">
                  <a:moveTo>
                    <a:pt x="46786" y="369430"/>
                  </a:moveTo>
                  <a:lnTo>
                    <a:pt x="39319" y="361937"/>
                  </a:lnTo>
                  <a:lnTo>
                    <a:pt x="20828" y="361937"/>
                  </a:lnTo>
                  <a:lnTo>
                    <a:pt x="13360" y="369430"/>
                  </a:lnTo>
                  <a:lnTo>
                    <a:pt x="13360" y="387972"/>
                  </a:lnTo>
                  <a:lnTo>
                    <a:pt x="20828" y="395452"/>
                  </a:lnTo>
                  <a:lnTo>
                    <a:pt x="39319" y="395452"/>
                  </a:lnTo>
                  <a:lnTo>
                    <a:pt x="46786" y="387972"/>
                  </a:lnTo>
                  <a:lnTo>
                    <a:pt x="46786" y="378701"/>
                  </a:lnTo>
                  <a:lnTo>
                    <a:pt x="46786" y="369430"/>
                  </a:lnTo>
                  <a:close/>
                </a:path>
                <a:path w="427989" h="395604">
                  <a:moveTo>
                    <a:pt x="66840" y="188455"/>
                  </a:moveTo>
                  <a:lnTo>
                    <a:pt x="59385" y="180975"/>
                  </a:lnTo>
                  <a:lnTo>
                    <a:pt x="40881" y="180975"/>
                  </a:lnTo>
                  <a:lnTo>
                    <a:pt x="33413" y="188455"/>
                  </a:lnTo>
                  <a:lnTo>
                    <a:pt x="33413" y="206997"/>
                  </a:lnTo>
                  <a:lnTo>
                    <a:pt x="40881" y="214490"/>
                  </a:lnTo>
                  <a:lnTo>
                    <a:pt x="59385" y="214490"/>
                  </a:lnTo>
                  <a:lnTo>
                    <a:pt x="66840" y="206997"/>
                  </a:lnTo>
                  <a:lnTo>
                    <a:pt x="66840" y="197726"/>
                  </a:lnTo>
                  <a:lnTo>
                    <a:pt x="66840" y="188455"/>
                  </a:lnTo>
                  <a:close/>
                </a:path>
                <a:path w="427989" h="395604">
                  <a:moveTo>
                    <a:pt x="80213" y="7493"/>
                  </a:moveTo>
                  <a:lnTo>
                    <a:pt x="72745" y="0"/>
                  </a:lnTo>
                  <a:lnTo>
                    <a:pt x="54254" y="0"/>
                  </a:lnTo>
                  <a:lnTo>
                    <a:pt x="46786" y="7493"/>
                  </a:lnTo>
                  <a:lnTo>
                    <a:pt x="46786" y="26035"/>
                  </a:lnTo>
                  <a:lnTo>
                    <a:pt x="54254" y="33515"/>
                  </a:lnTo>
                  <a:lnTo>
                    <a:pt x="72745" y="33515"/>
                  </a:lnTo>
                  <a:lnTo>
                    <a:pt x="80213" y="26035"/>
                  </a:lnTo>
                  <a:lnTo>
                    <a:pt x="80213" y="16764"/>
                  </a:lnTo>
                  <a:lnTo>
                    <a:pt x="80213" y="7493"/>
                  </a:lnTo>
                  <a:close/>
                </a:path>
                <a:path w="427989" h="395604">
                  <a:moveTo>
                    <a:pt x="100266" y="369430"/>
                  </a:moveTo>
                  <a:lnTo>
                    <a:pt x="92798" y="361937"/>
                  </a:lnTo>
                  <a:lnTo>
                    <a:pt x="74307" y="361937"/>
                  </a:lnTo>
                  <a:lnTo>
                    <a:pt x="66840" y="369430"/>
                  </a:lnTo>
                  <a:lnTo>
                    <a:pt x="66840" y="387972"/>
                  </a:lnTo>
                  <a:lnTo>
                    <a:pt x="74307" y="395452"/>
                  </a:lnTo>
                  <a:lnTo>
                    <a:pt x="92798" y="395452"/>
                  </a:lnTo>
                  <a:lnTo>
                    <a:pt x="100266" y="387972"/>
                  </a:lnTo>
                  <a:lnTo>
                    <a:pt x="100266" y="378701"/>
                  </a:lnTo>
                  <a:lnTo>
                    <a:pt x="100266" y="369430"/>
                  </a:lnTo>
                  <a:close/>
                </a:path>
                <a:path w="427989" h="395604">
                  <a:moveTo>
                    <a:pt x="113639" y="188455"/>
                  </a:moveTo>
                  <a:lnTo>
                    <a:pt x="106172" y="180975"/>
                  </a:lnTo>
                  <a:lnTo>
                    <a:pt x="87680" y="180975"/>
                  </a:lnTo>
                  <a:lnTo>
                    <a:pt x="80213" y="188455"/>
                  </a:lnTo>
                  <a:lnTo>
                    <a:pt x="80213" y="206997"/>
                  </a:lnTo>
                  <a:lnTo>
                    <a:pt x="87680" y="214490"/>
                  </a:lnTo>
                  <a:lnTo>
                    <a:pt x="106172" y="214490"/>
                  </a:lnTo>
                  <a:lnTo>
                    <a:pt x="113639" y="206997"/>
                  </a:lnTo>
                  <a:lnTo>
                    <a:pt x="113639" y="197726"/>
                  </a:lnTo>
                  <a:lnTo>
                    <a:pt x="113639" y="188455"/>
                  </a:lnTo>
                  <a:close/>
                </a:path>
                <a:path w="427989" h="395604">
                  <a:moveTo>
                    <a:pt x="127012" y="7493"/>
                  </a:moveTo>
                  <a:lnTo>
                    <a:pt x="119545" y="0"/>
                  </a:lnTo>
                  <a:lnTo>
                    <a:pt x="101053" y="0"/>
                  </a:lnTo>
                  <a:lnTo>
                    <a:pt x="93586" y="7493"/>
                  </a:lnTo>
                  <a:lnTo>
                    <a:pt x="93586" y="26035"/>
                  </a:lnTo>
                  <a:lnTo>
                    <a:pt x="101053" y="33515"/>
                  </a:lnTo>
                  <a:lnTo>
                    <a:pt x="119545" y="33515"/>
                  </a:lnTo>
                  <a:lnTo>
                    <a:pt x="127012" y="26035"/>
                  </a:lnTo>
                  <a:lnTo>
                    <a:pt x="127012" y="16764"/>
                  </a:lnTo>
                  <a:lnTo>
                    <a:pt x="127012" y="7493"/>
                  </a:lnTo>
                  <a:close/>
                </a:path>
                <a:path w="427989" h="395604">
                  <a:moveTo>
                    <a:pt x="147066" y="369430"/>
                  </a:moveTo>
                  <a:lnTo>
                    <a:pt x="139598" y="361937"/>
                  </a:lnTo>
                  <a:lnTo>
                    <a:pt x="121107" y="361937"/>
                  </a:lnTo>
                  <a:lnTo>
                    <a:pt x="113639" y="369430"/>
                  </a:lnTo>
                  <a:lnTo>
                    <a:pt x="113639" y="387972"/>
                  </a:lnTo>
                  <a:lnTo>
                    <a:pt x="121107" y="395452"/>
                  </a:lnTo>
                  <a:lnTo>
                    <a:pt x="139598" y="395452"/>
                  </a:lnTo>
                  <a:lnTo>
                    <a:pt x="147066" y="387972"/>
                  </a:lnTo>
                  <a:lnTo>
                    <a:pt x="147066" y="378701"/>
                  </a:lnTo>
                  <a:lnTo>
                    <a:pt x="147066" y="369430"/>
                  </a:lnTo>
                  <a:close/>
                </a:path>
                <a:path w="427989" h="395604">
                  <a:moveTo>
                    <a:pt x="160439" y="188455"/>
                  </a:moveTo>
                  <a:lnTo>
                    <a:pt x="152971" y="180975"/>
                  </a:lnTo>
                  <a:lnTo>
                    <a:pt x="134480" y="180975"/>
                  </a:lnTo>
                  <a:lnTo>
                    <a:pt x="127012" y="188455"/>
                  </a:lnTo>
                  <a:lnTo>
                    <a:pt x="127012" y="206997"/>
                  </a:lnTo>
                  <a:lnTo>
                    <a:pt x="134480" y="214490"/>
                  </a:lnTo>
                  <a:lnTo>
                    <a:pt x="152971" y="214490"/>
                  </a:lnTo>
                  <a:lnTo>
                    <a:pt x="160439" y="206997"/>
                  </a:lnTo>
                  <a:lnTo>
                    <a:pt x="160439" y="197726"/>
                  </a:lnTo>
                  <a:lnTo>
                    <a:pt x="160439" y="188455"/>
                  </a:lnTo>
                  <a:close/>
                </a:path>
                <a:path w="427989" h="395604">
                  <a:moveTo>
                    <a:pt x="180492" y="7493"/>
                  </a:moveTo>
                  <a:lnTo>
                    <a:pt x="173024" y="0"/>
                  </a:lnTo>
                  <a:lnTo>
                    <a:pt x="154533" y="0"/>
                  </a:lnTo>
                  <a:lnTo>
                    <a:pt x="147066" y="7493"/>
                  </a:lnTo>
                  <a:lnTo>
                    <a:pt x="147066" y="26035"/>
                  </a:lnTo>
                  <a:lnTo>
                    <a:pt x="154533" y="33515"/>
                  </a:lnTo>
                  <a:lnTo>
                    <a:pt x="173024" y="33515"/>
                  </a:lnTo>
                  <a:lnTo>
                    <a:pt x="180492" y="26035"/>
                  </a:lnTo>
                  <a:lnTo>
                    <a:pt x="180492" y="16764"/>
                  </a:lnTo>
                  <a:lnTo>
                    <a:pt x="180492" y="7493"/>
                  </a:lnTo>
                  <a:close/>
                </a:path>
                <a:path w="427989" h="395604">
                  <a:moveTo>
                    <a:pt x="193865" y="369430"/>
                  </a:moveTo>
                  <a:lnTo>
                    <a:pt x="186397" y="361937"/>
                  </a:lnTo>
                  <a:lnTo>
                    <a:pt x="167894" y="361937"/>
                  </a:lnTo>
                  <a:lnTo>
                    <a:pt x="160439" y="369430"/>
                  </a:lnTo>
                  <a:lnTo>
                    <a:pt x="160439" y="387972"/>
                  </a:lnTo>
                  <a:lnTo>
                    <a:pt x="167894" y="395452"/>
                  </a:lnTo>
                  <a:lnTo>
                    <a:pt x="186397" y="395452"/>
                  </a:lnTo>
                  <a:lnTo>
                    <a:pt x="193865" y="387972"/>
                  </a:lnTo>
                  <a:lnTo>
                    <a:pt x="193865" y="378701"/>
                  </a:lnTo>
                  <a:lnTo>
                    <a:pt x="193865" y="369430"/>
                  </a:lnTo>
                  <a:close/>
                </a:path>
                <a:path w="427989" h="395604">
                  <a:moveTo>
                    <a:pt x="213918" y="188455"/>
                  </a:moveTo>
                  <a:lnTo>
                    <a:pt x="206451" y="180975"/>
                  </a:lnTo>
                  <a:lnTo>
                    <a:pt x="187960" y="180975"/>
                  </a:lnTo>
                  <a:lnTo>
                    <a:pt x="180492" y="188455"/>
                  </a:lnTo>
                  <a:lnTo>
                    <a:pt x="180492" y="206997"/>
                  </a:lnTo>
                  <a:lnTo>
                    <a:pt x="187960" y="214490"/>
                  </a:lnTo>
                  <a:lnTo>
                    <a:pt x="206451" y="214490"/>
                  </a:lnTo>
                  <a:lnTo>
                    <a:pt x="213918" y="206997"/>
                  </a:lnTo>
                  <a:lnTo>
                    <a:pt x="213918" y="197726"/>
                  </a:lnTo>
                  <a:lnTo>
                    <a:pt x="213918" y="188455"/>
                  </a:lnTo>
                  <a:close/>
                </a:path>
                <a:path w="427989" h="395604">
                  <a:moveTo>
                    <a:pt x="227291" y="7493"/>
                  </a:moveTo>
                  <a:lnTo>
                    <a:pt x="219824" y="0"/>
                  </a:lnTo>
                  <a:lnTo>
                    <a:pt x="201320" y="0"/>
                  </a:lnTo>
                  <a:lnTo>
                    <a:pt x="193865" y="7493"/>
                  </a:lnTo>
                  <a:lnTo>
                    <a:pt x="193865" y="26035"/>
                  </a:lnTo>
                  <a:lnTo>
                    <a:pt x="201320" y="33515"/>
                  </a:lnTo>
                  <a:lnTo>
                    <a:pt x="219824" y="33515"/>
                  </a:lnTo>
                  <a:lnTo>
                    <a:pt x="227291" y="26035"/>
                  </a:lnTo>
                  <a:lnTo>
                    <a:pt x="227291" y="16764"/>
                  </a:lnTo>
                  <a:lnTo>
                    <a:pt x="227291" y="7493"/>
                  </a:lnTo>
                  <a:close/>
                </a:path>
                <a:path w="427989" h="395604">
                  <a:moveTo>
                    <a:pt x="247345" y="369430"/>
                  </a:moveTo>
                  <a:lnTo>
                    <a:pt x="239877" y="361937"/>
                  </a:lnTo>
                  <a:lnTo>
                    <a:pt x="221386" y="361937"/>
                  </a:lnTo>
                  <a:lnTo>
                    <a:pt x="213918" y="369430"/>
                  </a:lnTo>
                  <a:lnTo>
                    <a:pt x="213918" y="387972"/>
                  </a:lnTo>
                  <a:lnTo>
                    <a:pt x="221386" y="395452"/>
                  </a:lnTo>
                  <a:lnTo>
                    <a:pt x="239877" y="395452"/>
                  </a:lnTo>
                  <a:lnTo>
                    <a:pt x="247345" y="387972"/>
                  </a:lnTo>
                  <a:lnTo>
                    <a:pt x="247345" y="378701"/>
                  </a:lnTo>
                  <a:lnTo>
                    <a:pt x="247345" y="369430"/>
                  </a:lnTo>
                  <a:close/>
                </a:path>
                <a:path w="427989" h="395604">
                  <a:moveTo>
                    <a:pt x="260705" y="188455"/>
                  </a:moveTo>
                  <a:lnTo>
                    <a:pt x="253250" y="180975"/>
                  </a:lnTo>
                  <a:lnTo>
                    <a:pt x="234746" y="180975"/>
                  </a:lnTo>
                  <a:lnTo>
                    <a:pt x="227291" y="188455"/>
                  </a:lnTo>
                  <a:lnTo>
                    <a:pt x="227291" y="206997"/>
                  </a:lnTo>
                  <a:lnTo>
                    <a:pt x="234746" y="214490"/>
                  </a:lnTo>
                  <a:lnTo>
                    <a:pt x="253250" y="214490"/>
                  </a:lnTo>
                  <a:lnTo>
                    <a:pt x="260705" y="206997"/>
                  </a:lnTo>
                  <a:lnTo>
                    <a:pt x="260705" y="197726"/>
                  </a:lnTo>
                  <a:lnTo>
                    <a:pt x="260705" y="188455"/>
                  </a:lnTo>
                  <a:close/>
                </a:path>
                <a:path w="427989" h="395604">
                  <a:moveTo>
                    <a:pt x="280771" y="7493"/>
                  </a:moveTo>
                  <a:lnTo>
                    <a:pt x="273304" y="0"/>
                  </a:lnTo>
                  <a:lnTo>
                    <a:pt x="254800" y="0"/>
                  </a:lnTo>
                  <a:lnTo>
                    <a:pt x="247345" y="7493"/>
                  </a:lnTo>
                  <a:lnTo>
                    <a:pt x="247345" y="26035"/>
                  </a:lnTo>
                  <a:lnTo>
                    <a:pt x="254800" y="33515"/>
                  </a:lnTo>
                  <a:lnTo>
                    <a:pt x="273304" y="33515"/>
                  </a:lnTo>
                  <a:lnTo>
                    <a:pt x="280771" y="26035"/>
                  </a:lnTo>
                  <a:lnTo>
                    <a:pt x="280771" y="16764"/>
                  </a:lnTo>
                  <a:lnTo>
                    <a:pt x="280771" y="7493"/>
                  </a:lnTo>
                  <a:close/>
                </a:path>
                <a:path w="427989" h="395604">
                  <a:moveTo>
                    <a:pt x="294132" y="369430"/>
                  </a:moveTo>
                  <a:lnTo>
                    <a:pt x="286677" y="361937"/>
                  </a:lnTo>
                  <a:lnTo>
                    <a:pt x="268173" y="361937"/>
                  </a:lnTo>
                  <a:lnTo>
                    <a:pt x="260705" y="369430"/>
                  </a:lnTo>
                  <a:lnTo>
                    <a:pt x="260705" y="387972"/>
                  </a:lnTo>
                  <a:lnTo>
                    <a:pt x="268173" y="395452"/>
                  </a:lnTo>
                  <a:lnTo>
                    <a:pt x="286677" y="395452"/>
                  </a:lnTo>
                  <a:lnTo>
                    <a:pt x="294132" y="387972"/>
                  </a:lnTo>
                  <a:lnTo>
                    <a:pt x="294132" y="378701"/>
                  </a:lnTo>
                  <a:lnTo>
                    <a:pt x="294132" y="369430"/>
                  </a:lnTo>
                  <a:close/>
                </a:path>
                <a:path w="427989" h="395604">
                  <a:moveTo>
                    <a:pt x="307505" y="188455"/>
                  </a:moveTo>
                  <a:lnTo>
                    <a:pt x="300037" y="180975"/>
                  </a:lnTo>
                  <a:lnTo>
                    <a:pt x="281546" y="180975"/>
                  </a:lnTo>
                  <a:lnTo>
                    <a:pt x="274078" y="188455"/>
                  </a:lnTo>
                  <a:lnTo>
                    <a:pt x="274078" y="206997"/>
                  </a:lnTo>
                  <a:lnTo>
                    <a:pt x="281546" y="214490"/>
                  </a:lnTo>
                  <a:lnTo>
                    <a:pt x="300037" y="214490"/>
                  </a:lnTo>
                  <a:lnTo>
                    <a:pt x="307505" y="206997"/>
                  </a:lnTo>
                  <a:lnTo>
                    <a:pt x="307505" y="197726"/>
                  </a:lnTo>
                  <a:lnTo>
                    <a:pt x="307505" y="188455"/>
                  </a:lnTo>
                  <a:close/>
                </a:path>
                <a:path w="427989" h="395604">
                  <a:moveTo>
                    <a:pt x="327558" y="7493"/>
                  </a:moveTo>
                  <a:lnTo>
                    <a:pt x="320090" y="0"/>
                  </a:lnTo>
                  <a:lnTo>
                    <a:pt x="301599" y="0"/>
                  </a:lnTo>
                  <a:lnTo>
                    <a:pt x="294132" y="7493"/>
                  </a:lnTo>
                  <a:lnTo>
                    <a:pt x="294132" y="26035"/>
                  </a:lnTo>
                  <a:lnTo>
                    <a:pt x="301599" y="33515"/>
                  </a:lnTo>
                  <a:lnTo>
                    <a:pt x="320090" y="33515"/>
                  </a:lnTo>
                  <a:lnTo>
                    <a:pt x="327558" y="26035"/>
                  </a:lnTo>
                  <a:lnTo>
                    <a:pt x="327558" y="16764"/>
                  </a:lnTo>
                  <a:lnTo>
                    <a:pt x="327558" y="7493"/>
                  </a:lnTo>
                  <a:close/>
                </a:path>
                <a:path w="427989" h="395604">
                  <a:moveTo>
                    <a:pt x="340931" y="369430"/>
                  </a:moveTo>
                  <a:lnTo>
                    <a:pt x="333463" y="361937"/>
                  </a:lnTo>
                  <a:lnTo>
                    <a:pt x="314972" y="361937"/>
                  </a:lnTo>
                  <a:lnTo>
                    <a:pt x="307505" y="369430"/>
                  </a:lnTo>
                  <a:lnTo>
                    <a:pt x="307505" y="387972"/>
                  </a:lnTo>
                  <a:lnTo>
                    <a:pt x="314972" y="395452"/>
                  </a:lnTo>
                  <a:lnTo>
                    <a:pt x="333463" y="395452"/>
                  </a:lnTo>
                  <a:lnTo>
                    <a:pt x="340931" y="387972"/>
                  </a:lnTo>
                  <a:lnTo>
                    <a:pt x="340931" y="378701"/>
                  </a:lnTo>
                  <a:lnTo>
                    <a:pt x="340931" y="369430"/>
                  </a:lnTo>
                  <a:close/>
                </a:path>
                <a:path w="427989" h="395604">
                  <a:moveTo>
                    <a:pt x="360984" y="188455"/>
                  </a:moveTo>
                  <a:lnTo>
                    <a:pt x="353517" y="180975"/>
                  </a:lnTo>
                  <a:lnTo>
                    <a:pt x="335026" y="180975"/>
                  </a:lnTo>
                  <a:lnTo>
                    <a:pt x="327558" y="188455"/>
                  </a:lnTo>
                  <a:lnTo>
                    <a:pt x="327558" y="206997"/>
                  </a:lnTo>
                  <a:lnTo>
                    <a:pt x="335026" y="214490"/>
                  </a:lnTo>
                  <a:lnTo>
                    <a:pt x="353517" y="214490"/>
                  </a:lnTo>
                  <a:lnTo>
                    <a:pt x="360984" y="206997"/>
                  </a:lnTo>
                  <a:lnTo>
                    <a:pt x="360984" y="197726"/>
                  </a:lnTo>
                  <a:lnTo>
                    <a:pt x="360984" y="188455"/>
                  </a:lnTo>
                  <a:close/>
                </a:path>
                <a:path w="427989" h="395604">
                  <a:moveTo>
                    <a:pt x="374357" y="7493"/>
                  </a:moveTo>
                  <a:lnTo>
                    <a:pt x="366890" y="0"/>
                  </a:lnTo>
                  <a:lnTo>
                    <a:pt x="348399" y="0"/>
                  </a:lnTo>
                  <a:lnTo>
                    <a:pt x="340931" y="7493"/>
                  </a:lnTo>
                  <a:lnTo>
                    <a:pt x="340931" y="26035"/>
                  </a:lnTo>
                  <a:lnTo>
                    <a:pt x="348399" y="33515"/>
                  </a:lnTo>
                  <a:lnTo>
                    <a:pt x="366890" y="33515"/>
                  </a:lnTo>
                  <a:lnTo>
                    <a:pt x="374357" y="26035"/>
                  </a:lnTo>
                  <a:lnTo>
                    <a:pt x="374357" y="16764"/>
                  </a:lnTo>
                  <a:lnTo>
                    <a:pt x="374357" y="7493"/>
                  </a:lnTo>
                  <a:close/>
                </a:path>
                <a:path w="427989" h="395604">
                  <a:moveTo>
                    <a:pt x="394411" y="369430"/>
                  </a:moveTo>
                  <a:lnTo>
                    <a:pt x="386943" y="361937"/>
                  </a:lnTo>
                  <a:lnTo>
                    <a:pt x="368452" y="361937"/>
                  </a:lnTo>
                  <a:lnTo>
                    <a:pt x="360984" y="369430"/>
                  </a:lnTo>
                  <a:lnTo>
                    <a:pt x="360984" y="387972"/>
                  </a:lnTo>
                  <a:lnTo>
                    <a:pt x="368452" y="395452"/>
                  </a:lnTo>
                  <a:lnTo>
                    <a:pt x="386943" y="395452"/>
                  </a:lnTo>
                  <a:lnTo>
                    <a:pt x="394411" y="387972"/>
                  </a:lnTo>
                  <a:lnTo>
                    <a:pt x="394411" y="378701"/>
                  </a:lnTo>
                  <a:lnTo>
                    <a:pt x="394411" y="369430"/>
                  </a:lnTo>
                  <a:close/>
                </a:path>
                <a:path w="427989" h="395604">
                  <a:moveTo>
                    <a:pt x="407784" y="188455"/>
                  </a:moveTo>
                  <a:lnTo>
                    <a:pt x="400316" y="180975"/>
                  </a:lnTo>
                  <a:lnTo>
                    <a:pt x="381825" y="180975"/>
                  </a:lnTo>
                  <a:lnTo>
                    <a:pt x="374357" y="188455"/>
                  </a:lnTo>
                  <a:lnTo>
                    <a:pt x="374357" y="206997"/>
                  </a:lnTo>
                  <a:lnTo>
                    <a:pt x="381825" y="214490"/>
                  </a:lnTo>
                  <a:lnTo>
                    <a:pt x="400316" y="214490"/>
                  </a:lnTo>
                  <a:lnTo>
                    <a:pt x="407784" y="206997"/>
                  </a:lnTo>
                  <a:lnTo>
                    <a:pt x="407784" y="197726"/>
                  </a:lnTo>
                  <a:lnTo>
                    <a:pt x="407784" y="188455"/>
                  </a:lnTo>
                  <a:close/>
                </a:path>
                <a:path w="427989" h="395604">
                  <a:moveTo>
                    <a:pt x="427837" y="7493"/>
                  </a:moveTo>
                  <a:lnTo>
                    <a:pt x="420370" y="0"/>
                  </a:lnTo>
                  <a:lnTo>
                    <a:pt x="401878" y="0"/>
                  </a:lnTo>
                  <a:lnTo>
                    <a:pt x="394411" y="7493"/>
                  </a:lnTo>
                  <a:lnTo>
                    <a:pt x="394411" y="26035"/>
                  </a:lnTo>
                  <a:lnTo>
                    <a:pt x="401878" y="33515"/>
                  </a:lnTo>
                  <a:lnTo>
                    <a:pt x="420370" y="33515"/>
                  </a:lnTo>
                  <a:lnTo>
                    <a:pt x="427837" y="26035"/>
                  </a:lnTo>
                  <a:lnTo>
                    <a:pt x="427837" y="16764"/>
                  </a:lnTo>
                  <a:lnTo>
                    <a:pt x="427837" y="7493"/>
                  </a:lnTo>
                  <a:close/>
                </a:path>
              </a:pathLst>
            </a:custGeom>
            <a:solidFill>
              <a:srgbClr val="1F487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4" name="object 24"/>
            <p:cNvSpPr/>
            <p:nvPr/>
          </p:nvSpPr>
          <p:spPr>
            <a:xfrm>
              <a:off x="4290164" y="4916371"/>
              <a:ext cx="1678305" cy="730885"/>
            </a:xfrm>
            <a:custGeom>
              <a:avLst/>
              <a:gdLst/>
              <a:ahLst/>
              <a:cxnLst/>
              <a:rect l="l" t="t" r="r" b="b"/>
              <a:pathLst>
                <a:path w="1678304" h="730885">
                  <a:moveTo>
                    <a:pt x="33425" y="730576"/>
                  </a:moveTo>
                  <a:lnTo>
                    <a:pt x="1677945" y="730576"/>
                  </a:lnTo>
                </a:path>
                <a:path w="1678304" h="730885">
                  <a:moveTo>
                    <a:pt x="33425" y="549607"/>
                  </a:moveTo>
                  <a:lnTo>
                    <a:pt x="1677945" y="549607"/>
                  </a:lnTo>
                </a:path>
                <a:path w="1678304" h="730885">
                  <a:moveTo>
                    <a:pt x="33425" y="180968"/>
                  </a:moveTo>
                  <a:lnTo>
                    <a:pt x="1677945" y="180968"/>
                  </a:lnTo>
                </a:path>
                <a:path w="1678304" h="730885">
                  <a:moveTo>
                    <a:pt x="33425" y="0"/>
                  </a:moveTo>
                  <a:lnTo>
                    <a:pt x="1677945" y="0"/>
                  </a:lnTo>
                </a:path>
                <a:path w="1678304" h="730885">
                  <a:moveTo>
                    <a:pt x="33425" y="730576"/>
                  </a:moveTo>
                  <a:lnTo>
                    <a:pt x="33425" y="0"/>
                  </a:lnTo>
                </a:path>
                <a:path w="1678304" h="730885">
                  <a:moveTo>
                    <a:pt x="0" y="730576"/>
                  </a:moveTo>
                  <a:lnTo>
                    <a:pt x="33425" y="730576"/>
                  </a:lnTo>
                </a:path>
                <a:path w="1678304" h="730885">
                  <a:moveTo>
                    <a:pt x="0" y="549607"/>
                  </a:moveTo>
                  <a:lnTo>
                    <a:pt x="33425" y="549607"/>
                  </a:lnTo>
                </a:path>
                <a:path w="1678304" h="730885">
                  <a:moveTo>
                    <a:pt x="0" y="368639"/>
                  </a:moveTo>
                  <a:lnTo>
                    <a:pt x="33425" y="368639"/>
                  </a:lnTo>
                </a:path>
                <a:path w="1678304" h="730885">
                  <a:moveTo>
                    <a:pt x="0" y="180968"/>
                  </a:moveTo>
                  <a:lnTo>
                    <a:pt x="33425" y="180968"/>
                  </a:lnTo>
                </a:path>
                <a:path w="1678304" h="730885">
                  <a:moveTo>
                    <a:pt x="0" y="0"/>
                  </a:moveTo>
                  <a:lnTo>
                    <a:pt x="33425" y="0"/>
                  </a:lnTo>
                </a:path>
                <a:path w="1678304" h="730885">
                  <a:moveTo>
                    <a:pt x="33425" y="368639"/>
                  </a:moveTo>
                  <a:lnTo>
                    <a:pt x="1677945" y="368639"/>
                  </a:lnTo>
                </a:path>
              </a:pathLst>
            </a:custGeom>
            <a:ln w="6700">
              <a:solidFill>
                <a:srgbClr val="85858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5" name="object 25"/>
            <p:cNvSpPr/>
            <p:nvPr/>
          </p:nvSpPr>
          <p:spPr>
            <a:xfrm>
              <a:off x="4320235" y="5053774"/>
              <a:ext cx="1270635" cy="449580"/>
            </a:xfrm>
            <a:custGeom>
              <a:avLst/>
              <a:gdLst/>
              <a:ahLst/>
              <a:cxnLst/>
              <a:rect l="l" t="t" r="r" b="b"/>
              <a:pathLst>
                <a:path w="1270635" h="449579">
                  <a:moveTo>
                    <a:pt x="33426" y="396240"/>
                  </a:moveTo>
                  <a:lnTo>
                    <a:pt x="25971" y="388747"/>
                  </a:lnTo>
                  <a:lnTo>
                    <a:pt x="7467" y="388747"/>
                  </a:lnTo>
                  <a:lnTo>
                    <a:pt x="0" y="396240"/>
                  </a:lnTo>
                  <a:lnTo>
                    <a:pt x="0" y="414782"/>
                  </a:lnTo>
                  <a:lnTo>
                    <a:pt x="7467" y="422262"/>
                  </a:lnTo>
                  <a:lnTo>
                    <a:pt x="25971" y="422262"/>
                  </a:lnTo>
                  <a:lnTo>
                    <a:pt x="33426" y="414782"/>
                  </a:lnTo>
                  <a:lnTo>
                    <a:pt x="33426" y="405511"/>
                  </a:lnTo>
                  <a:lnTo>
                    <a:pt x="33426" y="396240"/>
                  </a:lnTo>
                  <a:close/>
                </a:path>
                <a:path w="1270635" h="449579">
                  <a:moveTo>
                    <a:pt x="53492" y="215265"/>
                  </a:moveTo>
                  <a:lnTo>
                    <a:pt x="46024" y="207784"/>
                  </a:lnTo>
                  <a:lnTo>
                    <a:pt x="27520" y="207784"/>
                  </a:lnTo>
                  <a:lnTo>
                    <a:pt x="20066" y="215265"/>
                  </a:lnTo>
                  <a:lnTo>
                    <a:pt x="20066" y="233807"/>
                  </a:lnTo>
                  <a:lnTo>
                    <a:pt x="27520" y="241300"/>
                  </a:lnTo>
                  <a:lnTo>
                    <a:pt x="46024" y="241300"/>
                  </a:lnTo>
                  <a:lnTo>
                    <a:pt x="53492" y="233807"/>
                  </a:lnTo>
                  <a:lnTo>
                    <a:pt x="53492" y="224536"/>
                  </a:lnTo>
                  <a:lnTo>
                    <a:pt x="53492" y="215265"/>
                  </a:lnTo>
                  <a:close/>
                </a:path>
                <a:path w="1270635" h="449579">
                  <a:moveTo>
                    <a:pt x="66852" y="34302"/>
                  </a:moveTo>
                  <a:lnTo>
                    <a:pt x="59385" y="26809"/>
                  </a:lnTo>
                  <a:lnTo>
                    <a:pt x="40894" y="26809"/>
                  </a:lnTo>
                  <a:lnTo>
                    <a:pt x="33426" y="34302"/>
                  </a:lnTo>
                  <a:lnTo>
                    <a:pt x="33426" y="52844"/>
                  </a:lnTo>
                  <a:lnTo>
                    <a:pt x="40894" y="60325"/>
                  </a:lnTo>
                  <a:lnTo>
                    <a:pt x="59385" y="60325"/>
                  </a:lnTo>
                  <a:lnTo>
                    <a:pt x="66852" y="52844"/>
                  </a:lnTo>
                  <a:lnTo>
                    <a:pt x="66852" y="43573"/>
                  </a:lnTo>
                  <a:lnTo>
                    <a:pt x="66852" y="34302"/>
                  </a:lnTo>
                  <a:close/>
                </a:path>
                <a:path w="1270635" h="449579">
                  <a:moveTo>
                    <a:pt x="86906" y="396240"/>
                  </a:moveTo>
                  <a:lnTo>
                    <a:pt x="79451" y="388747"/>
                  </a:lnTo>
                  <a:lnTo>
                    <a:pt x="60947" y="388747"/>
                  </a:lnTo>
                  <a:lnTo>
                    <a:pt x="53492" y="396240"/>
                  </a:lnTo>
                  <a:lnTo>
                    <a:pt x="53492" y="414782"/>
                  </a:lnTo>
                  <a:lnTo>
                    <a:pt x="60947" y="422262"/>
                  </a:lnTo>
                  <a:lnTo>
                    <a:pt x="79451" y="422262"/>
                  </a:lnTo>
                  <a:lnTo>
                    <a:pt x="86906" y="414782"/>
                  </a:lnTo>
                  <a:lnTo>
                    <a:pt x="86906" y="405511"/>
                  </a:lnTo>
                  <a:lnTo>
                    <a:pt x="86906" y="396240"/>
                  </a:lnTo>
                  <a:close/>
                </a:path>
                <a:path w="1270635" h="449579">
                  <a:moveTo>
                    <a:pt x="100279" y="215265"/>
                  </a:moveTo>
                  <a:lnTo>
                    <a:pt x="92811" y="207784"/>
                  </a:lnTo>
                  <a:lnTo>
                    <a:pt x="74320" y="207784"/>
                  </a:lnTo>
                  <a:lnTo>
                    <a:pt x="66852" y="215265"/>
                  </a:lnTo>
                  <a:lnTo>
                    <a:pt x="66852" y="233807"/>
                  </a:lnTo>
                  <a:lnTo>
                    <a:pt x="74320" y="241300"/>
                  </a:lnTo>
                  <a:lnTo>
                    <a:pt x="92811" y="241300"/>
                  </a:lnTo>
                  <a:lnTo>
                    <a:pt x="100279" y="233807"/>
                  </a:lnTo>
                  <a:lnTo>
                    <a:pt x="100279" y="224536"/>
                  </a:lnTo>
                  <a:lnTo>
                    <a:pt x="100279" y="215265"/>
                  </a:lnTo>
                  <a:close/>
                </a:path>
                <a:path w="1270635" h="449579">
                  <a:moveTo>
                    <a:pt x="120332" y="34302"/>
                  </a:moveTo>
                  <a:lnTo>
                    <a:pt x="112877" y="26809"/>
                  </a:lnTo>
                  <a:lnTo>
                    <a:pt x="94373" y="26809"/>
                  </a:lnTo>
                  <a:lnTo>
                    <a:pt x="86906" y="34302"/>
                  </a:lnTo>
                  <a:lnTo>
                    <a:pt x="86906" y="52844"/>
                  </a:lnTo>
                  <a:lnTo>
                    <a:pt x="94373" y="60325"/>
                  </a:lnTo>
                  <a:lnTo>
                    <a:pt x="112877" y="60325"/>
                  </a:lnTo>
                  <a:lnTo>
                    <a:pt x="120332" y="52844"/>
                  </a:lnTo>
                  <a:lnTo>
                    <a:pt x="120332" y="43573"/>
                  </a:lnTo>
                  <a:lnTo>
                    <a:pt x="120332" y="34302"/>
                  </a:lnTo>
                  <a:close/>
                </a:path>
                <a:path w="1270635" h="449579">
                  <a:moveTo>
                    <a:pt x="133705" y="396240"/>
                  </a:moveTo>
                  <a:lnTo>
                    <a:pt x="126238" y="388747"/>
                  </a:lnTo>
                  <a:lnTo>
                    <a:pt x="107746" y="388747"/>
                  </a:lnTo>
                  <a:lnTo>
                    <a:pt x="100279" y="396240"/>
                  </a:lnTo>
                  <a:lnTo>
                    <a:pt x="100279" y="414782"/>
                  </a:lnTo>
                  <a:lnTo>
                    <a:pt x="107746" y="422262"/>
                  </a:lnTo>
                  <a:lnTo>
                    <a:pt x="126238" y="422262"/>
                  </a:lnTo>
                  <a:lnTo>
                    <a:pt x="133705" y="414782"/>
                  </a:lnTo>
                  <a:lnTo>
                    <a:pt x="133705" y="405511"/>
                  </a:lnTo>
                  <a:lnTo>
                    <a:pt x="133705" y="396240"/>
                  </a:lnTo>
                  <a:close/>
                </a:path>
                <a:path w="1270635" h="449579">
                  <a:moveTo>
                    <a:pt x="153758" y="215265"/>
                  </a:moveTo>
                  <a:lnTo>
                    <a:pt x="146291" y="207784"/>
                  </a:lnTo>
                  <a:lnTo>
                    <a:pt x="127800" y="207784"/>
                  </a:lnTo>
                  <a:lnTo>
                    <a:pt x="120332" y="215265"/>
                  </a:lnTo>
                  <a:lnTo>
                    <a:pt x="120332" y="233807"/>
                  </a:lnTo>
                  <a:lnTo>
                    <a:pt x="127800" y="241300"/>
                  </a:lnTo>
                  <a:lnTo>
                    <a:pt x="146291" y="241300"/>
                  </a:lnTo>
                  <a:lnTo>
                    <a:pt x="153758" y="233807"/>
                  </a:lnTo>
                  <a:lnTo>
                    <a:pt x="153758" y="224536"/>
                  </a:lnTo>
                  <a:lnTo>
                    <a:pt x="153758" y="215265"/>
                  </a:lnTo>
                  <a:close/>
                </a:path>
                <a:path w="1270635" h="449579">
                  <a:moveTo>
                    <a:pt x="167132" y="34302"/>
                  </a:moveTo>
                  <a:lnTo>
                    <a:pt x="159664" y="26809"/>
                  </a:lnTo>
                  <a:lnTo>
                    <a:pt x="141173" y="26809"/>
                  </a:lnTo>
                  <a:lnTo>
                    <a:pt x="133705" y="34302"/>
                  </a:lnTo>
                  <a:lnTo>
                    <a:pt x="133705" y="52844"/>
                  </a:lnTo>
                  <a:lnTo>
                    <a:pt x="141173" y="60325"/>
                  </a:lnTo>
                  <a:lnTo>
                    <a:pt x="159664" y="60325"/>
                  </a:lnTo>
                  <a:lnTo>
                    <a:pt x="167132" y="52844"/>
                  </a:lnTo>
                  <a:lnTo>
                    <a:pt x="167132" y="43573"/>
                  </a:lnTo>
                  <a:lnTo>
                    <a:pt x="167132" y="34302"/>
                  </a:lnTo>
                  <a:close/>
                </a:path>
                <a:path w="1270635" h="449579">
                  <a:moveTo>
                    <a:pt x="180505" y="396240"/>
                  </a:moveTo>
                  <a:lnTo>
                    <a:pt x="173037" y="388747"/>
                  </a:lnTo>
                  <a:lnTo>
                    <a:pt x="154546" y="388747"/>
                  </a:lnTo>
                  <a:lnTo>
                    <a:pt x="147078" y="396240"/>
                  </a:lnTo>
                  <a:lnTo>
                    <a:pt x="147078" y="414782"/>
                  </a:lnTo>
                  <a:lnTo>
                    <a:pt x="154546" y="422262"/>
                  </a:lnTo>
                  <a:lnTo>
                    <a:pt x="173037" y="422262"/>
                  </a:lnTo>
                  <a:lnTo>
                    <a:pt x="180505" y="414782"/>
                  </a:lnTo>
                  <a:lnTo>
                    <a:pt x="180505" y="405511"/>
                  </a:lnTo>
                  <a:lnTo>
                    <a:pt x="180505" y="396240"/>
                  </a:lnTo>
                  <a:close/>
                </a:path>
                <a:path w="1270635" h="449579">
                  <a:moveTo>
                    <a:pt x="200558" y="215265"/>
                  </a:moveTo>
                  <a:lnTo>
                    <a:pt x="193090" y="207784"/>
                  </a:lnTo>
                  <a:lnTo>
                    <a:pt x="174599" y="207784"/>
                  </a:lnTo>
                  <a:lnTo>
                    <a:pt x="167132" y="215265"/>
                  </a:lnTo>
                  <a:lnTo>
                    <a:pt x="167132" y="233807"/>
                  </a:lnTo>
                  <a:lnTo>
                    <a:pt x="174599" y="241300"/>
                  </a:lnTo>
                  <a:lnTo>
                    <a:pt x="193090" y="241300"/>
                  </a:lnTo>
                  <a:lnTo>
                    <a:pt x="200558" y="233807"/>
                  </a:lnTo>
                  <a:lnTo>
                    <a:pt x="200558" y="224536"/>
                  </a:lnTo>
                  <a:lnTo>
                    <a:pt x="200558" y="215265"/>
                  </a:lnTo>
                  <a:close/>
                </a:path>
                <a:path w="1270635" h="449579">
                  <a:moveTo>
                    <a:pt x="213931" y="34302"/>
                  </a:moveTo>
                  <a:lnTo>
                    <a:pt x="206463" y="26809"/>
                  </a:lnTo>
                  <a:lnTo>
                    <a:pt x="187972" y="26809"/>
                  </a:lnTo>
                  <a:lnTo>
                    <a:pt x="180505" y="34302"/>
                  </a:lnTo>
                  <a:lnTo>
                    <a:pt x="180505" y="52844"/>
                  </a:lnTo>
                  <a:lnTo>
                    <a:pt x="187972" y="60325"/>
                  </a:lnTo>
                  <a:lnTo>
                    <a:pt x="206463" y="60325"/>
                  </a:lnTo>
                  <a:lnTo>
                    <a:pt x="213931" y="52844"/>
                  </a:lnTo>
                  <a:lnTo>
                    <a:pt x="213931" y="43573"/>
                  </a:lnTo>
                  <a:lnTo>
                    <a:pt x="213931" y="34302"/>
                  </a:lnTo>
                  <a:close/>
                </a:path>
                <a:path w="1270635" h="449579">
                  <a:moveTo>
                    <a:pt x="233984" y="396240"/>
                  </a:moveTo>
                  <a:lnTo>
                    <a:pt x="226517" y="388747"/>
                  </a:lnTo>
                  <a:lnTo>
                    <a:pt x="208026" y="388747"/>
                  </a:lnTo>
                  <a:lnTo>
                    <a:pt x="200558" y="396240"/>
                  </a:lnTo>
                  <a:lnTo>
                    <a:pt x="200558" y="414782"/>
                  </a:lnTo>
                  <a:lnTo>
                    <a:pt x="208026" y="422262"/>
                  </a:lnTo>
                  <a:lnTo>
                    <a:pt x="226517" y="422262"/>
                  </a:lnTo>
                  <a:lnTo>
                    <a:pt x="233984" y="414782"/>
                  </a:lnTo>
                  <a:lnTo>
                    <a:pt x="233984" y="405511"/>
                  </a:lnTo>
                  <a:lnTo>
                    <a:pt x="233984" y="396240"/>
                  </a:lnTo>
                  <a:close/>
                </a:path>
                <a:path w="1270635" h="449579">
                  <a:moveTo>
                    <a:pt x="247357" y="215265"/>
                  </a:moveTo>
                  <a:lnTo>
                    <a:pt x="239890" y="207784"/>
                  </a:lnTo>
                  <a:lnTo>
                    <a:pt x="221386" y="207784"/>
                  </a:lnTo>
                  <a:lnTo>
                    <a:pt x="213931" y="215265"/>
                  </a:lnTo>
                  <a:lnTo>
                    <a:pt x="213931" y="233807"/>
                  </a:lnTo>
                  <a:lnTo>
                    <a:pt x="221386" y="241300"/>
                  </a:lnTo>
                  <a:lnTo>
                    <a:pt x="239890" y="241300"/>
                  </a:lnTo>
                  <a:lnTo>
                    <a:pt x="247357" y="233807"/>
                  </a:lnTo>
                  <a:lnTo>
                    <a:pt x="247357" y="224536"/>
                  </a:lnTo>
                  <a:lnTo>
                    <a:pt x="247357" y="215265"/>
                  </a:lnTo>
                  <a:close/>
                </a:path>
                <a:path w="1270635" h="449579">
                  <a:moveTo>
                    <a:pt x="267411" y="34302"/>
                  </a:moveTo>
                  <a:lnTo>
                    <a:pt x="259943" y="26809"/>
                  </a:lnTo>
                  <a:lnTo>
                    <a:pt x="241452" y="26809"/>
                  </a:lnTo>
                  <a:lnTo>
                    <a:pt x="233984" y="34302"/>
                  </a:lnTo>
                  <a:lnTo>
                    <a:pt x="233984" y="52844"/>
                  </a:lnTo>
                  <a:lnTo>
                    <a:pt x="241452" y="60325"/>
                  </a:lnTo>
                  <a:lnTo>
                    <a:pt x="259943" y="60325"/>
                  </a:lnTo>
                  <a:lnTo>
                    <a:pt x="267411" y="52844"/>
                  </a:lnTo>
                  <a:lnTo>
                    <a:pt x="267411" y="43573"/>
                  </a:lnTo>
                  <a:lnTo>
                    <a:pt x="267411" y="34302"/>
                  </a:lnTo>
                  <a:close/>
                </a:path>
                <a:path w="1270635" h="449579">
                  <a:moveTo>
                    <a:pt x="280771" y="396240"/>
                  </a:moveTo>
                  <a:lnTo>
                    <a:pt x="273316" y="388747"/>
                  </a:lnTo>
                  <a:lnTo>
                    <a:pt x="254812" y="388747"/>
                  </a:lnTo>
                  <a:lnTo>
                    <a:pt x="247357" y="396240"/>
                  </a:lnTo>
                  <a:lnTo>
                    <a:pt x="247357" y="414782"/>
                  </a:lnTo>
                  <a:lnTo>
                    <a:pt x="254812" y="422262"/>
                  </a:lnTo>
                  <a:lnTo>
                    <a:pt x="273316" y="422262"/>
                  </a:lnTo>
                  <a:lnTo>
                    <a:pt x="280771" y="414782"/>
                  </a:lnTo>
                  <a:lnTo>
                    <a:pt x="280771" y="405511"/>
                  </a:lnTo>
                  <a:lnTo>
                    <a:pt x="280771" y="396240"/>
                  </a:lnTo>
                  <a:close/>
                </a:path>
                <a:path w="1270635" h="449579">
                  <a:moveTo>
                    <a:pt x="300837" y="215265"/>
                  </a:moveTo>
                  <a:lnTo>
                    <a:pt x="293370" y="207784"/>
                  </a:lnTo>
                  <a:lnTo>
                    <a:pt x="274878" y="207784"/>
                  </a:lnTo>
                  <a:lnTo>
                    <a:pt x="267411" y="215265"/>
                  </a:lnTo>
                  <a:lnTo>
                    <a:pt x="267411" y="233807"/>
                  </a:lnTo>
                  <a:lnTo>
                    <a:pt x="274878" y="241300"/>
                  </a:lnTo>
                  <a:lnTo>
                    <a:pt x="293370" y="241300"/>
                  </a:lnTo>
                  <a:lnTo>
                    <a:pt x="300837" y="233807"/>
                  </a:lnTo>
                  <a:lnTo>
                    <a:pt x="300837" y="224536"/>
                  </a:lnTo>
                  <a:lnTo>
                    <a:pt x="300837" y="215265"/>
                  </a:lnTo>
                  <a:close/>
                </a:path>
                <a:path w="1270635" h="449579">
                  <a:moveTo>
                    <a:pt x="314198" y="34302"/>
                  </a:moveTo>
                  <a:lnTo>
                    <a:pt x="306743" y="26809"/>
                  </a:lnTo>
                  <a:lnTo>
                    <a:pt x="288239" y="26809"/>
                  </a:lnTo>
                  <a:lnTo>
                    <a:pt x="280771" y="34302"/>
                  </a:lnTo>
                  <a:lnTo>
                    <a:pt x="280771" y="52844"/>
                  </a:lnTo>
                  <a:lnTo>
                    <a:pt x="288239" y="60325"/>
                  </a:lnTo>
                  <a:lnTo>
                    <a:pt x="306743" y="60325"/>
                  </a:lnTo>
                  <a:lnTo>
                    <a:pt x="314198" y="52844"/>
                  </a:lnTo>
                  <a:lnTo>
                    <a:pt x="314198" y="43573"/>
                  </a:lnTo>
                  <a:lnTo>
                    <a:pt x="314198" y="34302"/>
                  </a:lnTo>
                  <a:close/>
                </a:path>
                <a:path w="1270635" h="449579">
                  <a:moveTo>
                    <a:pt x="334264" y="396240"/>
                  </a:moveTo>
                  <a:lnTo>
                    <a:pt x="326796" y="388747"/>
                  </a:lnTo>
                  <a:lnTo>
                    <a:pt x="308292" y="388747"/>
                  </a:lnTo>
                  <a:lnTo>
                    <a:pt x="300837" y="396240"/>
                  </a:lnTo>
                  <a:lnTo>
                    <a:pt x="300837" y="414782"/>
                  </a:lnTo>
                  <a:lnTo>
                    <a:pt x="308292" y="422262"/>
                  </a:lnTo>
                  <a:lnTo>
                    <a:pt x="326796" y="422262"/>
                  </a:lnTo>
                  <a:lnTo>
                    <a:pt x="334264" y="414782"/>
                  </a:lnTo>
                  <a:lnTo>
                    <a:pt x="334264" y="405511"/>
                  </a:lnTo>
                  <a:lnTo>
                    <a:pt x="334264" y="396240"/>
                  </a:lnTo>
                  <a:close/>
                </a:path>
                <a:path w="1270635" h="449579">
                  <a:moveTo>
                    <a:pt x="347624" y="215265"/>
                  </a:moveTo>
                  <a:lnTo>
                    <a:pt x="340169" y="207784"/>
                  </a:lnTo>
                  <a:lnTo>
                    <a:pt x="321665" y="207784"/>
                  </a:lnTo>
                  <a:lnTo>
                    <a:pt x="314198" y="215265"/>
                  </a:lnTo>
                  <a:lnTo>
                    <a:pt x="314198" y="233807"/>
                  </a:lnTo>
                  <a:lnTo>
                    <a:pt x="321665" y="241300"/>
                  </a:lnTo>
                  <a:lnTo>
                    <a:pt x="340169" y="241300"/>
                  </a:lnTo>
                  <a:lnTo>
                    <a:pt x="347624" y="233807"/>
                  </a:lnTo>
                  <a:lnTo>
                    <a:pt x="347624" y="224536"/>
                  </a:lnTo>
                  <a:lnTo>
                    <a:pt x="347624" y="215265"/>
                  </a:lnTo>
                  <a:close/>
                </a:path>
                <a:path w="1270635" h="449579">
                  <a:moveTo>
                    <a:pt x="360997" y="34302"/>
                  </a:moveTo>
                  <a:lnTo>
                    <a:pt x="353529" y="26809"/>
                  </a:lnTo>
                  <a:lnTo>
                    <a:pt x="335038" y="26809"/>
                  </a:lnTo>
                  <a:lnTo>
                    <a:pt x="327571" y="34302"/>
                  </a:lnTo>
                  <a:lnTo>
                    <a:pt x="327571" y="52844"/>
                  </a:lnTo>
                  <a:lnTo>
                    <a:pt x="335038" y="60325"/>
                  </a:lnTo>
                  <a:lnTo>
                    <a:pt x="353529" y="60325"/>
                  </a:lnTo>
                  <a:lnTo>
                    <a:pt x="360997" y="52844"/>
                  </a:lnTo>
                  <a:lnTo>
                    <a:pt x="360997" y="43573"/>
                  </a:lnTo>
                  <a:lnTo>
                    <a:pt x="360997" y="34302"/>
                  </a:lnTo>
                  <a:close/>
                </a:path>
                <a:path w="1270635" h="449579">
                  <a:moveTo>
                    <a:pt x="381050" y="396240"/>
                  </a:moveTo>
                  <a:lnTo>
                    <a:pt x="373583" y="388747"/>
                  </a:lnTo>
                  <a:lnTo>
                    <a:pt x="355092" y="388747"/>
                  </a:lnTo>
                  <a:lnTo>
                    <a:pt x="347624" y="396240"/>
                  </a:lnTo>
                  <a:lnTo>
                    <a:pt x="347624" y="414782"/>
                  </a:lnTo>
                  <a:lnTo>
                    <a:pt x="355092" y="422262"/>
                  </a:lnTo>
                  <a:lnTo>
                    <a:pt x="373583" y="422262"/>
                  </a:lnTo>
                  <a:lnTo>
                    <a:pt x="381050" y="414782"/>
                  </a:lnTo>
                  <a:lnTo>
                    <a:pt x="381050" y="405511"/>
                  </a:lnTo>
                  <a:lnTo>
                    <a:pt x="381050" y="396240"/>
                  </a:lnTo>
                  <a:close/>
                </a:path>
                <a:path w="1270635" h="449579">
                  <a:moveTo>
                    <a:pt x="394423" y="215265"/>
                  </a:moveTo>
                  <a:lnTo>
                    <a:pt x="386956" y="207784"/>
                  </a:lnTo>
                  <a:lnTo>
                    <a:pt x="368465" y="207784"/>
                  </a:lnTo>
                  <a:lnTo>
                    <a:pt x="360997" y="215265"/>
                  </a:lnTo>
                  <a:lnTo>
                    <a:pt x="360997" y="233807"/>
                  </a:lnTo>
                  <a:lnTo>
                    <a:pt x="368465" y="241300"/>
                  </a:lnTo>
                  <a:lnTo>
                    <a:pt x="386956" y="241300"/>
                  </a:lnTo>
                  <a:lnTo>
                    <a:pt x="394423" y="233807"/>
                  </a:lnTo>
                  <a:lnTo>
                    <a:pt x="394423" y="224536"/>
                  </a:lnTo>
                  <a:lnTo>
                    <a:pt x="394423" y="215265"/>
                  </a:lnTo>
                  <a:close/>
                </a:path>
                <a:path w="1270635" h="449579">
                  <a:moveTo>
                    <a:pt x="414477" y="34302"/>
                  </a:moveTo>
                  <a:lnTo>
                    <a:pt x="407009" y="26809"/>
                  </a:lnTo>
                  <a:lnTo>
                    <a:pt x="388518" y="26809"/>
                  </a:lnTo>
                  <a:lnTo>
                    <a:pt x="381050" y="34302"/>
                  </a:lnTo>
                  <a:lnTo>
                    <a:pt x="381050" y="52844"/>
                  </a:lnTo>
                  <a:lnTo>
                    <a:pt x="388518" y="60325"/>
                  </a:lnTo>
                  <a:lnTo>
                    <a:pt x="407009" y="60325"/>
                  </a:lnTo>
                  <a:lnTo>
                    <a:pt x="414477" y="52844"/>
                  </a:lnTo>
                  <a:lnTo>
                    <a:pt x="414477" y="43573"/>
                  </a:lnTo>
                  <a:lnTo>
                    <a:pt x="414477" y="34302"/>
                  </a:lnTo>
                  <a:close/>
                </a:path>
                <a:path w="1270635" h="449579">
                  <a:moveTo>
                    <a:pt x="427850" y="396240"/>
                  </a:moveTo>
                  <a:lnTo>
                    <a:pt x="420382" y="388747"/>
                  </a:lnTo>
                  <a:lnTo>
                    <a:pt x="401891" y="388747"/>
                  </a:lnTo>
                  <a:lnTo>
                    <a:pt x="394423" y="396240"/>
                  </a:lnTo>
                  <a:lnTo>
                    <a:pt x="394423" y="414782"/>
                  </a:lnTo>
                  <a:lnTo>
                    <a:pt x="401891" y="422262"/>
                  </a:lnTo>
                  <a:lnTo>
                    <a:pt x="420382" y="422262"/>
                  </a:lnTo>
                  <a:lnTo>
                    <a:pt x="427850" y="414782"/>
                  </a:lnTo>
                  <a:lnTo>
                    <a:pt x="427850" y="405511"/>
                  </a:lnTo>
                  <a:lnTo>
                    <a:pt x="427850" y="396240"/>
                  </a:lnTo>
                  <a:close/>
                </a:path>
                <a:path w="1270635" h="449579">
                  <a:moveTo>
                    <a:pt x="447903" y="215265"/>
                  </a:moveTo>
                  <a:lnTo>
                    <a:pt x="440436" y="207784"/>
                  </a:lnTo>
                  <a:lnTo>
                    <a:pt x="421944" y="207784"/>
                  </a:lnTo>
                  <a:lnTo>
                    <a:pt x="414477" y="215265"/>
                  </a:lnTo>
                  <a:lnTo>
                    <a:pt x="414477" y="233807"/>
                  </a:lnTo>
                  <a:lnTo>
                    <a:pt x="421944" y="241300"/>
                  </a:lnTo>
                  <a:lnTo>
                    <a:pt x="440436" y="241300"/>
                  </a:lnTo>
                  <a:lnTo>
                    <a:pt x="447903" y="233807"/>
                  </a:lnTo>
                  <a:lnTo>
                    <a:pt x="447903" y="224536"/>
                  </a:lnTo>
                  <a:lnTo>
                    <a:pt x="447903" y="215265"/>
                  </a:lnTo>
                  <a:close/>
                </a:path>
                <a:path w="1270635" h="449579">
                  <a:moveTo>
                    <a:pt x="461276" y="34302"/>
                  </a:moveTo>
                  <a:lnTo>
                    <a:pt x="453809" y="26809"/>
                  </a:lnTo>
                  <a:lnTo>
                    <a:pt x="435317" y="26809"/>
                  </a:lnTo>
                  <a:lnTo>
                    <a:pt x="427850" y="34302"/>
                  </a:lnTo>
                  <a:lnTo>
                    <a:pt x="427850" y="52844"/>
                  </a:lnTo>
                  <a:lnTo>
                    <a:pt x="435317" y="60325"/>
                  </a:lnTo>
                  <a:lnTo>
                    <a:pt x="453809" y="60325"/>
                  </a:lnTo>
                  <a:lnTo>
                    <a:pt x="461276" y="52844"/>
                  </a:lnTo>
                  <a:lnTo>
                    <a:pt x="461276" y="43573"/>
                  </a:lnTo>
                  <a:lnTo>
                    <a:pt x="461276" y="34302"/>
                  </a:lnTo>
                  <a:close/>
                </a:path>
                <a:path w="1270635" h="449579">
                  <a:moveTo>
                    <a:pt x="481330" y="396240"/>
                  </a:moveTo>
                  <a:lnTo>
                    <a:pt x="473862" y="388747"/>
                  </a:lnTo>
                  <a:lnTo>
                    <a:pt x="455371" y="388747"/>
                  </a:lnTo>
                  <a:lnTo>
                    <a:pt x="447903" y="396240"/>
                  </a:lnTo>
                  <a:lnTo>
                    <a:pt x="447903" y="414782"/>
                  </a:lnTo>
                  <a:lnTo>
                    <a:pt x="455371" y="422262"/>
                  </a:lnTo>
                  <a:lnTo>
                    <a:pt x="473862" y="422262"/>
                  </a:lnTo>
                  <a:lnTo>
                    <a:pt x="481330" y="414782"/>
                  </a:lnTo>
                  <a:lnTo>
                    <a:pt x="481330" y="405511"/>
                  </a:lnTo>
                  <a:lnTo>
                    <a:pt x="481330" y="396240"/>
                  </a:lnTo>
                  <a:close/>
                </a:path>
                <a:path w="1270635" h="449579">
                  <a:moveTo>
                    <a:pt x="494703" y="215265"/>
                  </a:moveTo>
                  <a:lnTo>
                    <a:pt x="487235" y="207784"/>
                  </a:lnTo>
                  <a:lnTo>
                    <a:pt x="468744" y="207784"/>
                  </a:lnTo>
                  <a:lnTo>
                    <a:pt x="461276" y="215265"/>
                  </a:lnTo>
                  <a:lnTo>
                    <a:pt x="461276" y="233807"/>
                  </a:lnTo>
                  <a:lnTo>
                    <a:pt x="468744" y="241300"/>
                  </a:lnTo>
                  <a:lnTo>
                    <a:pt x="487235" y="241300"/>
                  </a:lnTo>
                  <a:lnTo>
                    <a:pt x="494703" y="233807"/>
                  </a:lnTo>
                  <a:lnTo>
                    <a:pt x="494703" y="224536"/>
                  </a:lnTo>
                  <a:lnTo>
                    <a:pt x="494703" y="215265"/>
                  </a:lnTo>
                  <a:close/>
                </a:path>
                <a:path w="1270635" h="449579">
                  <a:moveTo>
                    <a:pt x="594969" y="396240"/>
                  </a:moveTo>
                  <a:lnTo>
                    <a:pt x="587514" y="388747"/>
                  </a:lnTo>
                  <a:lnTo>
                    <a:pt x="569010" y="388747"/>
                  </a:lnTo>
                  <a:lnTo>
                    <a:pt x="561555" y="396240"/>
                  </a:lnTo>
                  <a:lnTo>
                    <a:pt x="561555" y="414782"/>
                  </a:lnTo>
                  <a:lnTo>
                    <a:pt x="569010" y="422262"/>
                  </a:lnTo>
                  <a:lnTo>
                    <a:pt x="587514" y="422262"/>
                  </a:lnTo>
                  <a:lnTo>
                    <a:pt x="594969" y="414782"/>
                  </a:lnTo>
                  <a:lnTo>
                    <a:pt x="594969" y="405511"/>
                  </a:lnTo>
                  <a:lnTo>
                    <a:pt x="594969" y="396240"/>
                  </a:lnTo>
                  <a:close/>
                </a:path>
                <a:path w="1270635" h="449579">
                  <a:moveTo>
                    <a:pt x="608342" y="215265"/>
                  </a:moveTo>
                  <a:lnTo>
                    <a:pt x="600875" y="207784"/>
                  </a:lnTo>
                  <a:lnTo>
                    <a:pt x="582383" y="207784"/>
                  </a:lnTo>
                  <a:lnTo>
                    <a:pt x="574916" y="215265"/>
                  </a:lnTo>
                  <a:lnTo>
                    <a:pt x="574916" y="233807"/>
                  </a:lnTo>
                  <a:lnTo>
                    <a:pt x="582383" y="241300"/>
                  </a:lnTo>
                  <a:lnTo>
                    <a:pt x="600875" y="241300"/>
                  </a:lnTo>
                  <a:lnTo>
                    <a:pt x="608342" y="233807"/>
                  </a:lnTo>
                  <a:lnTo>
                    <a:pt x="608342" y="224536"/>
                  </a:lnTo>
                  <a:lnTo>
                    <a:pt x="608342" y="215265"/>
                  </a:lnTo>
                  <a:close/>
                </a:path>
                <a:path w="1270635" h="449579">
                  <a:moveTo>
                    <a:pt x="628396" y="34302"/>
                  </a:moveTo>
                  <a:lnTo>
                    <a:pt x="620941" y="26809"/>
                  </a:lnTo>
                  <a:lnTo>
                    <a:pt x="602437" y="26809"/>
                  </a:lnTo>
                  <a:lnTo>
                    <a:pt x="594969" y="34302"/>
                  </a:lnTo>
                  <a:lnTo>
                    <a:pt x="594969" y="52844"/>
                  </a:lnTo>
                  <a:lnTo>
                    <a:pt x="602437" y="60325"/>
                  </a:lnTo>
                  <a:lnTo>
                    <a:pt x="620941" y="60325"/>
                  </a:lnTo>
                  <a:lnTo>
                    <a:pt x="628396" y="52844"/>
                  </a:lnTo>
                  <a:lnTo>
                    <a:pt x="628396" y="43573"/>
                  </a:lnTo>
                  <a:lnTo>
                    <a:pt x="628396" y="34302"/>
                  </a:lnTo>
                  <a:close/>
                </a:path>
                <a:path w="1270635" h="449579">
                  <a:moveTo>
                    <a:pt x="641769" y="396240"/>
                  </a:moveTo>
                  <a:lnTo>
                    <a:pt x="634301" y="388747"/>
                  </a:lnTo>
                  <a:lnTo>
                    <a:pt x="615810" y="388747"/>
                  </a:lnTo>
                  <a:lnTo>
                    <a:pt x="608342" y="396240"/>
                  </a:lnTo>
                  <a:lnTo>
                    <a:pt x="608342" y="414782"/>
                  </a:lnTo>
                  <a:lnTo>
                    <a:pt x="615810" y="422262"/>
                  </a:lnTo>
                  <a:lnTo>
                    <a:pt x="634301" y="422262"/>
                  </a:lnTo>
                  <a:lnTo>
                    <a:pt x="641769" y="414782"/>
                  </a:lnTo>
                  <a:lnTo>
                    <a:pt x="641769" y="405511"/>
                  </a:lnTo>
                  <a:lnTo>
                    <a:pt x="641769" y="396240"/>
                  </a:lnTo>
                  <a:close/>
                </a:path>
                <a:path w="1270635" h="449579">
                  <a:moveTo>
                    <a:pt x="661822" y="215265"/>
                  </a:moveTo>
                  <a:lnTo>
                    <a:pt x="654354" y="207784"/>
                  </a:lnTo>
                  <a:lnTo>
                    <a:pt x="635863" y="207784"/>
                  </a:lnTo>
                  <a:lnTo>
                    <a:pt x="628396" y="215265"/>
                  </a:lnTo>
                  <a:lnTo>
                    <a:pt x="628396" y="233807"/>
                  </a:lnTo>
                  <a:lnTo>
                    <a:pt x="635863" y="241300"/>
                  </a:lnTo>
                  <a:lnTo>
                    <a:pt x="654354" y="241300"/>
                  </a:lnTo>
                  <a:lnTo>
                    <a:pt x="661822" y="233807"/>
                  </a:lnTo>
                  <a:lnTo>
                    <a:pt x="661822" y="224536"/>
                  </a:lnTo>
                  <a:lnTo>
                    <a:pt x="661822" y="215265"/>
                  </a:lnTo>
                  <a:close/>
                </a:path>
                <a:path w="1270635" h="449579">
                  <a:moveTo>
                    <a:pt x="675195" y="34302"/>
                  </a:moveTo>
                  <a:lnTo>
                    <a:pt x="667727" y="26809"/>
                  </a:lnTo>
                  <a:lnTo>
                    <a:pt x="649236" y="26809"/>
                  </a:lnTo>
                  <a:lnTo>
                    <a:pt x="641769" y="34302"/>
                  </a:lnTo>
                  <a:lnTo>
                    <a:pt x="641769" y="52844"/>
                  </a:lnTo>
                  <a:lnTo>
                    <a:pt x="649236" y="60325"/>
                  </a:lnTo>
                  <a:lnTo>
                    <a:pt x="667727" y="60325"/>
                  </a:lnTo>
                  <a:lnTo>
                    <a:pt x="675195" y="52844"/>
                  </a:lnTo>
                  <a:lnTo>
                    <a:pt x="675195" y="43573"/>
                  </a:lnTo>
                  <a:lnTo>
                    <a:pt x="675195" y="34302"/>
                  </a:lnTo>
                  <a:close/>
                </a:path>
                <a:path w="1270635" h="449579">
                  <a:moveTo>
                    <a:pt x="695248" y="396240"/>
                  </a:moveTo>
                  <a:lnTo>
                    <a:pt x="687781" y="388747"/>
                  </a:lnTo>
                  <a:lnTo>
                    <a:pt x="669290" y="388747"/>
                  </a:lnTo>
                  <a:lnTo>
                    <a:pt x="661822" y="396240"/>
                  </a:lnTo>
                  <a:lnTo>
                    <a:pt x="661822" y="414782"/>
                  </a:lnTo>
                  <a:lnTo>
                    <a:pt x="669290" y="422262"/>
                  </a:lnTo>
                  <a:lnTo>
                    <a:pt x="687781" y="422262"/>
                  </a:lnTo>
                  <a:lnTo>
                    <a:pt x="695248" y="414782"/>
                  </a:lnTo>
                  <a:lnTo>
                    <a:pt x="695248" y="405511"/>
                  </a:lnTo>
                  <a:lnTo>
                    <a:pt x="695248" y="396240"/>
                  </a:lnTo>
                  <a:close/>
                </a:path>
                <a:path w="1270635" h="449579">
                  <a:moveTo>
                    <a:pt x="708621" y="215265"/>
                  </a:moveTo>
                  <a:lnTo>
                    <a:pt x="701154" y="207784"/>
                  </a:lnTo>
                  <a:lnTo>
                    <a:pt x="682663" y="207784"/>
                  </a:lnTo>
                  <a:lnTo>
                    <a:pt x="675195" y="215265"/>
                  </a:lnTo>
                  <a:lnTo>
                    <a:pt x="675195" y="233807"/>
                  </a:lnTo>
                  <a:lnTo>
                    <a:pt x="682663" y="241300"/>
                  </a:lnTo>
                  <a:lnTo>
                    <a:pt x="701154" y="241300"/>
                  </a:lnTo>
                  <a:lnTo>
                    <a:pt x="708621" y="233807"/>
                  </a:lnTo>
                  <a:lnTo>
                    <a:pt x="708621" y="224536"/>
                  </a:lnTo>
                  <a:lnTo>
                    <a:pt x="708621" y="215265"/>
                  </a:lnTo>
                  <a:close/>
                </a:path>
                <a:path w="1270635" h="449579">
                  <a:moveTo>
                    <a:pt x="728675" y="34302"/>
                  </a:moveTo>
                  <a:lnTo>
                    <a:pt x="721207" y="26809"/>
                  </a:lnTo>
                  <a:lnTo>
                    <a:pt x="702716" y="26809"/>
                  </a:lnTo>
                  <a:lnTo>
                    <a:pt x="695248" y="34302"/>
                  </a:lnTo>
                  <a:lnTo>
                    <a:pt x="695248" y="52844"/>
                  </a:lnTo>
                  <a:lnTo>
                    <a:pt x="702716" y="60325"/>
                  </a:lnTo>
                  <a:lnTo>
                    <a:pt x="721207" y="60325"/>
                  </a:lnTo>
                  <a:lnTo>
                    <a:pt x="728675" y="52844"/>
                  </a:lnTo>
                  <a:lnTo>
                    <a:pt x="728675" y="43573"/>
                  </a:lnTo>
                  <a:lnTo>
                    <a:pt x="728675" y="34302"/>
                  </a:lnTo>
                  <a:close/>
                </a:path>
                <a:path w="1270635" h="449579">
                  <a:moveTo>
                    <a:pt x="742048" y="396240"/>
                  </a:moveTo>
                  <a:lnTo>
                    <a:pt x="734580" y="388747"/>
                  </a:lnTo>
                  <a:lnTo>
                    <a:pt x="716089" y="388747"/>
                  </a:lnTo>
                  <a:lnTo>
                    <a:pt x="708621" y="396240"/>
                  </a:lnTo>
                  <a:lnTo>
                    <a:pt x="708621" y="414782"/>
                  </a:lnTo>
                  <a:lnTo>
                    <a:pt x="716089" y="422262"/>
                  </a:lnTo>
                  <a:lnTo>
                    <a:pt x="734580" y="422262"/>
                  </a:lnTo>
                  <a:lnTo>
                    <a:pt x="742048" y="414782"/>
                  </a:lnTo>
                  <a:lnTo>
                    <a:pt x="742048" y="405511"/>
                  </a:lnTo>
                  <a:lnTo>
                    <a:pt x="742048" y="396240"/>
                  </a:lnTo>
                  <a:close/>
                </a:path>
                <a:path w="1270635" h="449579">
                  <a:moveTo>
                    <a:pt x="755421" y="215265"/>
                  </a:moveTo>
                  <a:lnTo>
                    <a:pt x="747953" y="207784"/>
                  </a:lnTo>
                  <a:lnTo>
                    <a:pt x="729449" y="207784"/>
                  </a:lnTo>
                  <a:lnTo>
                    <a:pt x="721995" y="215265"/>
                  </a:lnTo>
                  <a:lnTo>
                    <a:pt x="721995" y="233807"/>
                  </a:lnTo>
                  <a:lnTo>
                    <a:pt x="729449" y="241300"/>
                  </a:lnTo>
                  <a:lnTo>
                    <a:pt x="747953" y="241300"/>
                  </a:lnTo>
                  <a:lnTo>
                    <a:pt x="755421" y="233807"/>
                  </a:lnTo>
                  <a:lnTo>
                    <a:pt x="755421" y="224536"/>
                  </a:lnTo>
                  <a:lnTo>
                    <a:pt x="755421" y="215265"/>
                  </a:lnTo>
                  <a:close/>
                </a:path>
                <a:path w="1270635" h="449579">
                  <a:moveTo>
                    <a:pt x="775474" y="34302"/>
                  </a:moveTo>
                  <a:lnTo>
                    <a:pt x="768007" y="26809"/>
                  </a:lnTo>
                  <a:lnTo>
                    <a:pt x="749515" y="26809"/>
                  </a:lnTo>
                  <a:lnTo>
                    <a:pt x="742048" y="34302"/>
                  </a:lnTo>
                  <a:lnTo>
                    <a:pt x="742048" y="52844"/>
                  </a:lnTo>
                  <a:lnTo>
                    <a:pt x="749515" y="60325"/>
                  </a:lnTo>
                  <a:lnTo>
                    <a:pt x="768007" y="60325"/>
                  </a:lnTo>
                  <a:lnTo>
                    <a:pt x="775474" y="52844"/>
                  </a:lnTo>
                  <a:lnTo>
                    <a:pt x="775474" y="43573"/>
                  </a:lnTo>
                  <a:lnTo>
                    <a:pt x="775474" y="34302"/>
                  </a:lnTo>
                  <a:close/>
                </a:path>
                <a:path w="1270635" h="449579">
                  <a:moveTo>
                    <a:pt x="788835" y="396240"/>
                  </a:moveTo>
                  <a:lnTo>
                    <a:pt x="781380" y="388747"/>
                  </a:lnTo>
                  <a:lnTo>
                    <a:pt x="762876" y="388747"/>
                  </a:lnTo>
                  <a:lnTo>
                    <a:pt x="755421" y="396240"/>
                  </a:lnTo>
                  <a:lnTo>
                    <a:pt x="755421" y="414782"/>
                  </a:lnTo>
                  <a:lnTo>
                    <a:pt x="762876" y="422262"/>
                  </a:lnTo>
                  <a:lnTo>
                    <a:pt x="781380" y="422262"/>
                  </a:lnTo>
                  <a:lnTo>
                    <a:pt x="788835" y="414782"/>
                  </a:lnTo>
                  <a:lnTo>
                    <a:pt x="788835" y="405511"/>
                  </a:lnTo>
                  <a:lnTo>
                    <a:pt x="788835" y="396240"/>
                  </a:lnTo>
                  <a:close/>
                </a:path>
                <a:path w="1270635" h="449579">
                  <a:moveTo>
                    <a:pt x="808901" y="215265"/>
                  </a:moveTo>
                  <a:lnTo>
                    <a:pt x="801433" y="207784"/>
                  </a:lnTo>
                  <a:lnTo>
                    <a:pt x="782942" y="207784"/>
                  </a:lnTo>
                  <a:lnTo>
                    <a:pt x="775474" y="215265"/>
                  </a:lnTo>
                  <a:lnTo>
                    <a:pt x="775474" y="233807"/>
                  </a:lnTo>
                  <a:lnTo>
                    <a:pt x="782942" y="241300"/>
                  </a:lnTo>
                  <a:lnTo>
                    <a:pt x="801433" y="241300"/>
                  </a:lnTo>
                  <a:lnTo>
                    <a:pt x="808901" y="233807"/>
                  </a:lnTo>
                  <a:lnTo>
                    <a:pt x="808901" y="224536"/>
                  </a:lnTo>
                  <a:lnTo>
                    <a:pt x="808901" y="215265"/>
                  </a:lnTo>
                  <a:close/>
                </a:path>
                <a:path w="1270635" h="449579">
                  <a:moveTo>
                    <a:pt x="822261" y="34302"/>
                  </a:moveTo>
                  <a:lnTo>
                    <a:pt x="814806" y="26809"/>
                  </a:lnTo>
                  <a:lnTo>
                    <a:pt x="796302" y="26809"/>
                  </a:lnTo>
                  <a:lnTo>
                    <a:pt x="788835" y="34302"/>
                  </a:lnTo>
                  <a:lnTo>
                    <a:pt x="788835" y="52844"/>
                  </a:lnTo>
                  <a:lnTo>
                    <a:pt x="796302" y="60325"/>
                  </a:lnTo>
                  <a:lnTo>
                    <a:pt x="814806" y="60325"/>
                  </a:lnTo>
                  <a:lnTo>
                    <a:pt x="822261" y="52844"/>
                  </a:lnTo>
                  <a:lnTo>
                    <a:pt x="822261" y="43573"/>
                  </a:lnTo>
                  <a:lnTo>
                    <a:pt x="822261" y="34302"/>
                  </a:lnTo>
                  <a:close/>
                </a:path>
                <a:path w="1270635" h="449579">
                  <a:moveTo>
                    <a:pt x="842327" y="396240"/>
                  </a:moveTo>
                  <a:lnTo>
                    <a:pt x="834859" y="388747"/>
                  </a:lnTo>
                  <a:lnTo>
                    <a:pt x="816356" y="388747"/>
                  </a:lnTo>
                  <a:lnTo>
                    <a:pt x="808901" y="396240"/>
                  </a:lnTo>
                  <a:lnTo>
                    <a:pt x="808901" y="414782"/>
                  </a:lnTo>
                  <a:lnTo>
                    <a:pt x="816356" y="422262"/>
                  </a:lnTo>
                  <a:lnTo>
                    <a:pt x="834859" y="422262"/>
                  </a:lnTo>
                  <a:lnTo>
                    <a:pt x="842327" y="414782"/>
                  </a:lnTo>
                  <a:lnTo>
                    <a:pt x="842327" y="405511"/>
                  </a:lnTo>
                  <a:lnTo>
                    <a:pt x="842327" y="396240"/>
                  </a:lnTo>
                  <a:close/>
                </a:path>
                <a:path w="1270635" h="449579">
                  <a:moveTo>
                    <a:pt x="855687" y="215265"/>
                  </a:moveTo>
                  <a:lnTo>
                    <a:pt x="848220" y="207784"/>
                  </a:lnTo>
                  <a:lnTo>
                    <a:pt x="829729" y="207784"/>
                  </a:lnTo>
                  <a:lnTo>
                    <a:pt x="822261" y="215265"/>
                  </a:lnTo>
                  <a:lnTo>
                    <a:pt x="822261" y="233807"/>
                  </a:lnTo>
                  <a:lnTo>
                    <a:pt x="829729" y="241300"/>
                  </a:lnTo>
                  <a:lnTo>
                    <a:pt x="848220" y="241300"/>
                  </a:lnTo>
                  <a:lnTo>
                    <a:pt x="855687" y="233807"/>
                  </a:lnTo>
                  <a:lnTo>
                    <a:pt x="855687" y="224536"/>
                  </a:lnTo>
                  <a:lnTo>
                    <a:pt x="855687" y="215265"/>
                  </a:lnTo>
                  <a:close/>
                </a:path>
                <a:path w="1270635" h="449579">
                  <a:moveTo>
                    <a:pt x="875741" y="34302"/>
                  </a:moveTo>
                  <a:lnTo>
                    <a:pt x="868286" y="26809"/>
                  </a:lnTo>
                  <a:lnTo>
                    <a:pt x="849782" y="26809"/>
                  </a:lnTo>
                  <a:lnTo>
                    <a:pt x="842327" y="34302"/>
                  </a:lnTo>
                  <a:lnTo>
                    <a:pt x="842327" y="52844"/>
                  </a:lnTo>
                  <a:lnTo>
                    <a:pt x="849782" y="60325"/>
                  </a:lnTo>
                  <a:lnTo>
                    <a:pt x="868286" y="60325"/>
                  </a:lnTo>
                  <a:lnTo>
                    <a:pt x="875741" y="52844"/>
                  </a:lnTo>
                  <a:lnTo>
                    <a:pt x="875741" y="43573"/>
                  </a:lnTo>
                  <a:lnTo>
                    <a:pt x="875741" y="34302"/>
                  </a:lnTo>
                  <a:close/>
                </a:path>
                <a:path w="1270635" h="449579">
                  <a:moveTo>
                    <a:pt x="889114" y="396240"/>
                  </a:moveTo>
                  <a:lnTo>
                    <a:pt x="881646" y="388747"/>
                  </a:lnTo>
                  <a:lnTo>
                    <a:pt x="863155" y="388747"/>
                  </a:lnTo>
                  <a:lnTo>
                    <a:pt x="855687" y="396240"/>
                  </a:lnTo>
                  <a:lnTo>
                    <a:pt x="855687" y="414782"/>
                  </a:lnTo>
                  <a:lnTo>
                    <a:pt x="863155" y="422262"/>
                  </a:lnTo>
                  <a:lnTo>
                    <a:pt x="881646" y="422262"/>
                  </a:lnTo>
                  <a:lnTo>
                    <a:pt x="889114" y="414782"/>
                  </a:lnTo>
                  <a:lnTo>
                    <a:pt x="889114" y="405511"/>
                  </a:lnTo>
                  <a:lnTo>
                    <a:pt x="889114" y="396240"/>
                  </a:lnTo>
                  <a:close/>
                </a:path>
                <a:path w="1270635" h="449579">
                  <a:moveTo>
                    <a:pt x="909167" y="215265"/>
                  </a:moveTo>
                  <a:lnTo>
                    <a:pt x="901712" y="207784"/>
                  </a:lnTo>
                  <a:lnTo>
                    <a:pt x="883208" y="207784"/>
                  </a:lnTo>
                  <a:lnTo>
                    <a:pt x="875741" y="215265"/>
                  </a:lnTo>
                  <a:lnTo>
                    <a:pt x="875741" y="233807"/>
                  </a:lnTo>
                  <a:lnTo>
                    <a:pt x="883208" y="241300"/>
                  </a:lnTo>
                  <a:lnTo>
                    <a:pt x="901712" y="241300"/>
                  </a:lnTo>
                  <a:lnTo>
                    <a:pt x="909167" y="233807"/>
                  </a:lnTo>
                  <a:lnTo>
                    <a:pt x="909167" y="224536"/>
                  </a:lnTo>
                  <a:lnTo>
                    <a:pt x="909167" y="215265"/>
                  </a:lnTo>
                  <a:close/>
                </a:path>
                <a:path w="1270635" h="449579">
                  <a:moveTo>
                    <a:pt x="922540" y="34302"/>
                  </a:moveTo>
                  <a:lnTo>
                    <a:pt x="915073" y="26809"/>
                  </a:lnTo>
                  <a:lnTo>
                    <a:pt x="896581" y="26809"/>
                  </a:lnTo>
                  <a:lnTo>
                    <a:pt x="889114" y="34302"/>
                  </a:lnTo>
                  <a:lnTo>
                    <a:pt x="889114" y="52844"/>
                  </a:lnTo>
                  <a:lnTo>
                    <a:pt x="896581" y="60325"/>
                  </a:lnTo>
                  <a:lnTo>
                    <a:pt x="915073" y="60325"/>
                  </a:lnTo>
                  <a:lnTo>
                    <a:pt x="922540" y="52844"/>
                  </a:lnTo>
                  <a:lnTo>
                    <a:pt x="922540" y="43573"/>
                  </a:lnTo>
                  <a:lnTo>
                    <a:pt x="922540" y="34302"/>
                  </a:lnTo>
                  <a:close/>
                </a:path>
                <a:path w="1270635" h="449579">
                  <a:moveTo>
                    <a:pt x="942594" y="396240"/>
                  </a:moveTo>
                  <a:lnTo>
                    <a:pt x="935126" y="388747"/>
                  </a:lnTo>
                  <a:lnTo>
                    <a:pt x="916635" y="388747"/>
                  </a:lnTo>
                  <a:lnTo>
                    <a:pt x="909167" y="396240"/>
                  </a:lnTo>
                  <a:lnTo>
                    <a:pt x="909167" y="414782"/>
                  </a:lnTo>
                  <a:lnTo>
                    <a:pt x="916635" y="422262"/>
                  </a:lnTo>
                  <a:lnTo>
                    <a:pt x="935126" y="422262"/>
                  </a:lnTo>
                  <a:lnTo>
                    <a:pt x="942594" y="414782"/>
                  </a:lnTo>
                  <a:lnTo>
                    <a:pt x="942594" y="405511"/>
                  </a:lnTo>
                  <a:lnTo>
                    <a:pt x="942594" y="396240"/>
                  </a:lnTo>
                  <a:close/>
                </a:path>
                <a:path w="1270635" h="449579">
                  <a:moveTo>
                    <a:pt x="955967" y="215265"/>
                  </a:moveTo>
                  <a:lnTo>
                    <a:pt x="948499" y="207784"/>
                  </a:lnTo>
                  <a:lnTo>
                    <a:pt x="930008" y="207784"/>
                  </a:lnTo>
                  <a:lnTo>
                    <a:pt x="922540" y="215265"/>
                  </a:lnTo>
                  <a:lnTo>
                    <a:pt x="922540" y="233807"/>
                  </a:lnTo>
                  <a:lnTo>
                    <a:pt x="930008" y="241300"/>
                  </a:lnTo>
                  <a:lnTo>
                    <a:pt x="948499" y="241300"/>
                  </a:lnTo>
                  <a:lnTo>
                    <a:pt x="955967" y="233807"/>
                  </a:lnTo>
                  <a:lnTo>
                    <a:pt x="955967" y="224536"/>
                  </a:lnTo>
                  <a:lnTo>
                    <a:pt x="955967" y="215265"/>
                  </a:lnTo>
                  <a:close/>
                </a:path>
                <a:path w="1270635" h="449579">
                  <a:moveTo>
                    <a:pt x="969340" y="34302"/>
                  </a:moveTo>
                  <a:lnTo>
                    <a:pt x="961872" y="26809"/>
                  </a:lnTo>
                  <a:lnTo>
                    <a:pt x="943381" y="26809"/>
                  </a:lnTo>
                  <a:lnTo>
                    <a:pt x="935913" y="34302"/>
                  </a:lnTo>
                  <a:lnTo>
                    <a:pt x="935913" y="52844"/>
                  </a:lnTo>
                  <a:lnTo>
                    <a:pt x="943381" y="60325"/>
                  </a:lnTo>
                  <a:lnTo>
                    <a:pt x="961872" y="60325"/>
                  </a:lnTo>
                  <a:lnTo>
                    <a:pt x="969340" y="52844"/>
                  </a:lnTo>
                  <a:lnTo>
                    <a:pt x="969340" y="43573"/>
                  </a:lnTo>
                  <a:lnTo>
                    <a:pt x="969340" y="34302"/>
                  </a:lnTo>
                  <a:close/>
                </a:path>
                <a:path w="1270635" h="449579">
                  <a:moveTo>
                    <a:pt x="989393" y="396240"/>
                  </a:moveTo>
                  <a:lnTo>
                    <a:pt x="981925" y="388747"/>
                  </a:lnTo>
                  <a:lnTo>
                    <a:pt x="963434" y="388747"/>
                  </a:lnTo>
                  <a:lnTo>
                    <a:pt x="955967" y="396240"/>
                  </a:lnTo>
                  <a:lnTo>
                    <a:pt x="955967" y="414782"/>
                  </a:lnTo>
                  <a:lnTo>
                    <a:pt x="963434" y="422262"/>
                  </a:lnTo>
                  <a:lnTo>
                    <a:pt x="981925" y="422262"/>
                  </a:lnTo>
                  <a:lnTo>
                    <a:pt x="989393" y="414782"/>
                  </a:lnTo>
                  <a:lnTo>
                    <a:pt x="989393" y="405511"/>
                  </a:lnTo>
                  <a:lnTo>
                    <a:pt x="989393" y="396240"/>
                  </a:lnTo>
                  <a:close/>
                </a:path>
                <a:path w="1270635" h="449579">
                  <a:moveTo>
                    <a:pt x="1002766" y="215265"/>
                  </a:moveTo>
                  <a:lnTo>
                    <a:pt x="995299" y="207784"/>
                  </a:lnTo>
                  <a:lnTo>
                    <a:pt x="976807" y="207784"/>
                  </a:lnTo>
                  <a:lnTo>
                    <a:pt x="969340" y="215265"/>
                  </a:lnTo>
                  <a:lnTo>
                    <a:pt x="969340" y="233807"/>
                  </a:lnTo>
                  <a:lnTo>
                    <a:pt x="976807" y="241300"/>
                  </a:lnTo>
                  <a:lnTo>
                    <a:pt x="995299" y="241300"/>
                  </a:lnTo>
                  <a:lnTo>
                    <a:pt x="1002766" y="233807"/>
                  </a:lnTo>
                  <a:lnTo>
                    <a:pt x="1002766" y="224536"/>
                  </a:lnTo>
                  <a:lnTo>
                    <a:pt x="1002766" y="215265"/>
                  </a:lnTo>
                  <a:close/>
                </a:path>
                <a:path w="1270635" h="449579">
                  <a:moveTo>
                    <a:pt x="1022819" y="34302"/>
                  </a:moveTo>
                  <a:lnTo>
                    <a:pt x="1015352" y="26809"/>
                  </a:lnTo>
                  <a:lnTo>
                    <a:pt x="996861" y="26809"/>
                  </a:lnTo>
                  <a:lnTo>
                    <a:pt x="989393" y="34302"/>
                  </a:lnTo>
                  <a:lnTo>
                    <a:pt x="989393" y="52844"/>
                  </a:lnTo>
                  <a:lnTo>
                    <a:pt x="996861" y="60325"/>
                  </a:lnTo>
                  <a:lnTo>
                    <a:pt x="1015352" y="60325"/>
                  </a:lnTo>
                  <a:lnTo>
                    <a:pt x="1022819" y="52844"/>
                  </a:lnTo>
                  <a:lnTo>
                    <a:pt x="1022819" y="43573"/>
                  </a:lnTo>
                  <a:lnTo>
                    <a:pt x="1022819" y="34302"/>
                  </a:lnTo>
                  <a:close/>
                </a:path>
                <a:path w="1270635" h="449579">
                  <a:moveTo>
                    <a:pt x="1036193" y="396240"/>
                  </a:moveTo>
                  <a:lnTo>
                    <a:pt x="1028725" y="388747"/>
                  </a:lnTo>
                  <a:lnTo>
                    <a:pt x="1010221" y="388747"/>
                  </a:lnTo>
                  <a:lnTo>
                    <a:pt x="1002766" y="396240"/>
                  </a:lnTo>
                  <a:lnTo>
                    <a:pt x="1002766" y="414782"/>
                  </a:lnTo>
                  <a:lnTo>
                    <a:pt x="1010221" y="422262"/>
                  </a:lnTo>
                  <a:lnTo>
                    <a:pt x="1028725" y="422262"/>
                  </a:lnTo>
                  <a:lnTo>
                    <a:pt x="1036193" y="414782"/>
                  </a:lnTo>
                  <a:lnTo>
                    <a:pt x="1036193" y="405511"/>
                  </a:lnTo>
                  <a:lnTo>
                    <a:pt x="1036193" y="396240"/>
                  </a:lnTo>
                  <a:close/>
                </a:path>
                <a:path w="1270635" h="449579">
                  <a:moveTo>
                    <a:pt x="1056246" y="215265"/>
                  </a:moveTo>
                  <a:lnTo>
                    <a:pt x="1048778" y="207784"/>
                  </a:lnTo>
                  <a:lnTo>
                    <a:pt x="1030287" y="207784"/>
                  </a:lnTo>
                  <a:lnTo>
                    <a:pt x="1022819" y="215265"/>
                  </a:lnTo>
                  <a:lnTo>
                    <a:pt x="1022819" y="233807"/>
                  </a:lnTo>
                  <a:lnTo>
                    <a:pt x="1030287" y="241300"/>
                  </a:lnTo>
                  <a:lnTo>
                    <a:pt x="1048778" y="241300"/>
                  </a:lnTo>
                  <a:lnTo>
                    <a:pt x="1056246" y="233807"/>
                  </a:lnTo>
                  <a:lnTo>
                    <a:pt x="1056246" y="224536"/>
                  </a:lnTo>
                  <a:lnTo>
                    <a:pt x="1056246" y="215265"/>
                  </a:lnTo>
                  <a:close/>
                </a:path>
                <a:path w="1270635" h="449579">
                  <a:moveTo>
                    <a:pt x="1069606" y="34302"/>
                  </a:moveTo>
                  <a:lnTo>
                    <a:pt x="1062151" y="26809"/>
                  </a:lnTo>
                  <a:lnTo>
                    <a:pt x="1043647" y="26809"/>
                  </a:lnTo>
                  <a:lnTo>
                    <a:pt x="1036193" y="34302"/>
                  </a:lnTo>
                  <a:lnTo>
                    <a:pt x="1036193" y="52844"/>
                  </a:lnTo>
                  <a:lnTo>
                    <a:pt x="1043647" y="60325"/>
                  </a:lnTo>
                  <a:lnTo>
                    <a:pt x="1062151" y="60325"/>
                  </a:lnTo>
                  <a:lnTo>
                    <a:pt x="1069606" y="52844"/>
                  </a:lnTo>
                  <a:lnTo>
                    <a:pt x="1069606" y="43573"/>
                  </a:lnTo>
                  <a:lnTo>
                    <a:pt x="1069606" y="34302"/>
                  </a:lnTo>
                  <a:close/>
                </a:path>
                <a:path w="1270635" h="449579">
                  <a:moveTo>
                    <a:pt x="1089672" y="396240"/>
                  </a:moveTo>
                  <a:lnTo>
                    <a:pt x="1082205" y="388747"/>
                  </a:lnTo>
                  <a:lnTo>
                    <a:pt x="1063713" y="388747"/>
                  </a:lnTo>
                  <a:lnTo>
                    <a:pt x="1056246" y="396240"/>
                  </a:lnTo>
                  <a:lnTo>
                    <a:pt x="1056246" y="414782"/>
                  </a:lnTo>
                  <a:lnTo>
                    <a:pt x="1063713" y="422262"/>
                  </a:lnTo>
                  <a:lnTo>
                    <a:pt x="1082205" y="422262"/>
                  </a:lnTo>
                  <a:lnTo>
                    <a:pt x="1089672" y="414782"/>
                  </a:lnTo>
                  <a:lnTo>
                    <a:pt x="1089672" y="405511"/>
                  </a:lnTo>
                  <a:lnTo>
                    <a:pt x="1089672" y="396240"/>
                  </a:lnTo>
                  <a:close/>
                </a:path>
                <a:path w="1270635" h="449579">
                  <a:moveTo>
                    <a:pt x="1103033" y="215265"/>
                  </a:moveTo>
                  <a:lnTo>
                    <a:pt x="1095578" y="207784"/>
                  </a:lnTo>
                  <a:lnTo>
                    <a:pt x="1077074" y="207784"/>
                  </a:lnTo>
                  <a:lnTo>
                    <a:pt x="1069606" y="215265"/>
                  </a:lnTo>
                  <a:lnTo>
                    <a:pt x="1069606" y="233807"/>
                  </a:lnTo>
                  <a:lnTo>
                    <a:pt x="1077074" y="241300"/>
                  </a:lnTo>
                  <a:lnTo>
                    <a:pt x="1095578" y="241300"/>
                  </a:lnTo>
                  <a:lnTo>
                    <a:pt x="1103033" y="233807"/>
                  </a:lnTo>
                  <a:lnTo>
                    <a:pt x="1103033" y="224536"/>
                  </a:lnTo>
                  <a:lnTo>
                    <a:pt x="1103033" y="215265"/>
                  </a:lnTo>
                  <a:close/>
                </a:path>
                <a:path w="1270635" h="449579">
                  <a:moveTo>
                    <a:pt x="1123099" y="34302"/>
                  </a:moveTo>
                  <a:lnTo>
                    <a:pt x="1115631" y="26809"/>
                  </a:lnTo>
                  <a:lnTo>
                    <a:pt x="1097127" y="26809"/>
                  </a:lnTo>
                  <a:lnTo>
                    <a:pt x="1089672" y="34302"/>
                  </a:lnTo>
                  <a:lnTo>
                    <a:pt x="1089672" y="52844"/>
                  </a:lnTo>
                  <a:lnTo>
                    <a:pt x="1097127" y="60325"/>
                  </a:lnTo>
                  <a:lnTo>
                    <a:pt x="1115631" y="60325"/>
                  </a:lnTo>
                  <a:lnTo>
                    <a:pt x="1123099" y="52844"/>
                  </a:lnTo>
                  <a:lnTo>
                    <a:pt x="1123099" y="43573"/>
                  </a:lnTo>
                  <a:lnTo>
                    <a:pt x="1123099" y="34302"/>
                  </a:lnTo>
                  <a:close/>
                </a:path>
                <a:path w="1270635" h="449579">
                  <a:moveTo>
                    <a:pt x="1136459" y="396240"/>
                  </a:moveTo>
                  <a:lnTo>
                    <a:pt x="1129004" y="388747"/>
                  </a:lnTo>
                  <a:lnTo>
                    <a:pt x="1110500" y="388747"/>
                  </a:lnTo>
                  <a:lnTo>
                    <a:pt x="1103033" y="396240"/>
                  </a:lnTo>
                  <a:lnTo>
                    <a:pt x="1103033" y="414782"/>
                  </a:lnTo>
                  <a:lnTo>
                    <a:pt x="1110500" y="422262"/>
                  </a:lnTo>
                  <a:lnTo>
                    <a:pt x="1129004" y="422262"/>
                  </a:lnTo>
                  <a:lnTo>
                    <a:pt x="1136459" y="414782"/>
                  </a:lnTo>
                  <a:lnTo>
                    <a:pt x="1136459" y="405511"/>
                  </a:lnTo>
                  <a:lnTo>
                    <a:pt x="1136459" y="396240"/>
                  </a:lnTo>
                  <a:close/>
                </a:path>
                <a:path w="1270635" h="449579">
                  <a:moveTo>
                    <a:pt x="1149832" y="215265"/>
                  </a:moveTo>
                  <a:lnTo>
                    <a:pt x="1142365" y="207784"/>
                  </a:lnTo>
                  <a:lnTo>
                    <a:pt x="1123873" y="207784"/>
                  </a:lnTo>
                  <a:lnTo>
                    <a:pt x="1116406" y="215265"/>
                  </a:lnTo>
                  <a:lnTo>
                    <a:pt x="1116406" y="233807"/>
                  </a:lnTo>
                  <a:lnTo>
                    <a:pt x="1123873" y="241300"/>
                  </a:lnTo>
                  <a:lnTo>
                    <a:pt x="1142365" y="241300"/>
                  </a:lnTo>
                  <a:lnTo>
                    <a:pt x="1149832" y="233807"/>
                  </a:lnTo>
                  <a:lnTo>
                    <a:pt x="1149832" y="224536"/>
                  </a:lnTo>
                  <a:lnTo>
                    <a:pt x="1149832" y="215265"/>
                  </a:lnTo>
                  <a:close/>
                </a:path>
                <a:path w="1270635" h="449579">
                  <a:moveTo>
                    <a:pt x="1169885" y="34302"/>
                  </a:moveTo>
                  <a:lnTo>
                    <a:pt x="1162418" y="26809"/>
                  </a:lnTo>
                  <a:lnTo>
                    <a:pt x="1143927" y="26809"/>
                  </a:lnTo>
                  <a:lnTo>
                    <a:pt x="1136459" y="34302"/>
                  </a:lnTo>
                  <a:lnTo>
                    <a:pt x="1136459" y="52844"/>
                  </a:lnTo>
                  <a:lnTo>
                    <a:pt x="1143927" y="60325"/>
                  </a:lnTo>
                  <a:lnTo>
                    <a:pt x="1162418" y="60325"/>
                  </a:lnTo>
                  <a:lnTo>
                    <a:pt x="1169885" y="52844"/>
                  </a:lnTo>
                  <a:lnTo>
                    <a:pt x="1169885" y="43573"/>
                  </a:lnTo>
                  <a:lnTo>
                    <a:pt x="1169885" y="34302"/>
                  </a:lnTo>
                  <a:close/>
                </a:path>
                <a:path w="1270635" h="449579">
                  <a:moveTo>
                    <a:pt x="1183259" y="423049"/>
                  </a:moveTo>
                  <a:lnTo>
                    <a:pt x="1175791" y="415556"/>
                  </a:lnTo>
                  <a:lnTo>
                    <a:pt x="1157300" y="415556"/>
                  </a:lnTo>
                  <a:lnTo>
                    <a:pt x="1149832" y="423049"/>
                  </a:lnTo>
                  <a:lnTo>
                    <a:pt x="1149832" y="441591"/>
                  </a:lnTo>
                  <a:lnTo>
                    <a:pt x="1157300" y="449072"/>
                  </a:lnTo>
                  <a:lnTo>
                    <a:pt x="1175791" y="449072"/>
                  </a:lnTo>
                  <a:lnTo>
                    <a:pt x="1183259" y="441591"/>
                  </a:lnTo>
                  <a:lnTo>
                    <a:pt x="1183259" y="432320"/>
                  </a:lnTo>
                  <a:lnTo>
                    <a:pt x="1183259" y="423049"/>
                  </a:lnTo>
                  <a:close/>
                </a:path>
                <a:path w="1270635" h="449579">
                  <a:moveTo>
                    <a:pt x="1203312" y="188455"/>
                  </a:moveTo>
                  <a:lnTo>
                    <a:pt x="1195844" y="180975"/>
                  </a:lnTo>
                  <a:lnTo>
                    <a:pt x="1177353" y="180975"/>
                  </a:lnTo>
                  <a:lnTo>
                    <a:pt x="1169885" y="188455"/>
                  </a:lnTo>
                  <a:lnTo>
                    <a:pt x="1169885" y="206997"/>
                  </a:lnTo>
                  <a:lnTo>
                    <a:pt x="1177353" y="214490"/>
                  </a:lnTo>
                  <a:lnTo>
                    <a:pt x="1195844" y="214490"/>
                  </a:lnTo>
                  <a:lnTo>
                    <a:pt x="1203312" y="206997"/>
                  </a:lnTo>
                  <a:lnTo>
                    <a:pt x="1203312" y="197726"/>
                  </a:lnTo>
                  <a:lnTo>
                    <a:pt x="1203312" y="188455"/>
                  </a:lnTo>
                  <a:close/>
                </a:path>
                <a:path w="1270635" h="449579">
                  <a:moveTo>
                    <a:pt x="1216685" y="7493"/>
                  </a:moveTo>
                  <a:lnTo>
                    <a:pt x="1209217" y="0"/>
                  </a:lnTo>
                  <a:lnTo>
                    <a:pt x="1190726" y="0"/>
                  </a:lnTo>
                  <a:lnTo>
                    <a:pt x="1183259" y="7493"/>
                  </a:lnTo>
                  <a:lnTo>
                    <a:pt x="1183259" y="26035"/>
                  </a:lnTo>
                  <a:lnTo>
                    <a:pt x="1190726" y="33515"/>
                  </a:lnTo>
                  <a:lnTo>
                    <a:pt x="1209217" y="33515"/>
                  </a:lnTo>
                  <a:lnTo>
                    <a:pt x="1216685" y="26035"/>
                  </a:lnTo>
                  <a:lnTo>
                    <a:pt x="1216685" y="16764"/>
                  </a:lnTo>
                  <a:lnTo>
                    <a:pt x="1216685" y="7493"/>
                  </a:lnTo>
                  <a:close/>
                </a:path>
                <a:path w="1270635" h="449579">
                  <a:moveTo>
                    <a:pt x="1236738" y="242074"/>
                  </a:moveTo>
                  <a:lnTo>
                    <a:pt x="1229271" y="234594"/>
                  </a:lnTo>
                  <a:lnTo>
                    <a:pt x="1210779" y="234594"/>
                  </a:lnTo>
                  <a:lnTo>
                    <a:pt x="1203312" y="242074"/>
                  </a:lnTo>
                  <a:lnTo>
                    <a:pt x="1203312" y="260616"/>
                  </a:lnTo>
                  <a:lnTo>
                    <a:pt x="1210779" y="268109"/>
                  </a:lnTo>
                  <a:lnTo>
                    <a:pt x="1229271" y="268109"/>
                  </a:lnTo>
                  <a:lnTo>
                    <a:pt x="1236738" y="260616"/>
                  </a:lnTo>
                  <a:lnTo>
                    <a:pt x="1236738" y="251345"/>
                  </a:lnTo>
                  <a:lnTo>
                    <a:pt x="1236738" y="242074"/>
                  </a:lnTo>
                  <a:close/>
                </a:path>
                <a:path w="1270635" h="449579">
                  <a:moveTo>
                    <a:pt x="1250111" y="188455"/>
                  </a:moveTo>
                  <a:lnTo>
                    <a:pt x="1242644" y="180975"/>
                  </a:lnTo>
                  <a:lnTo>
                    <a:pt x="1224153" y="180975"/>
                  </a:lnTo>
                  <a:lnTo>
                    <a:pt x="1216685" y="188455"/>
                  </a:lnTo>
                  <a:lnTo>
                    <a:pt x="1216685" y="206997"/>
                  </a:lnTo>
                  <a:lnTo>
                    <a:pt x="1224153" y="214490"/>
                  </a:lnTo>
                  <a:lnTo>
                    <a:pt x="1242644" y="214490"/>
                  </a:lnTo>
                  <a:lnTo>
                    <a:pt x="1250111" y="206997"/>
                  </a:lnTo>
                  <a:lnTo>
                    <a:pt x="1250111" y="197726"/>
                  </a:lnTo>
                  <a:lnTo>
                    <a:pt x="1250111" y="188455"/>
                  </a:lnTo>
                  <a:close/>
                </a:path>
                <a:path w="1270635" h="449579">
                  <a:moveTo>
                    <a:pt x="1270165" y="7493"/>
                  </a:moveTo>
                  <a:lnTo>
                    <a:pt x="1262697" y="0"/>
                  </a:lnTo>
                  <a:lnTo>
                    <a:pt x="1244206" y="0"/>
                  </a:lnTo>
                  <a:lnTo>
                    <a:pt x="1236738" y="7493"/>
                  </a:lnTo>
                  <a:lnTo>
                    <a:pt x="1236738" y="26035"/>
                  </a:lnTo>
                  <a:lnTo>
                    <a:pt x="1244206" y="33515"/>
                  </a:lnTo>
                  <a:lnTo>
                    <a:pt x="1262697" y="33515"/>
                  </a:lnTo>
                  <a:lnTo>
                    <a:pt x="1270165" y="26035"/>
                  </a:lnTo>
                  <a:lnTo>
                    <a:pt x="1270165" y="16764"/>
                  </a:lnTo>
                  <a:lnTo>
                    <a:pt x="1270165" y="7493"/>
                  </a:lnTo>
                  <a:close/>
                </a:path>
              </a:pathLst>
            </a:custGeom>
            <a:solidFill>
              <a:srgbClr val="1F487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6" name="object 26"/>
            <p:cNvSpPr/>
            <p:nvPr/>
          </p:nvSpPr>
          <p:spPr>
            <a:xfrm>
              <a:off x="5556973" y="5053774"/>
              <a:ext cx="427990" cy="449580"/>
            </a:xfrm>
            <a:custGeom>
              <a:avLst/>
              <a:gdLst/>
              <a:ahLst/>
              <a:cxnLst/>
              <a:rect l="l" t="t" r="r" b="b"/>
              <a:pathLst>
                <a:path w="427989" h="449579">
                  <a:moveTo>
                    <a:pt x="33426" y="7493"/>
                  </a:moveTo>
                  <a:lnTo>
                    <a:pt x="25958" y="0"/>
                  </a:lnTo>
                  <a:lnTo>
                    <a:pt x="7467" y="0"/>
                  </a:lnTo>
                  <a:lnTo>
                    <a:pt x="0" y="7493"/>
                  </a:lnTo>
                  <a:lnTo>
                    <a:pt x="0" y="26035"/>
                  </a:lnTo>
                  <a:lnTo>
                    <a:pt x="7467" y="33515"/>
                  </a:lnTo>
                  <a:lnTo>
                    <a:pt x="25958" y="33515"/>
                  </a:lnTo>
                  <a:lnTo>
                    <a:pt x="33426" y="26035"/>
                  </a:lnTo>
                  <a:lnTo>
                    <a:pt x="33426" y="16764"/>
                  </a:lnTo>
                  <a:lnTo>
                    <a:pt x="33426" y="7493"/>
                  </a:lnTo>
                  <a:close/>
                </a:path>
                <a:path w="427989" h="449579">
                  <a:moveTo>
                    <a:pt x="46799" y="423049"/>
                  </a:moveTo>
                  <a:lnTo>
                    <a:pt x="39331" y="415556"/>
                  </a:lnTo>
                  <a:lnTo>
                    <a:pt x="20840" y="415556"/>
                  </a:lnTo>
                  <a:lnTo>
                    <a:pt x="13373" y="423049"/>
                  </a:lnTo>
                  <a:lnTo>
                    <a:pt x="13373" y="441591"/>
                  </a:lnTo>
                  <a:lnTo>
                    <a:pt x="20840" y="449072"/>
                  </a:lnTo>
                  <a:lnTo>
                    <a:pt x="39331" y="449072"/>
                  </a:lnTo>
                  <a:lnTo>
                    <a:pt x="46799" y="441591"/>
                  </a:lnTo>
                  <a:lnTo>
                    <a:pt x="46799" y="432320"/>
                  </a:lnTo>
                  <a:lnTo>
                    <a:pt x="46799" y="423049"/>
                  </a:lnTo>
                  <a:close/>
                </a:path>
                <a:path w="427989" h="449579">
                  <a:moveTo>
                    <a:pt x="66852" y="242074"/>
                  </a:moveTo>
                  <a:lnTo>
                    <a:pt x="59385" y="234594"/>
                  </a:lnTo>
                  <a:lnTo>
                    <a:pt x="40894" y="234594"/>
                  </a:lnTo>
                  <a:lnTo>
                    <a:pt x="33426" y="242074"/>
                  </a:lnTo>
                  <a:lnTo>
                    <a:pt x="33426" y="260616"/>
                  </a:lnTo>
                  <a:lnTo>
                    <a:pt x="40894" y="268109"/>
                  </a:lnTo>
                  <a:lnTo>
                    <a:pt x="59385" y="268109"/>
                  </a:lnTo>
                  <a:lnTo>
                    <a:pt x="66852" y="260616"/>
                  </a:lnTo>
                  <a:lnTo>
                    <a:pt x="66852" y="251345"/>
                  </a:lnTo>
                  <a:lnTo>
                    <a:pt x="66852" y="242074"/>
                  </a:lnTo>
                  <a:close/>
                </a:path>
                <a:path w="427989" h="449579">
                  <a:moveTo>
                    <a:pt x="80225" y="7493"/>
                  </a:moveTo>
                  <a:lnTo>
                    <a:pt x="72758" y="0"/>
                  </a:lnTo>
                  <a:lnTo>
                    <a:pt x="54254" y="0"/>
                  </a:lnTo>
                  <a:lnTo>
                    <a:pt x="46799" y="7493"/>
                  </a:lnTo>
                  <a:lnTo>
                    <a:pt x="46799" y="26035"/>
                  </a:lnTo>
                  <a:lnTo>
                    <a:pt x="54254" y="33515"/>
                  </a:lnTo>
                  <a:lnTo>
                    <a:pt x="72758" y="33515"/>
                  </a:lnTo>
                  <a:lnTo>
                    <a:pt x="80225" y="26035"/>
                  </a:lnTo>
                  <a:lnTo>
                    <a:pt x="80225" y="16764"/>
                  </a:lnTo>
                  <a:lnTo>
                    <a:pt x="80225" y="7493"/>
                  </a:lnTo>
                  <a:close/>
                </a:path>
                <a:path w="427989" h="449579">
                  <a:moveTo>
                    <a:pt x="100279" y="423049"/>
                  </a:moveTo>
                  <a:lnTo>
                    <a:pt x="92811" y="415556"/>
                  </a:lnTo>
                  <a:lnTo>
                    <a:pt x="74320" y="415556"/>
                  </a:lnTo>
                  <a:lnTo>
                    <a:pt x="66852" y="423049"/>
                  </a:lnTo>
                  <a:lnTo>
                    <a:pt x="66852" y="441591"/>
                  </a:lnTo>
                  <a:lnTo>
                    <a:pt x="74320" y="449072"/>
                  </a:lnTo>
                  <a:lnTo>
                    <a:pt x="92811" y="449072"/>
                  </a:lnTo>
                  <a:lnTo>
                    <a:pt x="100279" y="441591"/>
                  </a:lnTo>
                  <a:lnTo>
                    <a:pt x="100279" y="432320"/>
                  </a:lnTo>
                  <a:lnTo>
                    <a:pt x="100279" y="423049"/>
                  </a:lnTo>
                  <a:close/>
                </a:path>
                <a:path w="427989" h="449579">
                  <a:moveTo>
                    <a:pt x="113652" y="188455"/>
                  </a:moveTo>
                  <a:lnTo>
                    <a:pt x="106184" y="180975"/>
                  </a:lnTo>
                  <a:lnTo>
                    <a:pt x="87680" y="180975"/>
                  </a:lnTo>
                  <a:lnTo>
                    <a:pt x="80225" y="188455"/>
                  </a:lnTo>
                  <a:lnTo>
                    <a:pt x="80225" y="206997"/>
                  </a:lnTo>
                  <a:lnTo>
                    <a:pt x="87680" y="214490"/>
                  </a:lnTo>
                  <a:lnTo>
                    <a:pt x="106184" y="214490"/>
                  </a:lnTo>
                  <a:lnTo>
                    <a:pt x="113652" y="206997"/>
                  </a:lnTo>
                  <a:lnTo>
                    <a:pt x="113652" y="197726"/>
                  </a:lnTo>
                  <a:lnTo>
                    <a:pt x="113652" y="188455"/>
                  </a:lnTo>
                  <a:close/>
                </a:path>
                <a:path w="427989" h="449579">
                  <a:moveTo>
                    <a:pt x="127012" y="7493"/>
                  </a:moveTo>
                  <a:lnTo>
                    <a:pt x="119545" y="0"/>
                  </a:lnTo>
                  <a:lnTo>
                    <a:pt x="101053" y="0"/>
                  </a:lnTo>
                  <a:lnTo>
                    <a:pt x="93586" y="7493"/>
                  </a:lnTo>
                  <a:lnTo>
                    <a:pt x="93586" y="26035"/>
                  </a:lnTo>
                  <a:lnTo>
                    <a:pt x="101053" y="33515"/>
                  </a:lnTo>
                  <a:lnTo>
                    <a:pt x="119545" y="33515"/>
                  </a:lnTo>
                  <a:lnTo>
                    <a:pt x="127012" y="26035"/>
                  </a:lnTo>
                  <a:lnTo>
                    <a:pt x="127012" y="16764"/>
                  </a:lnTo>
                  <a:lnTo>
                    <a:pt x="127012" y="7493"/>
                  </a:lnTo>
                  <a:close/>
                </a:path>
                <a:path w="427989" h="449579">
                  <a:moveTo>
                    <a:pt x="147066" y="423049"/>
                  </a:moveTo>
                  <a:lnTo>
                    <a:pt x="139611" y="415556"/>
                  </a:lnTo>
                  <a:lnTo>
                    <a:pt x="121107" y="415556"/>
                  </a:lnTo>
                  <a:lnTo>
                    <a:pt x="113652" y="423049"/>
                  </a:lnTo>
                  <a:lnTo>
                    <a:pt x="113652" y="441591"/>
                  </a:lnTo>
                  <a:lnTo>
                    <a:pt x="121107" y="449072"/>
                  </a:lnTo>
                  <a:lnTo>
                    <a:pt x="139611" y="449072"/>
                  </a:lnTo>
                  <a:lnTo>
                    <a:pt x="147066" y="441591"/>
                  </a:lnTo>
                  <a:lnTo>
                    <a:pt x="147066" y="432320"/>
                  </a:lnTo>
                  <a:lnTo>
                    <a:pt x="147066" y="423049"/>
                  </a:lnTo>
                  <a:close/>
                </a:path>
                <a:path w="427989" h="449579">
                  <a:moveTo>
                    <a:pt x="160439" y="242074"/>
                  </a:moveTo>
                  <a:lnTo>
                    <a:pt x="152971" y="234594"/>
                  </a:lnTo>
                  <a:lnTo>
                    <a:pt x="134480" y="234594"/>
                  </a:lnTo>
                  <a:lnTo>
                    <a:pt x="127012" y="242074"/>
                  </a:lnTo>
                  <a:lnTo>
                    <a:pt x="127012" y="260616"/>
                  </a:lnTo>
                  <a:lnTo>
                    <a:pt x="134480" y="268109"/>
                  </a:lnTo>
                  <a:lnTo>
                    <a:pt x="152971" y="268109"/>
                  </a:lnTo>
                  <a:lnTo>
                    <a:pt x="160439" y="260616"/>
                  </a:lnTo>
                  <a:lnTo>
                    <a:pt x="160439" y="251345"/>
                  </a:lnTo>
                  <a:lnTo>
                    <a:pt x="160439" y="242074"/>
                  </a:lnTo>
                  <a:close/>
                </a:path>
                <a:path w="427989" h="449579">
                  <a:moveTo>
                    <a:pt x="180492" y="7493"/>
                  </a:moveTo>
                  <a:lnTo>
                    <a:pt x="173037" y="0"/>
                  </a:lnTo>
                  <a:lnTo>
                    <a:pt x="154533" y="0"/>
                  </a:lnTo>
                  <a:lnTo>
                    <a:pt x="147066" y="7493"/>
                  </a:lnTo>
                  <a:lnTo>
                    <a:pt x="147066" y="26035"/>
                  </a:lnTo>
                  <a:lnTo>
                    <a:pt x="154533" y="33515"/>
                  </a:lnTo>
                  <a:lnTo>
                    <a:pt x="173037" y="33515"/>
                  </a:lnTo>
                  <a:lnTo>
                    <a:pt x="180492" y="26035"/>
                  </a:lnTo>
                  <a:lnTo>
                    <a:pt x="180492" y="16764"/>
                  </a:lnTo>
                  <a:lnTo>
                    <a:pt x="180492" y="7493"/>
                  </a:lnTo>
                  <a:close/>
                </a:path>
                <a:path w="427989" h="449579">
                  <a:moveTo>
                    <a:pt x="193865" y="423049"/>
                  </a:moveTo>
                  <a:lnTo>
                    <a:pt x="186397" y="415556"/>
                  </a:lnTo>
                  <a:lnTo>
                    <a:pt x="167906" y="415556"/>
                  </a:lnTo>
                  <a:lnTo>
                    <a:pt x="160439" y="423049"/>
                  </a:lnTo>
                  <a:lnTo>
                    <a:pt x="160439" y="441591"/>
                  </a:lnTo>
                  <a:lnTo>
                    <a:pt x="167906" y="449072"/>
                  </a:lnTo>
                  <a:lnTo>
                    <a:pt x="186397" y="449072"/>
                  </a:lnTo>
                  <a:lnTo>
                    <a:pt x="193865" y="441591"/>
                  </a:lnTo>
                  <a:lnTo>
                    <a:pt x="193865" y="432320"/>
                  </a:lnTo>
                  <a:lnTo>
                    <a:pt x="193865" y="423049"/>
                  </a:lnTo>
                  <a:close/>
                </a:path>
                <a:path w="427989" h="449579">
                  <a:moveTo>
                    <a:pt x="213918" y="242074"/>
                  </a:moveTo>
                  <a:lnTo>
                    <a:pt x="206451" y="234594"/>
                  </a:lnTo>
                  <a:lnTo>
                    <a:pt x="187960" y="234594"/>
                  </a:lnTo>
                  <a:lnTo>
                    <a:pt x="180492" y="242074"/>
                  </a:lnTo>
                  <a:lnTo>
                    <a:pt x="180492" y="260616"/>
                  </a:lnTo>
                  <a:lnTo>
                    <a:pt x="187960" y="268109"/>
                  </a:lnTo>
                  <a:lnTo>
                    <a:pt x="206451" y="268109"/>
                  </a:lnTo>
                  <a:lnTo>
                    <a:pt x="213918" y="260616"/>
                  </a:lnTo>
                  <a:lnTo>
                    <a:pt x="213918" y="251345"/>
                  </a:lnTo>
                  <a:lnTo>
                    <a:pt x="213918" y="242074"/>
                  </a:lnTo>
                  <a:close/>
                </a:path>
                <a:path w="427989" h="449579">
                  <a:moveTo>
                    <a:pt x="227291" y="7493"/>
                  </a:moveTo>
                  <a:lnTo>
                    <a:pt x="219824" y="0"/>
                  </a:lnTo>
                  <a:lnTo>
                    <a:pt x="201333" y="0"/>
                  </a:lnTo>
                  <a:lnTo>
                    <a:pt x="193865" y="7493"/>
                  </a:lnTo>
                  <a:lnTo>
                    <a:pt x="193865" y="26035"/>
                  </a:lnTo>
                  <a:lnTo>
                    <a:pt x="201333" y="33515"/>
                  </a:lnTo>
                  <a:lnTo>
                    <a:pt x="219824" y="33515"/>
                  </a:lnTo>
                  <a:lnTo>
                    <a:pt x="227291" y="26035"/>
                  </a:lnTo>
                  <a:lnTo>
                    <a:pt x="227291" y="16764"/>
                  </a:lnTo>
                  <a:lnTo>
                    <a:pt x="227291" y="7493"/>
                  </a:lnTo>
                  <a:close/>
                </a:path>
                <a:path w="427989" h="449579">
                  <a:moveTo>
                    <a:pt x="247345" y="423049"/>
                  </a:moveTo>
                  <a:lnTo>
                    <a:pt x="239877" y="415556"/>
                  </a:lnTo>
                  <a:lnTo>
                    <a:pt x="221386" y="415556"/>
                  </a:lnTo>
                  <a:lnTo>
                    <a:pt x="213918" y="423049"/>
                  </a:lnTo>
                  <a:lnTo>
                    <a:pt x="213918" y="441591"/>
                  </a:lnTo>
                  <a:lnTo>
                    <a:pt x="221386" y="449072"/>
                  </a:lnTo>
                  <a:lnTo>
                    <a:pt x="239877" y="449072"/>
                  </a:lnTo>
                  <a:lnTo>
                    <a:pt x="247345" y="441591"/>
                  </a:lnTo>
                  <a:lnTo>
                    <a:pt x="247345" y="432320"/>
                  </a:lnTo>
                  <a:lnTo>
                    <a:pt x="247345" y="423049"/>
                  </a:lnTo>
                  <a:close/>
                </a:path>
                <a:path w="427989" h="449579">
                  <a:moveTo>
                    <a:pt x="260718" y="188455"/>
                  </a:moveTo>
                  <a:lnTo>
                    <a:pt x="253250" y="180975"/>
                  </a:lnTo>
                  <a:lnTo>
                    <a:pt x="234759" y="180975"/>
                  </a:lnTo>
                  <a:lnTo>
                    <a:pt x="227291" y="188455"/>
                  </a:lnTo>
                  <a:lnTo>
                    <a:pt x="227291" y="206997"/>
                  </a:lnTo>
                  <a:lnTo>
                    <a:pt x="234759" y="214490"/>
                  </a:lnTo>
                  <a:lnTo>
                    <a:pt x="253250" y="214490"/>
                  </a:lnTo>
                  <a:lnTo>
                    <a:pt x="260718" y="206997"/>
                  </a:lnTo>
                  <a:lnTo>
                    <a:pt x="260718" y="197726"/>
                  </a:lnTo>
                  <a:lnTo>
                    <a:pt x="260718" y="188455"/>
                  </a:lnTo>
                  <a:close/>
                </a:path>
                <a:path w="427989" h="449579">
                  <a:moveTo>
                    <a:pt x="280771" y="34302"/>
                  </a:moveTo>
                  <a:lnTo>
                    <a:pt x="273304" y="26809"/>
                  </a:lnTo>
                  <a:lnTo>
                    <a:pt x="254812" y="26809"/>
                  </a:lnTo>
                  <a:lnTo>
                    <a:pt x="247345" y="34302"/>
                  </a:lnTo>
                  <a:lnTo>
                    <a:pt x="247345" y="52844"/>
                  </a:lnTo>
                  <a:lnTo>
                    <a:pt x="254812" y="60325"/>
                  </a:lnTo>
                  <a:lnTo>
                    <a:pt x="273304" y="60325"/>
                  </a:lnTo>
                  <a:lnTo>
                    <a:pt x="280771" y="52844"/>
                  </a:lnTo>
                  <a:lnTo>
                    <a:pt x="280771" y="43573"/>
                  </a:lnTo>
                  <a:lnTo>
                    <a:pt x="280771" y="34302"/>
                  </a:lnTo>
                  <a:close/>
                </a:path>
                <a:path w="427989" h="449579">
                  <a:moveTo>
                    <a:pt x="294144" y="396240"/>
                  </a:moveTo>
                  <a:lnTo>
                    <a:pt x="286677" y="388747"/>
                  </a:lnTo>
                  <a:lnTo>
                    <a:pt x="268185" y="388747"/>
                  </a:lnTo>
                  <a:lnTo>
                    <a:pt x="260718" y="396240"/>
                  </a:lnTo>
                  <a:lnTo>
                    <a:pt x="260718" y="414782"/>
                  </a:lnTo>
                  <a:lnTo>
                    <a:pt x="268185" y="422262"/>
                  </a:lnTo>
                  <a:lnTo>
                    <a:pt x="286677" y="422262"/>
                  </a:lnTo>
                  <a:lnTo>
                    <a:pt x="294144" y="414782"/>
                  </a:lnTo>
                  <a:lnTo>
                    <a:pt x="294144" y="405511"/>
                  </a:lnTo>
                  <a:lnTo>
                    <a:pt x="294144" y="396240"/>
                  </a:lnTo>
                  <a:close/>
                </a:path>
                <a:path w="427989" h="449579">
                  <a:moveTo>
                    <a:pt x="307517" y="215265"/>
                  </a:moveTo>
                  <a:lnTo>
                    <a:pt x="300050" y="207784"/>
                  </a:lnTo>
                  <a:lnTo>
                    <a:pt x="281546" y="207784"/>
                  </a:lnTo>
                  <a:lnTo>
                    <a:pt x="274091" y="215265"/>
                  </a:lnTo>
                  <a:lnTo>
                    <a:pt x="274091" y="233807"/>
                  </a:lnTo>
                  <a:lnTo>
                    <a:pt x="281546" y="241300"/>
                  </a:lnTo>
                  <a:lnTo>
                    <a:pt x="300050" y="241300"/>
                  </a:lnTo>
                  <a:lnTo>
                    <a:pt x="307517" y="233807"/>
                  </a:lnTo>
                  <a:lnTo>
                    <a:pt x="307517" y="224536"/>
                  </a:lnTo>
                  <a:lnTo>
                    <a:pt x="307517" y="215265"/>
                  </a:lnTo>
                  <a:close/>
                </a:path>
                <a:path w="427989" h="449579">
                  <a:moveTo>
                    <a:pt x="327571" y="34302"/>
                  </a:moveTo>
                  <a:lnTo>
                    <a:pt x="320103" y="26809"/>
                  </a:lnTo>
                  <a:lnTo>
                    <a:pt x="301612" y="26809"/>
                  </a:lnTo>
                  <a:lnTo>
                    <a:pt x="294144" y="34302"/>
                  </a:lnTo>
                  <a:lnTo>
                    <a:pt x="294144" y="52844"/>
                  </a:lnTo>
                  <a:lnTo>
                    <a:pt x="301612" y="60325"/>
                  </a:lnTo>
                  <a:lnTo>
                    <a:pt x="320103" y="60325"/>
                  </a:lnTo>
                  <a:lnTo>
                    <a:pt x="327571" y="52844"/>
                  </a:lnTo>
                  <a:lnTo>
                    <a:pt x="327571" y="43573"/>
                  </a:lnTo>
                  <a:lnTo>
                    <a:pt x="327571" y="34302"/>
                  </a:lnTo>
                  <a:close/>
                </a:path>
                <a:path w="427989" h="449579">
                  <a:moveTo>
                    <a:pt x="340931" y="396240"/>
                  </a:moveTo>
                  <a:lnTo>
                    <a:pt x="333476" y="388747"/>
                  </a:lnTo>
                  <a:lnTo>
                    <a:pt x="314972" y="388747"/>
                  </a:lnTo>
                  <a:lnTo>
                    <a:pt x="307517" y="396240"/>
                  </a:lnTo>
                  <a:lnTo>
                    <a:pt x="307517" y="414782"/>
                  </a:lnTo>
                  <a:lnTo>
                    <a:pt x="314972" y="422262"/>
                  </a:lnTo>
                  <a:lnTo>
                    <a:pt x="333476" y="422262"/>
                  </a:lnTo>
                  <a:lnTo>
                    <a:pt x="340931" y="414782"/>
                  </a:lnTo>
                  <a:lnTo>
                    <a:pt x="340931" y="405511"/>
                  </a:lnTo>
                  <a:lnTo>
                    <a:pt x="340931" y="396240"/>
                  </a:lnTo>
                  <a:close/>
                </a:path>
                <a:path w="427989" h="449579">
                  <a:moveTo>
                    <a:pt x="360997" y="215265"/>
                  </a:moveTo>
                  <a:lnTo>
                    <a:pt x="353529" y="207784"/>
                  </a:lnTo>
                  <a:lnTo>
                    <a:pt x="335038" y="207784"/>
                  </a:lnTo>
                  <a:lnTo>
                    <a:pt x="327571" y="215265"/>
                  </a:lnTo>
                  <a:lnTo>
                    <a:pt x="327571" y="233807"/>
                  </a:lnTo>
                  <a:lnTo>
                    <a:pt x="335038" y="241300"/>
                  </a:lnTo>
                  <a:lnTo>
                    <a:pt x="353529" y="241300"/>
                  </a:lnTo>
                  <a:lnTo>
                    <a:pt x="360997" y="233807"/>
                  </a:lnTo>
                  <a:lnTo>
                    <a:pt x="360997" y="224536"/>
                  </a:lnTo>
                  <a:lnTo>
                    <a:pt x="360997" y="215265"/>
                  </a:lnTo>
                  <a:close/>
                </a:path>
                <a:path w="427989" h="449579">
                  <a:moveTo>
                    <a:pt x="374357" y="34302"/>
                  </a:moveTo>
                  <a:lnTo>
                    <a:pt x="366903" y="26809"/>
                  </a:lnTo>
                  <a:lnTo>
                    <a:pt x="348399" y="26809"/>
                  </a:lnTo>
                  <a:lnTo>
                    <a:pt x="340931" y="34302"/>
                  </a:lnTo>
                  <a:lnTo>
                    <a:pt x="340931" y="52844"/>
                  </a:lnTo>
                  <a:lnTo>
                    <a:pt x="348399" y="60325"/>
                  </a:lnTo>
                  <a:lnTo>
                    <a:pt x="366903" y="60325"/>
                  </a:lnTo>
                  <a:lnTo>
                    <a:pt x="374357" y="52844"/>
                  </a:lnTo>
                  <a:lnTo>
                    <a:pt x="374357" y="43573"/>
                  </a:lnTo>
                  <a:lnTo>
                    <a:pt x="374357" y="34302"/>
                  </a:lnTo>
                  <a:close/>
                </a:path>
                <a:path w="427989" h="449579">
                  <a:moveTo>
                    <a:pt x="394423" y="396240"/>
                  </a:moveTo>
                  <a:lnTo>
                    <a:pt x="386956" y="388747"/>
                  </a:lnTo>
                  <a:lnTo>
                    <a:pt x="368452" y="388747"/>
                  </a:lnTo>
                  <a:lnTo>
                    <a:pt x="360997" y="396240"/>
                  </a:lnTo>
                  <a:lnTo>
                    <a:pt x="360997" y="414782"/>
                  </a:lnTo>
                  <a:lnTo>
                    <a:pt x="368452" y="422262"/>
                  </a:lnTo>
                  <a:lnTo>
                    <a:pt x="386956" y="422262"/>
                  </a:lnTo>
                  <a:lnTo>
                    <a:pt x="394423" y="414782"/>
                  </a:lnTo>
                  <a:lnTo>
                    <a:pt x="394423" y="405511"/>
                  </a:lnTo>
                  <a:lnTo>
                    <a:pt x="394423" y="396240"/>
                  </a:lnTo>
                  <a:close/>
                </a:path>
                <a:path w="427989" h="449579">
                  <a:moveTo>
                    <a:pt x="407784" y="215265"/>
                  </a:moveTo>
                  <a:lnTo>
                    <a:pt x="400316" y="207784"/>
                  </a:lnTo>
                  <a:lnTo>
                    <a:pt x="381825" y="207784"/>
                  </a:lnTo>
                  <a:lnTo>
                    <a:pt x="374357" y="215265"/>
                  </a:lnTo>
                  <a:lnTo>
                    <a:pt x="374357" y="233807"/>
                  </a:lnTo>
                  <a:lnTo>
                    <a:pt x="381825" y="241300"/>
                  </a:lnTo>
                  <a:lnTo>
                    <a:pt x="400316" y="241300"/>
                  </a:lnTo>
                  <a:lnTo>
                    <a:pt x="407784" y="233807"/>
                  </a:lnTo>
                  <a:lnTo>
                    <a:pt x="407784" y="224536"/>
                  </a:lnTo>
                  <a:lnTo>
                    <a:pt x="407784" y="215265"/>
                  </a:lnTo>
                  <a:close/>
                </a:path>
                <a:path w="427989" h="449579">
                  <a:moveTo>
                    <a:pt x="427837" y="34302"/>
                  </a:moveTo>
                  <a:lnTo>
                    <a:pt x="420382" y="26809"/>
                  </a:lnTo>
                  <a:lnTo>
                    <a:pt x="401878" y="26809"/>
                  </a:lnTo>
                  <a:lnTo>
                    <a:pt x="394423" y="34302"/>
                  </a:lnTo>
                  <a:lnTo>
                    <a:pt x="394423" y="52844"/>
                  </a:lnTo>
                  <a:lnTo>
                    <a:pt x="401878" y="60325"/>
                  </a:lnTo>
                  <a:lnTo>
                    <a:pt x="420382" y="60325"/>
                  </a:lnTo>
                  <a:lnTo>
                    <a:pt x="427837" y="52844"/>
                  </a:lnTo>
                  <a:lnTo>
                    <a:pt x="427837" y="43573"/>
                  </a:lnTo>
                  <a:lnTo>
                    <a:pt x="427837" y="34302"/>
                  </a:lnTo>
                  <a:close/>
                </a:path>
              </a:pathLst>
            </a:custGeom>
            <a:solidFill>
              <a:srgbClr val="1F487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7" name="object 27"/>
            <p:cNvSpPr/>
            <p:nvPr/>
          </p:nvSpPr>
          <p:spPr>
            <a:xfrm>
              <a:off x="6904016" y="4916371"/>
              <a:ext cx="1678305" cy="730885"/>
            </a:xfrm>
            <a:custGeom>
              <a:avLst/>
              <a:gdLst/>
              <a:ahLst/>
              <a:cxnLst/>
              <a:rect l="l" t="t" r="r" b="b"/>
              <a:pathLst>
                <a:path w="1678304" h="730885">
                  <a:moveTo>
                    <a:pt x="33425" y="730576"/>
                  </a:moveTo>
                  <a:lnTo>
                    <a:pt x="1677945" y="730576"/>
                  </a:lnTo>
                </a:path>
                <a:path w="1678304" h="730885">
                  <a:moveTo>
                    <a:pt x="33425" y="549607"/>
                  </a:moveTo>
                  <a:lnTo>
                    <a:pt x="1677945" y="549607"/>
                  </a:lnTo>
                </a:path>
                <a:path w="1678304" h="730885">
                  <a:moveTo>
                    <a:pt x="33425" y="180968"/>
                  </a:moveTo>
                  <a:lnTo>
                    <a:pt x="1677945" y="180968"/>
                  </a:lnTo>
                </a:path>
                <a:path w="1678304" h="730885">
                  <a:moveTo>
                    <a:pt x="33425" y="0"/>
                  </a:moveTo>
                  <a:lnTo>
                    <a:pt x="1677945" y="0"/>
                  </a:lnTo>
                </a:path>
                <a:path w="1678304" h="730885">
                  <a:moveTo>
                    <a:pt x="33425" y="730576"/>
                  </a:moveTo>
                  <a:lnTo>
                    <a:pt x="33425" y="0"/>
                  </a:lnTo>
                </a:path>
                <a:path w="1678304" h="730885">
                  <a:moveTo>
                    <a:pt x="0" y="730576"/>
                  </a:moveTo>
                  <a:lnTo>
                    <a:pt x="33425" y="730576"/>
                  </a:lnTo>
                </a:path>
                <a:path w="1678304" h="730885">
                  <a:moveTo>
                    <a:pt x="0" y="549607"/>
                  </a:moveTo>
                  <a:lnTo>
                    <a:pt x="33425" y="549607"/>
                  </a:lnTo>
                </a:path>
                <a:path w="1678304" h="730885">
                  <a:moveTo>
                    <a:pt x="0" y="368639"/>
                  </a:moveTo>
                  <a:lnTo>
                    <a:pt x="33425" y="368639"/>
                  </a:lnTo>
                </a:path>
                <a:path w="1678304" h="730885">
                  <a:moveTo>
                    <a:pt x="0" y="180968"/>
                  </a:moveTo>
                  <a:lnTo>
                    <a:pt x="33425" y="180968"/>
                  </a:lnTo>
                </a:path>
                <a:path w="1678304" h="730885">
                  <a:moveTo>
                    <a:pt x="0" y="0"/>
                  </a:moveTo>
                  <a:lnTo>
                    <a:pt x="33425" y="0"/>
                  </a:lnTo>
                </a:path>
                <a:path w="1678304" h="730885">
                  <a:moveTo>
                    <a:pt x="33425" y="368639"/>
                  </a:moveTo>
                  <a:lnTo>
                    <a:pt x="1677945" y="368639"/>
                  </a:lnTo>
                </a:path>
              </a:pathLst>
            </a:custGeom>
            <a:ln w="6700">
              <a:solidFill>
                <a:srgbClr val="85858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8" name="object 28"/>
            <p:cNvSpPr/>
            <p:nvPr/>
          </p:nvSpPr>
          <p:spPr>
            <a:xfrm>
              <a:off x="6934098" y="5080584"/>
              <a:ext cx="1270635" cy="395605"/>
            </a:xfrm>
            <a:custGeom>
              <a:avLst/>
              <a:gdLst/>
              <a:ahLst/>
              <a:cxnLst/>
              <a:rect l="l" t="t" r="r" b="b"/>
              <a:pathLst>
                <a:path w="1270634" h="395604">
                  <a:moveTo>
                    <a:pt x="33413" y="369430"/>
                  </a:moveTo>
                  <a:lnTo>
                    <a:pt x="25958" y="361937"/>
                  </a:lnTo>
                  <a:lnTo>
                    <a:pt x="7454" y="361937"/>
                  </a:lnTo>
                  <a:lnTo>
                    <a:pt x="0" y="369430"/>
                  </a:lnTo>
                  <a:lnTo>
                    <a:pt x="0" y="387972"/>
                  </a:lnTo>
                  <a:lnTo>
                    <a:pt x="7454" y="395452"/>
                  </a:lnTo>
                  <a:lnTo>
                    <a:pt x="25958" y="395452"/>
                  </a:lnTo>
                  <a:lnTo>
                    <a:pt x="33413" y="387972"/>
                  </a:lnTo>
                  <a:lnTo>
                    <a:pt x="33413" y="378701"/>
                  </a:lnTo>
                  <a:lnTo>
                    <a:pt x="33413" y="369430"/>
                  </a:lnTo>
                  <a:close/>
                </a:path>
                <a:path w="1270634" h="395604">
                  <a:moveTo>
                    <a:pt x="53479" y="188455"/>
                  </a:moveTo>
                  <a:lnTo>
                    <a:pt x="46012" y="180975"/>
                  </a:lnTo>
                  <a:lnTo>
                    <a:pt x="27520" y="180975"/>
                  </a:lnTo>
                  <a:lnTo>
                    <a:pt x="20053" y="188455"/>
                  </a:lnTo>
                  <a:lnTo>
                    <a:pt x="20053" y="206997"/>
                  </a:lnTo>
                  <a:lnTo>
                    <a:pt x="27520" y="214490"/>
                  </a:lnTo>
                  <a:lnTo>
                    <a:pt x="46012" y="214490"/>
                  </a:lnTo>
                  <a:lnTo>
                    <a:pt x="53479" y="206997"/>
                  </a:lnTo>
                  <a:lnTo>
                    <a:pt x="53479" y="197726"/>
                  </a:lnTo>
                  <a:lnTo>
                    <a:pt x="53479" y="188455"/>
                  </a:lnTo>
                  <a:close/>
                </a:path>
                <a:path w="1270634" h="395604">
                  <a:moveTo>
                    <a:pt x="66840" y="7493"/>
                  </a:moveTo>
                  <a:lnTo>
                    <a:pt x="59385" y="0"/>
                  </a:lnTo>
                  <a:lnTo>
                    <a:pt x="40881" y="0"/>
                  </a:lnTo>
                  <a:lnTo>
                    <a:pt x="33413" y="7493"/>
                  </a:lnTo>
                  <a:lnTo>
                    <a:pt x="33413" y="26035"/>
                  </a:lnTo>
                  <a:lnTo>
                    <a:pt x="40881" y="33515"/>
                  </a:lnTo>
                  <a:lnTo>
                    <a:pt x="59385" y="33515"/>
                  </a:lnTo>
                  <a:lnTo>
                    <a:pt x="66840" y="26035"/>
                  </a:lnTo>
                  <a:lnTo>
                    <a:pt x="66840" y="16764"/>
                  </a:lnTo>
                  <a:lnTo>
                    <a:pt x="66840" y="7493"/>
                  </a:lnTo>
                  <a:close/>
                </a:path>
                <a:path w="1270634" h="395604">
                  <a:moveTo>
                    <a:pt x="86906" y="369430"/>
                  </a:moveTo>
                  <a:lnTo>
                    <a:pt x="79438" y="361937"/>
                  </a:lnTo>
                  <a:lnTo>
                    <a:pt x="60934" y="361937"/>
                  </a:lnTo>
                  <a:lnTo>
                    <a:pt x="53479" y="369430"/>
                  </a:lnTo>
                  <a:lnTo>
                    <a:pt x="53479" y="387972"/>
                  </a:lnTo>
                  <a:lnTo>
                    <a:pt x="60934" y="395452"/>
                  </a:lnTo>
                  <a:lnTo>
                    <a:pt x="79438" y="395452"/>
                  </a:lnTo>
                  <a:lnTo>
                    <a:pt x="86906" y="387972"/>
                  </a:lnTo>
                  <a:lnTo>
                    <a:pt x="86906" y="378701"/>
                  </a:lnTo>
                  <a:lnTo>
                    <a:pt x="86906" y="369430"/>
                  </a:lnTo>
                  <a:close/>
                </a:path>
                <a:path w="1270634" h="395604">
                  <a:moveTo>
                    <a:pt x="100266" y="188455"/>
                  </a:moveTo>
                  <a:lnTo>
                    <a:pt x="92811" y="180975"/>
                  </a:lnTo>
                  <a:lnTo>
                    <a:pt x="74307" y="180975"/>
                  </a:lnTo>
                  <a:lnTo>
                    <a:pt x="66840" y="188455"/>
                  </a:lnTo>
                  <a:lnTo>
                    <a:pt x="66840" y="206997"/>
                  </a:lnTo>
                  <a:lnTo>
                    <a:pt x="74307" y="214490"/>
                  </a:lnTo>
                  <a:lnTo>
                    <a:pt x="92811" y="214490"/>
                  </a:lnTo>
                  <a:lnTo>
                    <a:pt x="100266" y="206997"/>
                  </a:lnTo>
                  <a:lnTo>
                    <a:pt x="100266" y="197726"/>
                  </a:lnTo>
                  <a:lnTo>
                    <a:pt x="100266" y="188455"/>
                  </a:lnTo>
                  <a:close/>
                </a:path>
                <a:path w="1270634" h="395604">
                  <a:moveTo>
                    <a:pt x="120319" y="7493"/>
                  </a:moveTo>
                  <a:lnTo>
                    <a:pt x="112864" y="0"/>
                  </a:lnTo>
                  <a:lnTo>
                    <a:pt x="94361" y="0"/>
                  </a:lnTo>
                  <a:lnTo>
                    <a:pt x="86906" y="7493"/>
                  </a:lnTo>
                  <a:lnTo>
                    <a:pt x="86906" y="26035"/>
                  </a:lnTo>
                  <a:lnTo>
                    <a:pt x="94361" y="33515"/>
                  </a:lnTo>
                  <a:lnTo>
                    <a:pt x="112864" y="33515"/>
                  </a:lnTo>
                  <a:lnTo>
                    <a:pt x="120319" y="26035"/>
                  </a:lnTo>
                  <a:lnTo>
                    <a:pt x="120319" y="16764"/>
                  </a:lnTo>
                  <a:lnTo>
                    <a:pt x="120319" y="7493"/>
                  </a:lnTo>
                  <a:close/>
                </a:path>
                <a:path w="1270634" h="395604">
                  <a:moveTo>
                    <a:pt x="133692" y="369430"/>
                  </a:moveTo>
                  <a:lnTo>
                    <a:pt x="126225" y="361937"/>
                  </a:lnTo>
                  <a:lnTo>
                    <a:pt x="107734" y="361937"/>
                  </a:lnTo>
                  <a:lnTo>
                    <a:pt x="100266" y="369430"/>
                  </a:lnTo>
                  <a:lnTo>
                    <a:pt x="100266" y="387972"/>
                  </a:lnTo>
                  <a:lnTo>
                    <a:pt x="107734" y="395452"/>
                  </a:lnTo>
                  <a:lnTo>
                    <a:pt x="126225" y="395452"/>
                  </a:lnTo>
                  <a:lnTo>
                    <a:pt x="133692" y="387972"/>
                  </a:lnTo>
                  <a:lnTo>
                    <a:pt x="133692" y="378701"/>
                  </a:lnTo>
                  <a:lnTo>
                    <a:pt x="133692" y="369430"/>
                  </a:lnTo>
                  <a:close/>
                </a:path>
                <a:path w="1270634" h="395604">
                  <a:moveTo>
                    <a:pt x="153746" y="188455"/>
                  </a:moveTo>
                  <a:lnTo>
                    <a:pt x="146291" y="180975"/>
                  </a:lnTo>
                  <a:lnTo>
                    <a:pt x="127787" y="180975"/>
                  </a:lnTo>
                  <a:lnTo>
                    <a:pt x="120319" y="188455"/>
                  </a:lnTo>
                  <a:lnTo>
                    <a:pt x="120319" y="206997"/>
                  </a:lnTo>
                  <a:lnTo>
                    <a:pt x="127787" y="214490"/>
                  </a:lnTo>
                  <a:lnTo>
                    <a:pt x="146291" y="214490"/>
                  </a:lnTo>
                  <a:lnTo>
                    <a:pt x="153746" y="206997"/>
                  </a:lnTo>
                  <a:lnTo>
                    <a:pt x="153746" y="197726"/>
                  </a:lnTo>
                  <a:lnTo>
                    <a:pt x="153746" y="188455"/>
                  </a:lnTo>
                  <a:close/>
                </a:path>
                <a:path w="1270634" h="395604">
                  <a:moveTo>
                    <a:pt x="167119" y="7493"/>
                  </a:moveTo>
                  <a:lnTo>
                    <a:pt x="159651" y="0"/>
                  </a:lnTo>
                  <a:lnTo>
                    <a:pt x="141160" y="0"/>
                  </a:lnTo>
                  <a:lnTo>
                    <a:pt x="133692" y="7493"/>
                  </a:lnTo>
                  <a:lnTo>
                    <a:pt x="133692" y="26035"/>
                  </a:lnTo>
                  <a:lnTo>
                    <a:pt x="141160" y="33515"/>
                  </a:lnTo>
                  <a:lnTo>
                    <a:pt x="159651" y="33515"/>
                  </a:lnTo>
                  <a:lnTo>
                    <a:pt x="167119" y="26035"/>
                  </a:lnTo>
                  <a:lnTo>
                    <a:pt x="167119" y="16764"/>
                  </a:lnTo>
                  <a:lnTo>
                    <a:pt x="167119" y="7493"/>
                  </a:lnTo>
                  <a:close/>
                </a:path>
                <a:path w="1270634" h="395604">
                  <a:moveTo>
                    <a:pt x="180492" y="369430"/>
                  </a:moveTo>
                  <a:lnTo>
                    <a:pt x="173024" y="361937"/>
                  </a:lnTo>
                  <a:lnTo>
                    <a:pt x="154533" y="361937"/>
                  </a:lnTo>
                  <a:lnTo>
                    <a:pt x="147066" y="369430"/>
                  </a:lnTo>
                  <a:lnTo>
                    <a:pt x="147066" y="387972"/>
                  </a:lnTo>
                  <a:lnTo>
                    <a:pt x="154533" y="395452"/>
                  </a:lnTo>
                  <a:lnTo>
                    <a:pt x="173024" y="395452"/>
                  </a:lnTo>
                  <a:lnTo>
                    <a:pt x="180492" y="387972"/>
                  </a:lnTo>
                  <a:lnTo>
                    <a:pt x="180492" y="378701"/>
                  </a:lnTo>
                  <a:lnTo>
                    <a:pt x="180492" y="369430"/>
                  </a:lnTo>
                  <a:close/>
                </a:path>
                <a:path w="1270634" h="395604">
                  <a:moveTo>
                    <a:pt x="200545" y="188455"/>
                  </a:moveTo>
                  <a:lnTo>
                    <a:pt x="193078" y="180975"/>
                  </a:lnTo>
                  <a:lnTo>
                    <a:pt x="174586" y="180975"/>
                  </a:lnTo>
                  <a:lnTo>
                    <a:pt x="167119" y="188455"/>
                  </a:lnTo>
                  <a:lnTo>
                    <a:pt x="167119" y="206997"/>
                  </a:lnTo>
                  <a:lnTo>
                    <a:pt x="174586" y="214490"/>
                  </a:lnTo>
                  <a:lnTo>
                    <a:pt x="193078" y="214490"/>
                  </a:lnTo>
                  <a:lnTo>
                    <a:pt x="200545" y="206997"/>
                  </a:lnTo>
                  <a:lnTo>
                    <a:pt x="200545" y="197726"/>
                  </a:lnTo>
                  <a:lnTo>
                    <a:pt x="200545" y="188455"/>
                  </a:lnTo>
                  <a:close/>
                </a:path>
                <a:path w="1270634" h="395604">
                  <a:moveTo>
                    <a:pt x="213918" y="7493"/>
                  </a:moveTo>
                  <a:lnTo>
                    <a:pt x="206451" y="0"/>
                  </a:lnTo>
                  <a:lnTo>
                    <a:pt x="187960" y="0"/>
                  </a:lnTo>
                  <a:lnTo>
                    <a:pt x="180492" y="7493"/>
                  </a:lnTo>
                  <a:lnTo>
                    <a:pt x="180492" y="26035"/>
                  </a:lnTo>
                  <a:lnTo>
                    <a:pt x="187960" y="33515"/>
                  </a:lnTo>
                  <a:lnTo>
                    <a:pt x="206451" y="33515"/>
                  </a:lnTo>
                  <a:lnTo>
                    <a:pt x="213918" y="26035"/>
                  </a:lnTo>
                  <a:lnTo>
                    <a:pt x="213918" y="16764"/>
                  </a:lnTo>
                  <a:lnTo>
                    <a:pt x="213918" y="7493"/>
                  </a:lnTo>
                  <a:close/>
                </a:path>
                <a:path w="1270634" h="395604">
                  <a:moveTo>
                    <a:pt x="233972" y="369430"/>
                  </a:moveTo>
                  <a:lnTo>
                    <a:pt x="226504" y="361937"/>
                  </a:lnTo>
                  <a:lnTo>
                    <a:pt x="208013" y="361937"/>
                  </a:lnTo>
                  <a:lnTo>
                    <a:pt x="200545" y="369430"/>
                  </a:lnTo>
                  <a:lnTo>
                    <a:pt x="200545" y="387972"/>
                  </a:lnTo>
                  <a:lnTo>
                    <a:pt x="208013" y="395452"/>
                  </a:lnTo>
                  <a:lnTo>
                    <a:pt x="226504" y="395452"/>
                  </a:lnTo>
                  <a:lnTo>
                    <a:pt x="233972" y="387972"/>
                  </a:lnTo>
                  <a:lnTo>
                    <a:pt x="233972" y="378701"/>
                  </a:lnTo>
                  <a:lnTo>
                    <a:pt x="233972" y="369430"/>
                  </a:lnTo>
                  <a:close/>
                </a:path>
                <a:path w="1270634" h="395604">
                  <a:moveTo>
                    <a:pt x="247345" y="188455"/>
                  </a:moveTo>
                  <a:lnTo>
                    <a:pt x="239877" y="180975"/>
                  </a:lnTo>
                  <a:lnTo>
                    <a:pt x="221386" y="180975"/>
                  </a:lnTo>
                  <a:lnTo>
                    <a:pt x="213918" y="188455"/>
                  </a:lnTo>
                  <a:lnTo>
                    <a:pt x="213918" y="206997"/>
                  </a:lnTo>
                  <a:lnTo>
                    <a:pt x="221386" y="214490"/>
                  </a:lnTo>
                  <a:lnTo>
                    <a:pt x="239877" y="214490"/>
                  </a:lnTo>
                  <a:lnTo>
                    <a:pt x="247345" y="206997"/>
                  </a:lnTo>
                  <a:lnTo>
                    <a:pt x="247345" y="197726"/>
                  </a:lnTo>
                  <a:lnTo>
                    <a:pt x="247345" y="188455"/>
                  </a:lnTo>
                  <a:close/>
                </a:path>
                <a:path w="1270634" h="395604">
                  <a:moveTo>
                    <a:pt x="267398" y="7493"/>
                  </a:moveTo>
                  <a:lnTo>
                    <a:pt x="259930" y="0"/>
                  </a:lnTo>
                  <a:lnTo>
                    <a:pt x="241439" y="0"/>
                  </a:lnTo>
                  <a:lnTo>
                    <a:pt x="233972" y="7493"/>
                  </a:lnTo>
                  <a:lnTo>
                    <a:pt x="233972" y="26035"/>
                  </a:lnTo>
                  <a:lnTo>
                    <a:pt x="241439" y="33515"/>
                  </a:lnTo>
                  <a:lnTo>
                    <a:pt x="259930" y="33515"/>
                  </a:lnTo>
                  <a:lnTo>
                    <a:pt x="267398" y="26035"/>
                  </a:lnTo>
                  <a:lnTo>
                    <a:pt x="267398" y="16764"/>
                  </a:lnTo>
                  <a:lnTo>
                    <a:pt x="267398" y="7493"/>
                  </a:lnTo>
                  <a:close/>
                </a:path>
                <a:path w="1270634" h="395604">
                  <a:moveTo>
                    <a:pt x="280771" y="369430"/>
                  </a:moveTo>
                  <a:lnTo>
                    <a:pt x="273304" y="361937"/>
                  </a:lnTo>
                  <a:lnTo>
                    <a:pt x="254800" y="361937"/>
                  </a:lnTo>
                  <a:lnTo>
                    <a:pt x="247345" y="369430"/>
                  </a:lnTo>
                  <a:lnTo>
                    <a:pt x="247345" y="387972"/>
                  </a:lnTo>
                  <a:lnTo>
                    <a:pt x="254800" y="395452"/>
                  </a:lnTo>
                  <a:lnTo>
                    <a:pt x="273304" y="395452"/>
                  </a:lnTo>
                  <a:lnTo>
                    <a:pt x="280771" y="387972"/>
                  </a:lnTo>
                  <a:lnTo>
                    <a:pt x="280771" y="378701"/>
                  </a:lnTo>
                  <a:lnTo>
                    <a:pt x="280771" y="369430"/>
                  </a:lnTo>
                  <a:close/>
                </a:path>
                <a:path w="1270634" h="395604">
                  <a:moveTo>
                    <a:pt x="300824" y="188455"/>
                  </a:moveTo>
                  <a:lnTo>
                    <a:pt x="293357" y="180975"/>
                  </a:lnTo>
                  <a:lnTo>
                    <a:pt x="274866" y="180975"/>
                  </a:lnTo>
                  <a:lnTo>
                    <a:pt x="267398" y="188455"/>
                  </a:lnTo>
                  <a:lnTo>
                    <a:pt x="267398" y="206997"/>
                  </a:lnTo>
                  <a:lnTo>
                    <a:pt x="274866" y="214490"/>
                  </a:lnTo>
                  <a:lnTo>
                    <a:pt x="293357" y="214490"/>
                  </a:lnTo>
                  <a:lnTo>
                    <a:pt x="300824" y="206997"/>
                  </a:lnTo>
                  <a:lnTo>
                    <a:pt x="300824" y="197726"/>
                  </a:lnTo>
                  <a:lnTo>
                    <a:pt x="300824" y="188455"/>
                  </a:lnTo>
                  <a:close/>
                </a:path>
                <a:path w="1270634" h="395604">
                  <a:moveTo>
                    <a:pt x="314198" y="7493"/>
                  </a:moveTo>
                  <a:lnTo>
                    <a:pt x="306730" y="0"/>
                  </a:lnTo>
                  <a:lnTo>
                    <a:pt x="288226" y="0"/>
                  </a:lnTo>
                  <a:lnTo>
                    <a:pt x="280771" y="7493"/>
                  </a:lnTo>
                  <a:lnTo>
                    <a:pt x="280771" y="26035"/>
                  </a:lnTo>
                  <a:lnTo>
                    <a:pt x="288226" y="33515"/>
                  </a:lnTo>
                  <a:lnTo>
                    <a:pt x="306730" y="33515"/>
                  </a:lnTo>
                  <a:lnTo>
                    <a:pt x="314198" y="26035"/>
                  </a:lnTo>
                  <a:lnTo>
                    <a:pt x="314198" y="16764"/>
                  </a:lnTo>
                  <a:lnTo>
                    <a:pt x="314198" y="7493"/>
                  </a:lnTo>
                  <a:close/>
                </a:path>
                <a:path w="1270634" h="395604">
                  <a:moveTo>
                    <a:pt x="334251" y="369430"/>
                  </a:moveTo>
                  <a:lnTo>
                    <a:pt x="326783" y="361937"/>
                  </a:lnTo>
                  <a:lnTo>
                    <a:pt x="308292" y="361937"/>
                  </a:lnTo>
                  <a:lnTo>
                    <a:pt x="300824" y="369430"/>
                  </a:lnTo>
                  <a:lnTo>
                    <a:pt x="300824" y="387972"/>
                  </a:lnTo>
                  <a:lnTo>
                    <a:pt x="308292" y="395452"/>
                  </a:lnTo>
                  <a:lnTo>
                    <a:pt x="326783" y="395452"/>
                  </a:lnTo>
                  <a:lnTo>
                    <a:pt x="334251" y="387972"/>
                  </a:lnTo>
                  <a:lnTo>
                    <a:pt x="334251" y="378701"/>
                  </a:lnTo>
                  <a:lnTo>
                    <a:pt x="334251" y="369430"/>
                  </a:lnTo>
                  <a:close/>
                </a:path>
                <a:path w="1270634" h="395604">
                  <a:moveTo>
                    <a:pt x="347611" y="188455"/>
                  </a:moveTo>
                  <a:lnTo>
                    <a:pt x="340156" y="180975"/>
                  </a:lnTo>
                  <a:lnTo>
                    <a:pt x="321652" y="180975"/>
                  </a:lnTo>
                  <a:lnTo>
                    <a:pt x="314198" y="188455"/>
                  </a:lnTo>
                  <a:lnTo>
                    <a:pt x="314198" y="206997"/>
                  </a:lnTo>
                  <a:lnTo>
                    <a:pt x="321652" y="214490"/>
                  </a:lnTo>
                  <a:lnTo>
                    <a:pt x="340156" y="214490"/>
                  </a:lnTo>
                  <a:lnTo>
                    <a:pt x="347611" y="206997"/>
                  </a:lnTo>
                  <a:lnTo>
                    <a:pt x="347611" y="197726"/>
                  </a:lnTo>
                  <a:lnTo>
                    <a:pt x="347611" y="188455"/>
                  </a:lnTo>
                  <a:close/>
                </a:path>
                <a:path w="1270634" h="395604">
                  <a:moveTo>
                    <a:pt x="360984" y="7493"/>
                  </a:moveTo>
                  <a:lnTo>
                    <a:pt x="353517" y="0"/>
                  </a:lnTo>
                  <a:lnTo>
                    <a:pt x="335026" y="0"/>
                  </a:lnTo>
                  <a:lnTo>
                    <a:pt x="327558" y="7493"/>
                  </a:lnTo>
                  <a:lnTo>
                    <a:pt x="327558" y="26035"/>
                  </a:lnTo>
                  <a:lnTo>
                    <a:pt x="335026" y="33515"/>
                  </a:lnTo>
                  <a:lnTo>
                    <a:pt x="353517" y="33515"/>
                  </a:lnTo>
                  <a:lnTo>
                    <a:pt x="360984" y="26035"/>
                  </a:lnTo>
                  <a:lnTo>
                    <a:pt x="360984" y="16764"/>
                  </a:lnTo>
                  <a:lnTo>
                    <a:pt x="360984" y="7493"/>
                  </a:lnTo>
                  <a:close/>
                </a:path>
                <a:path w="1270634" h="395604">
                  <a:moveTo>
                    <a:pt x="381038" y="369430"/>
                  </a:moveTo>
                  <a:lnTo>
                    <a:pt x="373583" y="361937"/>
                  </a:lnTo>
                  <a:lnTo>
                    <a:pt x="355079" y="361937"/>
                  </a:lnTo>
                  <a:lnTo>
                    <a:pt x="347611" y="369430"/>
                  </a:lnTo>
                  <a:lnTo>
                    <a:pt x="347611" y="387972"/>
                  </a:lnTo>
                  <a:lnTo>
                    <a:pt x="355079" y="395452"/>
                  </a:lnTo>
                  <a:lnTo>
                    <a:pt x="373583" y="395452"/>
                  </a:lnTo>
                  <a:lnTo>
                    <a:pt x="381038" y="387972"/>
                  </a:lnTo>
                  <a:lnTo>
                    <a:pt x="381038" y="378701"/>
                  </a:lnTo>
                  <a:lnTo>
                    <a:pt x="381038" y="369430"/>
                  </a:lnTo>
                  <a:close/>
                </a:path>
                <a:path w="1270634" h="395604">
                  <a:moveTo>
                    <a:pt x="394411" y="188455"/>
                  </a:moveTo>
                  <a:lnTo>
                    <a:pt x="386943" y="180975"/>
                  </a:lnTo>
                  <a:lnTo>
                    <a:pt x="368452" y="180975"/>
                  </a:lnTo>
                  <a:lnTo>
                    <a:pt x="360984" y="188455"/>
                  </a:lnTo>
                  <a:lnTo>
                    <a:pt x="360984" y="206997"/>
                  </a:lnTo>
                  <a:lnTo>
                    <a:pt x="368452" y="214490"/>
                  </a:lnTo>
                  <a:lnTo>
                    <a:pt x="386943" y="214490"/>
                  </a:lnTo>
                  <a:lnTo>
                    <a:pt x="394411" y="206997"/>
                  </a:lnTo>
                  <a:lnTo>
                    <a:pt x="394411" y="197726"/>
                  </a:lnTo>
                  <a:lnTo>
                    <a:pt x="394411" y="188455"/>
                  </a:lnTo>
                  <a:close/>
                </a:path>
                <a:path w="1270634" h="395604">
                  <a:moveTo>
                    <a:pt x="414464" y="7493"/>
                  </a:moveTo>
                  <a:lnTo>
                    <a:pt x="406996" y="0"/>
                  </a:lnTo>
                  <a:lnTo>
                    <a:pt x="388505" y="0"/>
                  </a:lnTo>
                  <a:lnTo>
                    <a:pt x="381038" y="7493"/>
                  </a:lnTo>
                  <a:lnTo>
                    <a:pt x="381038" y="26035"/>
                  </a:lnTo>
                  <a:lnTo>
                    <a:pt x="388505" y="33515"/>
                  </a:lnTo>
                  <a:lnTo>
                    <a:pt x="406996" y="33515"/>
                  </a:lnTo>
                  <a:lnTo>
                    <a:pt x="414464" y="26035"/>
                  </a:lnTo>
                  <a:lnTo>
                    <a:pt x="414464" y="16764"/>
                  </a:lnTo>
                  <a:lnTo>
                    <a:pt x="414464" y="7493"/>
                  </a:lnTo>
                  <a:close/>
                </a:path>
                <a:path w="1270634" h="395604">
                  <a:moveTo>
                    <a:pt x="427837" y="369430"/>
                  </a:moveTo>
                  <a:lnTo>
                    <a:pt x="420370" y="361937"/>
                  </a:lnTo>
                  <a:lnTo>
                    <a:pt x="401878" y="361937"/>
                  </a:lnTo>
                  <a:lnTo>
                    <a:pt x="394411" y="369430"/>
                  </a:lnTo>
                  <a:lnTo>
                    <a:pt x="394411" y="387972"/>
                  </a:lnTo>
                  <a:lnTo>
                    <a:pt x="401878" y="395452"/>
                  </a:lnTo>
                  <a:lnTo>
                    <a:pt x="420370" y="395452"/>
                  </a:lnTo>
                  <a:lnTo>
                    <a:pt x="427837" y="387972"/>
                  </a:lnTo>
                  <a:lnTo>
                    <a:pt x="427837" y="378701"/>
                  </a:lnTo>
                  <a:lnTo>
                    <a:pt x="427837" y="369430"/>
                  </a:lnTo>
                  <a:close/>
                </a:path>
                <a:path w="1270634" h="395604">
                  <a:moveTo>
                    <a:pt x="447890" y="188455"/>
                  </a:moveTo>
                  <a:lnTo>
                    <a:pt x="440423" y="180975"/>
                  </a:lnTo>
                  <a:lnTo>
                    <a:pt x="421932" y="180975"/>
                  </a:lnTo>
                  <a:lnTo>
                    <a:pt x="414464" y="188455"/>
                  </a:lnTo>
                  <a:lnTo>
                    <a:pt x="414464" y="206997"/>
                  </a:lnTo>
                  <a:lnTo>
                    <a:pt x="421932" y="214490"/>
                  </a:lnTo>
                  <a:lnTo>
                    <a:pt x="440423" y="214490"/>
                  </a:lnTo>
                  <a:lnTo>
                    <a:pt x="447890" y="206997"/>
                  </a:lnTo>
                  <a:lnTo>
                    <a:pt x="447890" y="197726"/>
                  </a:lnTo>
                  <a:lnTo>
                    <a:pt x="447890" y="188455"/>
                  </a:lnTo>
                  <a:close/>
                </a:path>
                <a:path w="1270634" h="395604">
                  <a:moveTo>
                    <a:pt x="461264" y="7493"/>
                  </a:moveTo>
                  <a:lnTo>
                    <a:pt x="453796" y="0"/>
                  </a:lnTo>
                  <a:lnTo>
                    <a:pt x="435305" y="0"/>
                  </a:lnTo>
                  <a:lnTo>
                    <a:pt x="427837" y="7493"/>
                  </a:lnTo>
                  <a:lnTo>
                    <a:pt x="427837" y="26035"/>
                  </a:lnTo>
                  <a:lnTo>
                    <a:pt x="435305" y="33515"/>
                  </a:lnTo>
                  <a:lnTo>
                    <a:pt x="453796" y="33515"/>
                  </a:lnTo>
                  <a:lnTo>
                    <a:pt x="461264" y="26035"/>
                  </a:lnTo>
                  <a:lnTo>
                    <a:pt x="461264" y="16764"/>
                  </a:lnTo>
                  <a:lnTo>
                    <a:pt x="461264" y="7493"/>
                  </a:lnTo>
                  <a:close/>
                </a:path>
                <a:path w="1270634" h="395604">
                  <a:moveTo>
                    <a:pt x="481317" y="369430"/>
                  </a:moveTo>
                  <a:lnTo>
                    <a:pt x="473849" y="361937"/>
                  </a:lnTo>
                  <a:lnTo>
                    <a:pt x="455358" y="361937"/>
                  </a:lnTo>
                  <a:lnTo>
                    <a:pt x="447890" y="369430"/>
                  </a:lnTo>
                  <a:lnTo>
                    <a:pt x="447890" y="387972"/>
                  </a:lnTo>
                  <a:lnTo>
                    <a:pt x="455358" y="395452"/>
                  </a:lnTo>
                  <a:lnTo>
                    <a:pt x="473849" y="395452"/>
                  </a:lnTo>
                  <a:lnTo>
                    <a:pt x="481317" y="387972"/>
                  </a:lnTo>
                  <a:lnTo>
                    <a:pt x="481317" y="378701"/>
                  </a:lnTo>
                  <a:lnTo>
                    <a:pt x="481317" y="369430"/>
                  </a:lnTo>
                  <a:close/>
                </a:path>
                <a:path w="1270634" h="395604">
                  <a:moveTo>
                    <a:pt x="494690" y="188455"/>
                  </a:moveTo>
                  <a:lnTo>
                    <a:pt x="487222" y="180975"/>
                  </a:lnTo>
                  <a:lnTo>
                    <a:pt x="468731" y="180975"/>
                  </a:lnTo>
                  <a:lnTo>
                    <a:pt x="461264" y="188455"/>
                  </a:lnTo>
                  <a:lnTo>
                    <a:pt x="461264" y="206997"/>
                  </a:lnTo>
                  <a:lnTo>
                    <a:pt x="468731" y="214490"/>
                  </a:lnTo>
                  <a:lnTo>
                    <a:pt x="487222" y="214490"/>
                  </a:lnTo>
                  <a:lnTo>
                    <a:pt x="494690" y="206997"/>
                  </a:lnTo>
                  <a:lnTo>
                    <a:pt x="494690" y="197726"/>
                  </a:lnTo>
                  <a:lnTo>
                    <a:pt x="494690" y="188455"/>
                  </a:lnTo>
                  <a:close/>
                </a:path>
                <a:path w="1270634" h="395604">
                  <a:moveTo>
                    <a:pt x="594969" y="369430"/>
                  </a:moveTo>
                  <a:lnTo>
                    <a:pt x="587502" y="361937"/>
                  </a:lnTo>
                  <a:lnTo>
                    <a:pt x="568998" y="361937"/>
                  </a:lnTo>
                  <a:lnTo>
                    <a:pt x="561543" y="369430"/>
                  </a:lnTo>
                  <a:lnTo>
                    <a:pt x="561543" y="387972"/>
                  </a:lnTo>
                  <a:lnTo>
                    <a:pt x="568998" y="395452"/>
                  </a:lnTo>
                  <a:lnTo>
                    <a:pt x="587502" y="395452"/>
                  </a:lnTo>
                  <a:lnTo>
                    <a:pt x="594969" y="387972"/>
                  </a:lnTo>
                  <a:lnTo>
                    <a:pt x="594969" y="378701"/>
                  </a:lnTo>
                  <a:lnTo>
                    <a:pt x="594969" y="369430"/>
                  </a:lnTo>
                  <a:close/>
                </a:path>
                <a:path w="1270634" h="395604">
                  <a:moveTo>
                    <a:pt x="608330" y="188455"/>
                  </a:moveTo>
                  <a:lnTo>
                    <a:pt x="600862" y="180975"/>
                  </a:lnTo>
                  <a:lnTo>
                    <a:pt x="582371" y="180975"/>
                  </a:lnTo>
                  <a:lnTo>
                    <a:pt x="574903" y="188455"/>
                  </a:lnTo>
                  <a:lnTo>
                    <a:pt x="574903" y="206997"/>
                  </a:lnTo>
                  <a:lnTo>
                    <a:pt x="582371" y="214490"/>
                  </a:lnTo>
                  <a:lnTo>
                    <a:pt x="600862" y="214490"/>
                  </a:lnTo>
                  <a:lnTo>
                    <a:pt x="608330" y="206997"/>
                  </a:lnTo>
                  <a:lnTo>
                    <a:pt x="608330" y="197726"/>
                  </a:lnTo>
                  <a:lnTo>
                    <a:pt x="608330" y="188455"/>
                  </a:lnTo>
                  <a:close/>
                </a:path>
                <a:path w="1270634" h="395604">
                  <a:moveTo>
                    <a:pt x="628383" y="7493"/>
                  </a:moveTo>
                  <a:lnTo>
                    <a:pt x="620928" y="0"/>
                  </a:lnTo>
                  <a:lnTo>
                    <a:pt x="602424" y="0"/>
                  </a:lnTo>
                  <a:lnTo>
                    <a:pt x="594969" y="7493"/>
                  </a:lnTo>
                  <a:lnTo>
                    <a:pt x="594969" y="26035"/>
                  </a:lnTo>
                  <a:lnTo>
                    <a:pt x="602424" y="33515"/>
                  </a:lnTo>
                  <a:lnTo>
                    <a:pt x="620928" y="33515"/>
                  </a:lnTo>
                  <a:lnTo>
                    <a:pt x="628383" y="26035"/>
                  </a:lnTo>
                  <a:lnTo>
                    <a:pt x="628383" y="16764"/>
                  </a:lnTo>
                  <a:lnTo>
                    <a:pt x="628383" y="7493"/>
                  </a:lnTo>
                  <a:close/>
                </a:path>
                <a:path w="1270634" h="395604">
                  <a:moveTo>
                    <a:pt x="641756" y="369430"/>
                  </a:moveTo>
                  <a:lnTo>
                    <a:pt x="634288" y="361937"/>
                  </a:lnTo>
                  <a:lnTo>
                    <a:pt x="615797" y="361937"/>
                  </a:lnTo>
                  <a:lnTo>
                    <a:pt x="608330" y="369430"/>
                  </a:lnTo>
                  <a:lnTo>
                    <a:pt x="608330" y="387972"/>
                  </a:lnTo>
                  <a:lnTo>
                    <a:pt x="615797" y="395452"/>
                  </a:lnTo>
                  <a:lnTo>
                    <a:pt x="634288" y="395452"/>
                  </a:lnTo>
                  <a:lnTo>
                    <a:pt x="641756" y="387972"/>
                  </a:lnTo>
                  <a:lnTo>
                    <a:pt x="641756" y="378701"/>
                  </a:lnTo>
                  <a:lnTo>
                    <a:pt x="641756" y="369430"/>
                  </a:lnTo>
                  <a:close/>
                </a:path>
                <a:path w="1270634" h="395604">
                  <a:moveTo>
                    <a:pt x="661809" y="188455"/>
                  </a:moveTo>
                  <a:lnTo>
                    <a:pt x="654354" y="180975"/>
                  </a:lnTo>
                  <a:lnTo>
                    <a:pt x="635850" y="180975"/>
                  </a:lnTo>
                  <a:lnTo>
                    <a:pt x="628383" y="188455"/>
                  </a:lnTo>
                  <a:lnTo>
                    <a:pt x="628383" y="206997"/>
                  </a:lnTo>
                  <a:lnTo>
                    <a:pt x="635850" y="214490"/>
                  </a:lnTo>
                  <a:lnTo>
                    <a:pt x="654354" y="214490"/>
                  </a:lnTo>
                  <a:lnTo>
                    <a:pt x="661809" y="206997"/>
                  </a:lnTo>
                  <a:lnTo>
                    <a:pt x="661809" y="197726"/>
                  </a:lnTo>
                  <a:lnTo>
                    <a:pt x="661809" y="188455"/>
                  </a:lnTo>
                  <a:close/>
                </a:path>
                <a:path w="1270634" h="395604">
                  <a:moveTo>
                    <a:pt x="675182" y="7493"/>
                  </a:moveTo>
                  <a:lnTo>
                    <a:pt x="667715" y="0"/>
                  </a:lnTo>
                  <a:lnTo>
                    <a:pt x="649224" y="0"/>
                  </a:lnTo>
                  <a:lnTo>
                    <a:pt x="641756" y="7493"/>
                  </a:lnTo>
                  <a:lnTo>
                    <a:pt x="641756" y="26035"/>
                  </a:lnTo>
                  <a:lnTo>
                    <a:pt x="649224" y="33515"/>
                  </a:lnTo>
                  <a:lnTo>
                    <a:pt x="667715" y="33515"/>
                  </a:lnTo>
                  <a:lnTo>
                    <a:pt x="675182" y="26035"/>
                  </a:lnTo>
                  <a:lnTo>
                    <a:pt x="675182" y="16764"/>
                  </a:lnTo>
                  <a:lnTo>
                    <a:pt x="675182" y="7493"/>
                  </a:lnTo>
                  <a:close/>
                </a:path>
                <a:path w="1270634" h="395604">
                  <a:moveTo>
                    <a:pt x="695236" y="369430"/>
                  </a:moveTo>
                  <a:lnTo>
                    <a:pt x="687768" y="361937"/>
                  </a:lnTo>
                  <a:lnTo>
                    <a:pt x="669277" y="361937"/>
                  </a:lnTo>
                  <a:lnTo>
                    <a:pt x="661809" y="369430"/>
                  </a:lnTo>
                  <a:lnTo>
                    <a:pt x="661809" y="387972"/>
                  </a:lnTo>
                  <a:lnTo>
                    <a:pt x="669277" y="395452"/>
                  </a:lnTo>
                  <a:lnTo>
                    <a:pt x="687768" y="395452"/>
                  </a:lnTo>
                  <a:lnTo>
                    <a:pt x="695236" y="387972"/>
                  </a:lnTo>
                  <a:lnTo>
                    <a:pt x="695236" y="378701"/>
                  </a:lnTo>
                  <a:lnTo>
                    <a:pt x="695236" y="369430"/>
                  </a:lnTo>
                  <a:close/>
                </a:path>
                <a:path w="1270634" h="395604">
                  <a:moveTo>
                    <a:pt x="708609" y="188455"/>
                  </a:moveTo>
                  <a:lnTo>
                    <a:pt x="701141" y="180975"/>
                  </a:lnTo>
                  <a:lnTo>
                    <a:pt x="682650" y="180975"/>
                  </a:lnTo>
                  <a:lnTo>
                    <a:pt x="675182" y="188455"/>
                  </a:lnTo>
                  <a:lnTo>
                    <a:pt x="675182" y="206997"/>
                  </a:lnTo>
                  <a:lnTo>
                    <a:pt x="682650" y="214490"/>
                  </a:lnTo>
                  <a:lnTo>
                    <a:pt x="701141" y="214490"/>
                  </a:lnTo>
                  <a:lnTo>
                    <a:pt x="708609" y="206997"/>
                  </a:lnTo>
                  <a:lnTo>
                    <a:pt x="708609" y="197726"/>
                  </a:lnTo>
                  <a:lnTo>
                    <a:pt x="708609" y="188455"/>
                  </a:lnTo>
                  <a:close/>
                </a:path>
                <a:path w="1270634" h="395604">
                  <a:moveTo>
                    <a:pt x="728662" y="7493"/>
                  </a:moveTo>
                  <a:lnTo>
                    <a:pt x="721194" y="0"/>
                  </a:lnTo>
                  <a:lnTo>
                    <a:pt x="702703" y="0"/>
                  </a:lnTo>
                  <a:lnTo>
                    <a:pt x="695236" y="7493"/>
                  </a:lnTo>
                  <a:lnTo>
                    <a:pt x="695236" y="26035"/>
                  </a:lnTo>
                  <a:lnTo>
                    <a:pt x="702703" y="33515"/>
                  </a:lnTo>
                  <a:lnTo>
                    <a:pt x="721194" y="33515"/>
                  </a:lnTo>
                  <a:lnTo>
                    <a:pt x="728662" y="26035"/>
                  </a:lnTo>
                  <a:lnTo>
                    <a:pt x="728662" y="16764"/>
                  </a:lnTo>
                  <a:lnTo>
                    <a:pt x="728662" y="7493"/>
                  </a:lnTo>
                  <a:close/>
                </a:path>
                <a:path w="1270634" h="395604">
                  <a:moveTo>
                    <a:pt x="742035" y="369430"/>
                  </a:moveTo>
                  <a:lnTo>
                    <a:pt x="734568" y="361937"/>
                  </a:lnTo>
                  <a:lnTo>
                    <a:pt x="716076" y="361937"/>
                  </a:lnTo>
                  <a:lnTo>
                    <a:pt x="708609" y="369430"/>
                  </a:lnTo>
                  <a:lnTo>
                    <a:pt x="708609" y="387972"/>
                  </a:lnTo>
                  <a:lnTo>
                    <a:pt x="716076" y="395452"/>
                  </a:lnTo>
                  <a:lnTo>
                    <a:pt x="734568" y="395452"/>
                  </a:lnTo>
                  <a:lnTo>
                    <a:pt x="742035" y="387972"/>
                  </a:lnTo>
                  <a:lnTo>
                    <a:pt x="742035" y="378701"/>
                  </a:lnTo>
                  <a:lnTo>
                    <a:pt x="742035" y="369430"/>
                  </a:lnTo>
                  <a:close/>
                </a:path>
                <a:path w="1270634" h="395604">
                  <a:moveTo>
                    <a:pt x="755408" y="188455"/>
                  </a:moveTo>
                  <a:lnTo>
                    <a:pt x="747941" y="180975"/>
                  </a:lnTo>
                  <a:lnTo>
                    <a:pt x="729449" y="180975"/>
                  </a:lnTo>
                  <a:lnTo>
                    <a:pt x="721982" y="188455"/>
                  </a:lnTo>
                  <a:lnTo>
                    <a:pt x="721982" y="206997"/>
                  </a:lnTo>
                  <a:lnTo>
                    <a:pt x="729449" y="214490"/>
                  </a:lnTo>
                  <a:lnTo>
                    <a:pt x="747941" y="214490"/>
                  </a:lnTo>
                  <a:lnTo>
                    <a:pt x="755408" y="206997"/>
                  </a:lnTo>
                  <a:lnTo>
                    <a:pt x="755408" y="197726"/>
                  </a:lnTo>
                  <a:lnTo>
                    <a:pt x="755408" y="188455"/>
                  </a:lnTo>
                  <a:close/>
                </a:path>
                <a:path w="1270634" h="395604">
                  <a:moveTo>
                    <a:pt x="775462" y="7493"/>
                  </a:moveTo>
                  <a:lnTo>
                    <a:pt x="767994" y="0"/>
                  </a:lnTo>
                  <a:lnTo>
                    <a:pt x="749503" y="0"/>
                  </a:lnTo>
                  <a:lnTo>
                    <a:pt x="742035" y="7493"/>
                  </a:lnTo>
                  <a:lnTo>
                    <a:pt x="742035" y="26035"/>
                  </a:lnTo>
                  <a:lnTo>
                    <a:pt x="749503" y="33515"/>
                  </a:lnTo>
                  <a:lnTo>
                    <a:pt x="767994" y="33515"/>
                  </a:lnTo>
                  <a:lnTo>
                    <a:pt x="775462" y="26035"/>
                  </a:lnTo>
                  <a:lnTo>
                    <a:pt x="775462" y="16764"/>
                  </a:lnTo>
                  <a:lnTo>
                    <a:pt x="775462" y="7493"/>
                  </a:lnTo>
                  <a:close/>
                </a:path>
                <a:path w="1270634" h="395604">
                  <a:moveTo>
                    <a:pt x="788835" y="369430"/>
                  </a:moveTo>
                  <a:lnTo>
                    <a:pt x="781367" y="361937"/>
                  </a:lnTo>
                  <a:lnTo>
                    <a:pt x="762863" y="361937"/>
                  </a:lnTo>
                  <a:lnTo>
                    <a:pt x="755408" y="369430"/>
                  </a:lnTo>
                  <a:lnTo>
                    <a:pt x="755408" y="387972"/>
                  </a:lnTo>
                  <a:lnTo>
                    <a:pt x="762863" y="395452"/>
                  </a:lnTo>
                  <a:lnTo>
                    <a:pt x="781367" y="395452"/>
                  </a:lnTo>
                  <a:lnTo>
                    <a:pt x="788835" y="387972"/>
                  </a:lnTo>
                  <a:lnTo>
                    <a:pt x="788835" y="378701"/>
                  </a:lnTo>
                  <a:lnTo>
                    <a:pt x="788835" y="369430"/>
                  </a:lnTo>
                  <a:close/>
                </a:path>
                <a:path w="1270634" h="395604">
                  <a:moveTo>
                    <a:pt x="808888" y="188455"/>
                  </a:moveTo>
                  <a:lnTo>
                    <a:pt x="801420" y="180975"/>
                  </a:lnTo>
                  <a:lnTo>
                    <a:pt x="782929" y="180975"/>
                  </a:lnTo>
                  <a:lnTo>
                    <a:pt x="775462" y="188455"/>
                  </a:lnTo>
                  <a:lnTo>
                    <a:pt x="775462" y="206997"/>
                  </a:lnTo>
                  <a:lnTo>
                    <a:pt x="782929" y="214490"/>
                  </a:lnTo>
                  <a:lnTo>
                    <a:pt x="801420" y="214490"/>
                  </a:lnTo>
                  <a:lnTo>
                    <a:pt x="808888" y="206997"/>
                  </a:lnTo>
                  <a:lnTo>
                    <a:pt x="808888" y="197726"/>
                  </a:lnTo>
                  <a:lnTo>
                    <a:pt x="808888" y="188455"/>
                  </a:lnTo>
                  <a:close/>
                </a:path>
                <a:path w="1270634" h="395604">
                  <a:moveTo>
                    <a:pt x="822248" y="7493"/>
                  </a:moveTo>
                  <a:lnTo>
                    <a:pt x="814793" y="0"/>
                  </a:lnTo>
                  <a:lnTo>
                    <a:pt x="796290" y="0"/>
                  </a:lnTo>
                  <a:lnTo>
                    <a:pt x="788835" y="7493"/>
                  </a:lnTo>
                  <a:lnTo>
                    <a:pt x="788835" y="26035"/>
                  </a:lnTo>
                  <a:lnTo>
                    <a:pt x="796290" y="33515"/>
                  </a:lnTo>
                  <a:lnTo>
                    <a:pt x="814793" y="33515"/>
                  </a:lnTo>
                  <a:lnTo>
                    <a:pt x="822248" y="26035"/>
                  </a:lnTo>
                  <a:lnTo>
                    <a:pt x="822248" y="16764"/>
                  </a:lnTo>
                  <a:lnTo>
                    <a:pt x="822248" y="7493"/>
                  </a:lnTo>
                  <a:close/>
                </a:path>
                <a:path w="1270634" h="395604">
                  <a:moveTo>
                    <a:pt x="842314" y="369430"/>
                  </a:moveTo>
                  <a:lnTo>
                    <a:pt x="834847" y="361937"/>
                  </a:lnTo>
                  <a:lnTo>
                    <a:pt x="816356" y="361937"/>
                  </a:lnTo>
                  <a:lnTo>
                    <a:pt x="808888" y="369430"/>
                  </a:lnTo>
                  <a:lnTo>
                    <a:pt x="808888" y="387972"/>
                  </a:lnTo>
                  <a:lnTo>
                    <a:pt x="816356" y="395452"/>
                  </a:lnTo>
                  <a:lnTo>
                    <a:pt x="834847" y="395452"/>
                  </a:lnTo>
                  <a:lnTo>
                    <a:pt x="842314" y="387972"/>
                  </a:lnTo>
                  <a:lnTo>
                    <a:pt x="842314" y="378701"/>
                  </a:lnTo>
                  <a:lnTo>
                    <a:pt x="842314" y="369430"/>
                  </a:lnTo>
                  <a:close/>
                </a:path>
                <a:path w="1270634" h="395604">
                  <a:moveTo>
                    <a:pt x="855675" y="188455"/>
                  </a:moveTo>
                  <a:lnTo>
                    <a:pt x="848220" y="180975"/>
                  </a:lnTo>
                  <a:lnTo>
                    <a:pt x="829716" y="180975"/>
                  </a:lnTo>
                  <a:lnTo>
                    <a:pt x="822248" y="188455"/>
                  </a:lnTo>
                  <a:lnTo>
                    <a:pt x="822248" y="206997"/>
                  </a:lnTo>
                  <a:lnTo>
                    <a:pt x="829716" y="214490"/>
                  </a:lnTo>
                  <a:lnTo>
                    <a:pt x="848220" y="214490"/>
                  </a:lnTo>
                  <a:lnTo>
                    <a:pt x="855675" y="206997"/>
                  </a:lnTo>
                  <a:lnTo>
                    <a:pt x="855675" y="197726"/>
                  </a:lnTo>
                  <a:lnTo>
                    <a:pt x="855675" y="188455"/>
                  </a:lnTo>
                  <a:close/>
                </a:path>
                <a:path w="1270634" h="395604">
                  <a:moveTo>
                    <a:pt x="875741" y="7493"/>
                  </a:moveTo>
                  <a:lnTo>
                    <a:pt x="868273" y="0"/>
                  </a:lnTo>
                  <a:lnTo>
                    <a:pt x="849769" y="0"/>
                  </a:lnTo>
                  <a:lnTo>
                    <a:pt x="842314" y="7493"/>
                  </a:lnTo>
                  <a:lnTo>
                    <a:pt x="842314" y="26035"/>
                  </a:lnTo>
                  <a:lnTo>
                    <a:pt x="849769" y="33515"/>
                  </a:lnTo>
                  <a:lnTo>
                    <a:pt x="868273" y="33515"/>
                  </a:lnTo>
                  <a:lnTo>
                    <a:pt x="875741" y="26035"/>
                  </a:lnTo>
                  <a:lnTo>
                    <a:pt x="875741" y="16764"/>
                  </a:lnTo>
                  <a:lnTo>
                    <a:pt x="875741" y="7493"/>
                  </a:lnTo>
                  <a:close/>
                </a:path>
                <a:path w="1270634" h="395604">
                  <a:moveTo>
                    <a:pt x="889101" y="369430"/>
                  </a:moveTo>
                  <a:lnTo>
                    <a:pt x="881646" y="361937"/>
                  </a:lnTo>
                  <a:lnTo>
                    <a:pt x="863142" y="361937"/>
                  </a:lnTo>
                  <a:lnTo>
                    <a:pt x="855675" y="369430"/>
                  </a:lnTo>
                  <a:lnTo>
                    <a:pt x="855675" y="387972"/>
                  </a:lnTo>
                  <a:lnTo>
                    <a:pt x="863142" y="395452"/>
                  </a:lnTo>
                  <a:lnTo>
                    <a:pt x="881646" y="395452"/>
                  </a:lnTo>
                  <a:lnTo>
                    <a:pt x="889101" y="387972"/>
                  </a:lnTo>
                  <a:lnTo>
                    <a:pt x="889101" y="378701"/>
                  </a:lnTo>
                  <a:lnTo>
                    <a:pt x="889101" y="369430"/>
                  </a:lnTo>
                  <a:close/>
                </a:path>
                <a:path w="1270634" h="395604">
                  <a:moveTo>
                    <a:pt x="909154" y="188455"/>
                  </a:moveTo>
                  <a:lnTo>
                    <a:pt x="901700" y="180975"/>
                  </a:lnTo>
                  <a:lnTo>
                    <a:pt x="883196" y="180975"/>
                  </a:lnTo>
                  <a:lnTo>
                    <a:pt x="875741" y="188455"/>
                  </a:lnTo>
                  <a:lnTo>
                    <a:pt x="875741" y="206997"/>
                  </a:lnTo>
                  <a:lnTo>
                    <a:pt x="883196" y="214490"/>
                  </a:lnTo>
                  <a:lnTo>
                    <a:pt x="901700" y="214490"/>
                  </a:lnTo>
                  <a:lnTo>
                    <a:pt x="909154" y="206997"/>
                  </a:lnTo>
                  <a:lnTo>
                    <a:pt x="909154" y="197726"/>
                  </a:lnTo>
                  <a:lnTo>
                    <a:pt x="909154" y="188455"/>
                  </a:lnTo>
                  <a:close/>
                </a:path>
                <a:path w="1270634" h="395604">
                  <a:moveTo>
                    <a:pt x="922528" y="7493"/>
                  </a:moveTo>
                  <a:lnTo>
                    <a:pt x="915060" y="0"/>
                  </a:lnTo>
                  <a:lnTo>
                    <a:pt x="896569" y="0"/>
                  </a:lnTo>
                  <a:lnTo>
                    <a:pt x="889101" y="7493"/>
                  </a:lnTo>
                  <a:lnTo>
                    <a:pt x="889101" y="26035"/>
                  </a:lnTo>
                  <a:lnTo>
                    <a:pt x="896569" y="33515"/>
                  </a:lnTo>
                  <a:lnTo>
                    <a:pt x="915060" y="33515"/>
                  </a:lnTo>
                  <a:lnTo>
                    <a:pt x="922528" y="26035"/>
                  </a:lnTo>
                  <a:lnTo>
                    <a:pt x="922528" y="16764"/>
                  </a:lnTo>
                  <a:lnTo>
                    <a:pt x="922528" y="7493"/>
                  </a:lnTo>
                  <a:close/>
                </a:path>
                <a:path w="1270634" h="395604">
                  <a:moveTo>
                    <a:pt x="942581" y="369430"/>
                  </a:moveTo>
                  <a:lnTo>
                    <a:pt x="935126" y="361937"/>
                  </a:lnTo>
                  <a:lnTo>
                    <a:pt x="916622" y="361937"/>
                  </a:lnTo>
                  <a:lnTo>
                    <a:pt x="909154" y="369430"/>
                  </a:lnTo>
                  <a:lnTo>
                    <a:pt x="909154" y="387972"/>
                  </a:lnTo>
                  <a:lnTo>
                    <a:pt x="916622" y="395452"/>
                  </a:lnTo>
                  <a:lnTo>
                    <a:pt x="935126" y="395452"/>
                  </a:lnTo>
                  <a:lnTo>
                    <a:pt x="942581" y="387972"/>
                  </a:lnTo>
                  <a:lnTo>
                    <a:pt x="942581" y="378701"/>
                  </a:lnTo>
                  <a:lnTo>
                    <a:pt x="942581" y="369430"/>
                  </a:lnTo>
                  <a:close/>
                </a:path>
                <a:path w="1270634" h="395604">
                  <a:moveTo>
                    <a:pt x="955954" y="188455"/>
                  </a:moveTo>
                  <a:lnTo>
                    <a:pt x="948486" y="180975"/>
                  </a:lnTo>
                  <a:lnTo>
                    <a:pt x="929995" y="180975"/>
                  </a:lnTo>
                  <a:lnTo>
                    <a:pt x="922528" y="188455"/>
                  </a:lnTo>
                  <a:lnTo>
                    <a:pt x="922528" y="206997"/>
                  </a:lnTo>
                  <a:lnTo>
                    <a:pt x="929995" y="214490"/>
                  </a:lnTo>
                  <a:lnTo>
                    <a:pt x="948486" y="214490"/>
                  </a:lnTo>
                  <a:lnTo>
                    <a:pt x="955954" y="206997"/>
                  </a:lnTo>
                  <a:lnTo>
                    <a:pt x="955954" y="197726"/>
                  </a:lnTo>
                  <a:lnTo>
                    <a:pt x="955954" y="188455"/>
                  </a:lnTo>
                  <a:close/>
                </a:path>
                <a:path w="1270634" h="395604">
                  <a:moveTo>
                    <a:pt x="969327" y="7493"/>
                  </a:moveTo>
                  <a:lnTo>
                    <a:pt x="961859" y="0"/>
                  </a:lnTo>
                  <a:lnTo>
                    <a:pt x="943368" y="0"/>
                  </a:lnTo>
                  <a:lnTo>
                    <a:pt x="935901" y="7493"/>
                  </a:lnTo>
                  <a:lnTo>
                    <a:pt x="935901" y="26035"/>
                  </a:lnTo>
                  <a:lnTo>
                    <a:pt x="943368" y="33515"/>
                  </a:lnTo>
                  <a:lnTo>
                    <a:pt x="961859" y="33515"/>
                  </a:lnTo>
                  <a:lnTo>
                    <a:pt x="969327" y="26035"/>
                  </a:lnTo>
                  <a:lnTo>
                    <a:pt x="969327" y="16764"/>
                  </a:lnTo>
                  <a:lnTo>
                    <a:pt x="969327" y="7493"/>
                  </a:lnTo>
                  <a:close/>
                </a:path>
                <a:path w="1270634" h="395604">
                  <a:moveTo>
                    <a:pt x="989380" y="369430"/>
                  </a:moveTo>
                  <a:lnTo>
                    <a:pt x="981913" y="361937"/>
                  </a:lnTo>
                  <a:lnTo>
                    <a:pt x="963422" y="361937"/>
                  </a:lnTo>
                  <a:lnTo>
                    <a:pt x="955954" y="369430"/>
                  </a:lnTo>
                  <a:lnTo>
                    <a:pt x="955954" y="387972"/>
                  </a:lnTo>
                  <a:lnTo>
                    <a:pt x="963422" y="395452"/>
                  </a:lnTo>
                  <a:lnTo>
                    <a:pt x="981913" y="395452"/>
                  </a:lnTo>
                  <a:lnTo>
                    <a:pt x="989380" y="387972"/>
                  </a:lnTo>
                  <a:lnTo>
                    <a:pt x="989380" y="378701"/>
                  </a:lnTo>
                  <a:lnTo>
                    <a:pt x="989380" y="369430"/>
                  </a:lnTo>
                  <a:close/>
                </a:path>
                <a:path w="1270634" h="395604">
                  <a:moveTo>
                    <a:pt x="1002753" y="188455"/>
                  </a:moveTo>
                  <a:lnTo>
                    <a:pt x="995286" y="180975"/>
                  </a:lnTo>
                  <a:lnTo>
                    <a:pt x="976795" y="180975"/>
                  </a:lnTo>
                  <a:lnTo>
                    <a:pt x="969327" y="188455"/>
                  </a:lnTo>
                  <a:lnTo>
                    <a:pt x="969327" y="206997"/>
                  </a:lnTo>
                  <a:lnTo>
                    <a:pt x="976795" y="214490"/>
                  </a:lnTo>
                  <a:lnTo>
                    <a:pt x="995286" y="214490"/>
                  </a:lnTo>
                  <a:lnTo>
                    <a:pt x="1002753" y="206997"/>
                  </a:lnTo>
                  <a:lnTo>
                    <a:pt x="1002753" y="197726"/>
                  </a:lnTo>
                  <a:lnTo>
                    <a:pt x="1002753" y="188455"/>
                  </a:lnTo>
                  <a:close/>
                </a:path>
                <a:path w="1270634" h="395604">
                  <a:moveTo>
                    <a:pt x="1022807" y="7493"/>
                  </a:moveTo>
                  <a:lnTo>
                    <a:pt x="1015339" y="0"/>
                  </a:lnTo>
                  <a:lnTo>
                    <a:pt x="996848" y="0"/>
                  </a:lnTo>
                  <a:lnTo>
                    <a:pt x="989380" y="7493"/>
                  </a:lnTo>
                  <a:lnTo>
                    <a:pt x="989380" y="26035"/>
                  </a:lnTo>
                  <a:lnTo>
                    <a:pt x="996848" y="33515"/>
                  </a:lnTo>
                  <a:lnTo>
                    <a:pt x="1015339" y="33515"/>
                  </a:lnTo>
                  <a:lnTo>
                    <a:pt x="1022807" y="26035"/>
                  </a:lnTo>
                  <a:lnTo>
                    <a:pt x="1022807" y="16764"/>
                  </a:lnTo>
                  <a:lnTo>
                    <a:pt x="1022807" y="7493"/>
                  </a:lnTo>
                  <a:close/>
                </a:path>
                <a:path w="1270634" h="395604">
                  <a:moveTo>
                    <a:pt x="1036180" y="369430"/>
                  </a:moveTo>
                  <a:lnTo>
                    <a:pt x="1028712" y="361937"/>
                  </a:lnTo>
                  <a:lnTo>
                    <a:pt x="1010221" y="361937"/>
                  </a:lnTo>
                  <a:lnTo>
                    <a:pt x="1002753" y="369430"/>
                  </a:lnTo>
                  <a:lnTo>
                    <a:pt x="1002753" y="387972"/>
                  </a:lnTo>
                  <a:lnTo>
                    <a:pt x="1010221" y="395452"/>
                  </a:lnTo>
                  <a:lnTo>
                    <a:pt x="1028712" y="395452"/>
                  </a:lnTo>
                  <a:lnTo>
                    <a:pt x="1036180" y="387972"/>
                  </a:lnTo>
                  <a:lnTo>
                    <a:pt x="1036180" y="378701"/>
                  </a:lnTo>
                  <a:lnTo>
                    <a:pt x="1036180" y="369430"/>
                  </a:lnTo>
                  <a:close/>
                </a:path>
                <a:path w="1270634" h="395604">
                  <a:moveTo>
                    <a:pt x="1056233" y="188455"/>
                  </a:moveTo>
                  <a:lnTo>
                    <a:pt x="1048766" y="180975"/>
                  </a:lnTo>
                  <a:lnTo>
                    <a:pt x="1030274" y="180975"/>
                  </a:lnTo>
                  <a:lnTo>
                    <a:pt x="1022807" y="188455"/>
                  </a:lnTo>
                  <a:lnTo>
                    <a:pt x="1022807" y="206997"/>
                  </a:lnTo>
                  <a:lnTo>
                    <a:pt x="1030274" y="214490"/>
                  </a:lnTo>
                  <a:lnTo>
                    <a:pt x="1048766" y="214490"/>
                  </a:lnTo>
                  <a:lnTo>
                    <a:pt x="1056233" y="206997"/>
                  </a:lnTo>
                  <a:lnTo>
                    <a:pt x="1056233" y="197726"/>
                  </a:lnTo>
                  <a:lnTo>
                    <a:pt x="1056233" y="188455"/>
                  </a:lnTo>
                  <a:close/>
                </a:path>
                <a:path w="1270634" h="395604">
                  <a:moveTo>
                    <a:pt x="1069606" y="7493"/>
                  </a:moveTo>
                  <a:lnTo>
                    <a:pt x="1062139" y="0"/>
                  </a:lnTo>
                  <a:lnTo>
                    <a:pt x="1043635" y="0"/>
                  </a:lnTo>
                  <a:lnTo>
                    <a:pt x="1036180" y="7493"/>
                  </a:lnTo>
                  <a:lnTo>
                    <a:pt x="1036180" y="26035"/>
                  </a:lnTo>
                  <a:lnTo>
                    <a:pt x="1043635" y="33515"/>
                  </a:lnTo>
                  <a:lnTo>
                    <a:pt x="1062139" y="33515"/>
                  </a:lnTo>
                  <a:lnTo>
                    <a:pt x="1069606" y="26035"/>
                  </a:lnTo>
                  <a:lnTo>
                    <a:pt x="1069606" y="16764"/>
                  </a:lnTo>
                  <a:lnTo>
                    <a:pt x="1069606" y="7493"/>
                  </a:lnTo>
                  <a:close/>
                </a:path>
                <a:path w="1270634" h="395604">
                  <a:moveTo>
                    <a:pt x="1089660" y="369430"/>
                  </a:moveTo>
                  <a:lnTo>
                    <a:pt x="1082192" y="361937"/>
                  </a:lnTo>
                  <a:lnTo>
                    <a:pt x="1063701" y="361937"/>
                  </a:lnTo>
                  <a:lnTo>
                    <a:pt x="1056233" y="369430"/>
                  </a:lnTo>
                  <a:lnTo>
                    <a:pt x="1056233" y="387972"/>
                  </a:lnTo>
                  <a:lnTo>
                    <a:pt x="1063701" y="395452"/>
                  </a:lnTo>
                  <a:lnTo>
                    <a:pt x="1082192" y="395452"/>
                  </a:lnTo>
                  <a:lnTo>
                    <a:pt x="1089660" y="387972"/>
                  </a:lnTo>
                  <a:lnTo>
                    <a:pt x="1089660" y="378701"/>
                  </a:lnTo>
                  <a:lnTo>
                    <a:pt x="1089660" y="369430"/>
                  </a:lnTo>
                  <a:close/>
                </a:path>
                <a:path w="1270634" h="395604">
                  <a:moveTo>
                    <a:pt x="1103033" y="188455"/>
                  </a:moveTo>
                  <a:lnTo>
                    <a:pt x="1095565" y="180975"/>
                  </a:lnTo>
                  <a:lnTo>
                    <a:pt x="1077061" y="180975"/>
                  </a:lnTo>
                  <a:lnTo>
                    <a:pt x="1069606" y="188455"/>
                  </a:lnTo>
                  <a:lnTo>
                    <a:pt x="1069606" y="206997"/>
                  </a:lnTo>
                  <a:lnTo>
                    <a:pt x="1077061" y="214490"/>
                  </a:lnTo>
                  <a:lnTo>
                    <a:pt x="1095565" y="214490"/>
                  </a:lnTo>
                  <a:lnTo>
                    <a:pt x="1103033" y="206997"/>
                  </a:lnTo>
                  <a:lnTo>
                    <a:pt x="1103033" y="197726"/>
                  </a:lnTo>
                  <a:lnTo>
                    <a:pt x="1103033" y="188455"/>
                  </a:lnTo>
                  <a:close/>
                </a:path>
                <a:path w="1270634" h="395604">
                  <a:moveTo>
                    <a:pt x="1123086" y="7493"/>
                  </a:moveTo>
                  <a:lnTo>
                    <a:pt x="1115618" y="0"/>
                  </a:lnTo>
                  <a:lnTo>
                    <a:pt x="1097127" y="0"/>
                  </a:lnTo>
                  <a:lnTo>
                    <a:pt x="1089660" y="7493"/>
                  </a:lnTo>
                  <a:lnTo>
                    <a:pt x="1089660" y="26035"/>
                  </a:lnTo>
                  <a:lnTo>
                    <a:pt x="1097127" y="33515"/>
                  </a:lnTo>
                  <a:lnTo>
                    <a:pt x="1115618" y="33515"/>
                  </a:lnTo>
                  <a:lnTo>
                    <a:pt x="1123086" y="26035"/>
                  </a:lnTo>
                  <a:lnTo>
                    <a:pt x="1123086" y="16764"/>
                  </a:lnTo>
                  <a:lnTo>
                    <a:pt x="1123086" y="7493"/>
                  </a:lnTo>
                  <a:close/>
                </a:path>
                <a:path w="1270634" h="395604">
                  <a:moveTo>
                    <a:pt x="1136446" y="369430"/>
                  </a:moveTo>
                  <a:lnTo>
                    <a:pt x="1128991" y="361937"/>
                  </a:lnTo>
                  <a:lnTo>
                    <a:pt x="1110488" y="361937"/>
                  </a:lnTo>
                  <a:lnTo>
                    <a:pt x="1103033" y="369430"/>
                  </a:lnTo>
                  <a:lnTo>
                    <a:pt x="1103033" y="387972"/>
                  </a:lnTo>
                  <a:lnTo>
                    <a:pt x="1110488" y="395452"/>
                  </a:lnTo>
                  <a:lnTo>
                    <a:pt x="1128991" y="395452"/>
                  </a:lnTo>
                  <a:lnTo>
                    <a:pt x="1136446" y="387972"/>
                  </a:lnTo>
                  <a:lnTo>
                    <a:pt x="1136446" y="378701"/>
                  </a:lnTo>
                  <a:lnTo>
                    <a:pt x="1136446" y="369430"/>
                  </a:lnTo>
                  <a:close/>
                </a:path>
                <a:path w="1270634" h="395604">
                  <a:moveTo>
                    <a:pt x="1149819" y="188455"/>
                  </a:moveTo>
                  <a:lnTo>
                    <a:pt x="1142352" y="180975"/>
                  </a:lnTo>
                  <a:lnTo>
                    <a:pt x="1123861" y="180975"/>
                  </a:lnTo>
                  <a:lnTo>
                    <a:pt x="1116393" y="188455"/>
                  </a:lnTo>
                  <a:lnTo>
                    <a:pt x="1116393" y="206997"/>
                  </a:lnTo>
                  <a:lnTo>
                    <a:pt x="1123861" y="214490"/>
                  </a:lnTo>
                  <a:lnTo>
                    <a:pt x="1142352" y="214490"/>
                  </a:lnTo>
                  <a:lnTo>
                    <a:pt x="1149819" y="206997"/>
                  </a:lnTo>
                  <a:lnTo>
                    <a:pt x="1149819" y="197726"/>
                  </a:lnTo>
                  <a:lnTo>
                    <a:pt x="1149819" y="188455"/>
                  </a:lnTo>
                  <a:close/>
                </a:path>
                <a:path w="1270634" h="395604">
                  <a:moveTo>
                    <a:pt x="1169873" y="7493"/>
                  </a:moveTo>
                  <a:lnTo>
                    <a:pt x="1162418" y="0"/>
                  </a:lnTo>
                  <a:lnTo>
                    <a:pt x="1143914" y="0"/>
                  </a:lnTo>
                  <a:lnTo>
                    <a:pt x="1136446" y="7493"/>
                  </a:lnTo>
                  <a:lnTo>
                    <a:pt x="1136446" y="26035"/>
                  </a:lnTo>
                  <a:lnTo>
                    <a:pt x="1143914" y="33515"/>
                  </a:lnTo>
                  <a:lnTo>
                    <a:pt x="1162418" y="33515"/>
                  </a:lnTo>
                  <a:lnTo>
                    <a:pt x="1169873" y="26035"/>
                  </a:lnTo>
                  <a:lnTo>
                    <a:pt x="1169873" y="16764"/>
                  </a:lnTo>
                  <a:lnTo>
                    <a:pt x="1169873" y="7493"/>
                  </a:lnTo>
                  <a:close/>
                </a:path>
                <a:path w="1270634" h="395604">
                  <a:moveTo>
                    <a:pt x="1183246" y="342620"/>
                  </a:moveTo>
                  <a:lnTo>
                    <a:pt x="1175778" y="335127"/>
                  </a:lnTo>
                  <a:lnTo>
                    <a:pt x="1157287" y="335127"/>
                  </a:lnTo>
                  <a:lnTo>
                    <a:pt x="1149819" y="342620"/>
                  </a:lnTo>
                  <a:lnTo>
                    <a:pt x="1149819" y="361162"/>
                  </a:lnTo>
                  <a:lnTo>
                    <a:pt x="1157287" y="368642"/>
                  </a:lnTo>
                  <a:lnTo>
                    <a:pt x="1175778" y="368642"/>
                  </a:lnTo>
                  <a:lnTo>
                    <a:pt x="1183246" y="361162"/>
                  </a:lnTo>
                  <a:lnTo>
                    <a:pt x="1183246" y="351891"/>
                  </a:lnTo>
                  <a:lnTo>
                    <a:pt x="1183246" y="342620"/>
                  </a:lnTo>
                  <a:close/>
                </a:path>
                <a:path w="1270634" h="395604">
                  <a:moveTo>
                    <a:pt x="1203299" y="161645"/>
                  </a:moveTo>
                  <a:lnTo>
                    <a:pt x="1195832" y="154165"/>
                  </a:lnTo>
                  <a:lnTo>
                    <a:pt x="1177340" y="154165"/>
                  </a:lnTo>
                  <a:lnTo>
                    <a:pt x="1169873" y="161645"/>
                  </a:lnTo>
                  <a:lnTo>
                    <a:pt x="1169873" y="180187"/>
                  </a:lnTo>
                  <a:lnTo>
                    <a:pt x="1177340" y="187680"/>
                  </a:lnTo>
                  <a:lnTo>
                    <a:pt x="1195832" y="187680"/>
                  </a:lnTo>
                  <a:lnTo>
                    <a:pt x="1203299" y="180187"/>
                  </a:lnTo>
                  <a:lnTo>
                    <a:pt x="1203299" y="170916"/>
                  </a:lnTo>
                  <a:lnTo>
                    <a:pt x="1203299" y="161645"/>
                  </a:lnTo>
                  <a:close/>
                </a:path>
                <a:path w="1270634" h="395604">
                  <a:moveTo>
                    <a:pt x="1216672" y="34302"/>
                  </a:moveTo>
                  <a:lnTo>
                    <a:pt x="1209205" y="26822"/>
                  </a:lnTo>
                  <a:lnTo>
                    <a:pt x="1190713" y="26822"/>
                  </a:lnTo>
                  <a:lnTo>
                    <a:pt x="1183246" y="34302"/>
                  </a:lnTo>
                  <a:lnTo>
                    <a:pt x="1183246" y="52844"/>
                  </a:lnTo>
                  <a:lnTo>
                    <a:pt x="1190713" y="60325"/>
                  </a:lnTo>
                  <a:lnTo>
                    <a:pt x="1209205" y="60325"/>
                  </a:lnTo>
                  <a:lnTo>
                    <a:pt x="1216672" y="52844"/>
                  </a:lnTo>
                  <a:lnTo>
                    <a:pt x="1216672" y="43573"/>
                  </a:lnTo>
                  <a:lnTo>
                    <a:pt x="1216672" y="34302"/>
                  </a:lnTo>
                  <a:close/>
                </a:path>
                <a:path w="1270634" h="395604">
                  <a:moveTo>
                    <a:pt x="1236726" y="215265"/>
                  </a:moveTo>
                  <a:lnTo>
                    <a:pt x="1229258" y="207784"/>
                  </a:lnTo>
                  <a:lnTo>
                    <a:pt x="1210767" y="207784"/>
                  </a:lnTo>
                  <a:lnTo>
                    <a:pt x="1203299" y="215265"/>
                  </a:lnTo>
                  <a:lnTo>
                    <a:pt x="1203299" y="233807"/>
                  </a:lnTo>
                  <a:lnTo>
                    <a:pt x="1210767" y="241300"/>
                  </a:lnTo>
                  <a:lnTo>
                    <a:pt x="1229258" y="241300"/>
                  </a:lnTo>
                  <a:lnTo>
                    <a:pt x="1236726" y="233807"/>
                  </a:lnTo>
                  <a:lnTo>
                    <a:pt x="1236726" y="224536"/>
                  </a:lnTo>
                  <a:lnTo>
                    <a:pt x="1236726" y="215265"/>
                  </a:lnTo>
                  <a:close/>
                </a:path>
                <a:path w="1270634" h="395604">
                  <a:moveTo>
                    <a:pt x="1250099" y="161645"/>
                  </a:moveTo>
                  <a:lnTo>
                    <a:pt x="1242631" y="154165"/>
                  </a:lnTo>
                  <a:lnTo>
                    <a:pt x="1224140" y="154165"/>
                  </a:lnTo>
                  <a:lnTo>
                    <a:pt x="1216672" y="161645"/>
                  </a:lnTo>
                  <a:lnTo>
                    <a:pt x="1216672" y="180187"/>
                  </a:lnTo>
                  <a:lnTo>
                    <a:pt x="1224140" y="187680"/>
                  </a:lnTo>
                  <a:lnTo>
                    <a:pt x="1242631" y="187680"/>
                  </a:lnTo>
                  <a:lnTo>
                    <a:pt x="1250099" y="180187"/>
                  </a:lnTo>
                  <a:lnTo>
                    <a:pt x="1250099" y="170916"/>
                  </a:lnTo>
                  <a:lnTo>
                    <a:pt x="1250099" y="161645"/>
                  </a:lnTo>
                  <a:close/>
                </a:path>
                <a:path w="1270634" h="395604">
                  <a:moveTo>
                    <a:pt x="1270152" y="34302"/>
                  </a:moveTo>
                  <a:lnTo>
                    <a:pt x="1262684" y="26822"/>
                  </a:lnTo>
                  <a:lnTo>
                    <a:pt x="1244193" y="26822"/>
                  </a:lnTo>
                  <a:lnTo>
                    <a:pt x="1236726" y="34302"/>
                  </a:lnTo>
                  <a:lnTo>
                    <a:pt x="1236726" y="52844"/>
                  </a:lnTo>
                  <a:lnTo>
                    <a:pt x="1244193" y="60325"/>
                  </a:lnTo>
                  <a:lnTo>
                    <a:pt x="1262684" y="60325"/>
                  </a:lnTo>
                  <a:lnTo>
                    <a:pt x="1270152" y="52844"/>
                  </a:lnTo>
                  <a:lnTo>
                    <a:pt x="1270152" y="43573"/>
                  </a:lnTo>
                  <a:lnTo>
                    <a:pt x="1270152" y="34302"/>
                  </a:lnTo>
                  <a:close/>
                </a:path>
              </a:pathLst>
            </a:custGeom>
            <a:solidFill>
              <a:srgbClr val="1F487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9" name="object 29"/>
            <p:cNvSpPr/>
            <p:nvPr/>
          </p:nvSpPr>
          <p:spPr>
            <a:xfrm>
              <a:off x="8170824" y="5080584"/>
              <a:ext cx="427990" cy="395605"/>
            </a:xfrm>
            <a:custGeom>
              <a:avLst/>
              <a:gdLst/>
              <a:ahLst/>
              <a:cxnLst/>
              <a:rect l="l" t="t" r="r" b="b"/>
              <a:pathLst>
                <a:path w="427990" h="395604">
                  <a:moveTo>
                    <a:pt x="33426" y="34302"/>
                  </a:moveTo>
                  <a:lnTo>
                    <a:pt x="25958" y="26822"/>
                  </a:lnTo>
                  <a:lnTo>
                    <a:pt x="7467" y="26822"/>
                  </a:lnTo>
                  <a:lnTo>
                    <a:pt x="0" y="34302"/>
                  </a:lnTo>
                  <a:lnTo>
                    <a:pt x="0" y="52844"/>
                  </a:lnTo>
                  <a:lnTo>
                    <a:pt x="7467" y="60325"/>
                  </a:lnTo>
                  <a:lnTo>
                    <a:pt x="25958" y="60325"/>
                  </a:lnTo>
                  <a:lnTo>
                    <a:pt x="33426" y="52844"/>
                  </a:lnTo>
                  <a:lnTo>
                    <a:pt x="33426" y="43573"/>
                  </a:lnTo>
                  <a:lnTo>
                    <a:pt x="33426" y="34302"/>
                  </a:lnTo>
                  <a:close/>
                </a:path>
                <a:path w="427990" h="395604">
                  <a:moveTo>
                    <a:pt x="46799" y="342620"/>
                  </a:moveTo>
                  <a:lnTo>
                    <a:pt x="39331" y="335127"/>
                  </a:lnTo>
                  <a:lnTo>
                    <a:pt x="20840" y="335127"/>
                  </a:lnTo>
                  <a:lnTo>
                    <a:pt x="13373" y="342620"/>
                  </a:lnTo>
                  <a:lnTo>
                    <a:pt x="13373" y="361162"/>
                  </a:lnTo>
                  <a:lnTo>
                    <a:pt x="20840" y="368642"/>
                  </a:lnTo>
                  <a:lnTo>
                    <a:pt x="39331" y="368642"/>
                  </a:lnTo>
                  <a:lnTo>
                    <a:pt x="46799" y="361162"/>
                  </a:lnTo>
                  <a:lnTo>
                    <a:pt x="46799" y="351891"/>
                  </a:lnTo>
                  <a:lnTo>
                    <a:pt x="46799" y="342620"/>
                  </a:lnTo>
                  <a:close/>
                </a:path>
                <a:path w="427990" h="395604">
                  <a:moveTo>
                    <a:pt x="66852" y="215265"/>
                  </a:moveTo>
                  <a:lnTo>
                    <a:pt x="59385" y="207784"/>
                  </a:lnTo>
                  <a:lnTo>
                    <a:pt x="40894" y="207784"/>
                  </a:lnTo>
                  <a:lnTo>
                    <a:pt x="33426" y="215265"/>
                  </a:lnTo>
                  <a:lnTo>
                    <a:pt x="33426" y="233807"/>
                  </a:lnTo>
                  <a:lnTo>
                    <a:pt x="40894" y="241300"/>
                  </a:lnTo>
                  <a:lnTo>
                    <a:pt x="59385" y="241300"/>
                  </a:lnTo>
                  <a:lnTo>
                    <a:pt x="66852" y="233807"/>
                  </a:lnTo>
                  <a:lnTo>
                    <a:pt x="66852" y="224536"/>
                  </a:lnTo>
                  <a:lnTo>
                    <a:pt x="66852" y="215265"/>
                  </a:lnTo>
                  <a:close/>
                </a:path>
                <a:path w="427990" h="395604">
                  <a:moveTo>
                    <a:pt x="80225" y="34302"/>
                  </a:moveTo>
                  <a:lnTo>
                    <a:pt x="72758" y="26822"/>
                  </a:lnTo>
                  <a:lnTo>
                    <a:pt x="54267" y="26822"/>
                  </a:lnTo>
                  <a:lnTo>
                    <a:pt x="46799" y="34302"/>
                  </a:lnTo>
                  <a:lnTo>
                    <a:pt x="46799" y="52844"/>
                  </a:lnTo>
                  <a:lnTo>
                    <a:pt x="54267" y="60325"/>
                  </a:lnTo>
                  <a:lnTo>
                    <a:pt x="72758" y="60325"/>
                  </a:lnTo>
                  <a:lnTo>
                    <a:pt x="80225" y="52844"/>
                  </a:lnTo>
                  <a:lnTo>
                    <a:pt x="80225" y="43573"/>
                  </a:lnTo>
                  <a:lnTo>
                    <a:pt x="80225" y="34302"/>
                  </a:lnTo>
                  <a:close/>
                </a:path>
                <a:path w="427990" h="395604">
                  <a:moveTo>
                    <a:pt x="100279" y="342620"/>
                  </a:moveTo>
                  <a:lnTo>
                    <a:pt x="92811" y="335127"/>
                  </a:lnTo>
                  <a:lnTo>
                    <a:pt x="74320" y="335127"/>
                  </a:lnTo>
                  <a:lnTo>
                    <a:pt x="66852" y="342620"/>
                  </a:lnTo>
                  <a:lnTo>
                    <a:pt x="66852" y="361162"/>
                  </a:lnTo>
                  <a:lnTo>
                    <a:pt x="74320" y="368642"/>
                  </a:lnTo>
                  <a:lnTo>
                    <a:pt x="92811" y="368642"/>
                  </a:lnTo>
                  <a:lnTo>
                    <a:pt x="100279" y="361162"/>
                  </a:lnTo>
                  <a:lnTo>
                    <a:pt x="100279" y="351891"/>
                  </a:lnTo>
                  <a:lnTo>
                    <a:pt x="100279" y="342620"/>
                  </a:lnTo>
                  <a:close/>
                </a:path>
                <a:path w="427990" h="395604">
                  <a:moveTo>
                    <a:pt x="113652" y="161645"/>
                  </a:moveTo>
                  <a:lnTo>
                    <a:pt x="106184" y="154165"/>
                  </a:lnTo>
                  <a:lnTo>
                    <a:pt x="87693" y="154165"/>
                  </a:lnTo>
                  <a:lnTo>
                    <a:pt x="80225" y="161645"/>
                  </a:lnTo>
                  <a:lnTo>
                    <a:pt x="80225" y="180187"/>
                  </a:lnTo>
                  <a:lnTo>
                    <a:pt x="87693" y="187680"/>
                  </a:lnTo>
                  <a:lnTo>
                    <a:pt x="106184" y="187680"/>
                  </a:lnTo>
                  <a:lnTo>
                    <a:pt x="113652" y="180187"/>
                  </a:lnTo>
                  <a:lnTo>
                    <a:pt x="113652" y="170916"/>
                  </a:lnTo>
                  <a:lnTo>
                    <a:pt x="113652" y="161645"/>
                  </a:lnTo>
                  <a:close/>
                </a:path>
                <a:path w="427990" h="395604">
                  <a:moveTo>
                    <a:pt x="127012" y="34302"/>
                  </a:moveTo>
                  <a:lnTo>
                    <a:pt x="119557" y="26822"/>
                  </a:lnTo>
                  <a:lnTo>
                    <a:pt x="101053" y="26822"/>
                  </a:lnTo>
                  <a:lnTo>
                    <a:pt x="93586" y="34302"/>
                  </a:lnTo>
                  <a:lnTo>
                    <a:pt x="93586" y="52844"/>
                  </a:lnTo>
                  <a:lnTo>
                    <a:pt x="101053" y="60325"/>
                  </a:lnTo>
                  <a:lnTo>
                    <a:pt x="119557" y="60325"/>
                  </a:lnTo>
                  <a:lnTo>
                    <a:pt x="127012" y="52844"/>
                  </a:lnTo>
                  <a:lnTo>
                    <a:pt x="127012" y="43573"/>
                  </a:lnTo>
                  <a:lnTo>
                    <a:pt x="127012" y="34302"/>
                  </a:lnTo>
                  <a:close/>
                </a:path>
                <a:path w="427990" h="395604">
                  <a:moveTo>
                    <a:pt x="147078" y="342620"/>
                  </a:moveTo>
                  <a:lnTo>
                    <a:pt x="139611" y="335127"/>
                  </a:lnTo>
                  <a:lnTo>
                    <a:pt x="121107" y="335127"/>
                  </a:lnTo>
                  <a:lnTo>
                    <a:pt x="113652" y="342620"/>
                  </a:lnTo>
                  <a:lnTo>
                    <a:pt x="113652" y="361162"/>
                  </a:lnTo>
                  <a:lnTo>
                    <a:pt x="121107" y="368642"/>
                  </a:lnTo>
                  <a:lnTo>
                    <a:pt x="139611" y="368642"/>
                  </a:lnTo>
                  <a:lnTo>
                    <a:pt x="147078" y="361162"/>
                  </a:lnTo>
                  <a:lnTo>
                    <a:pt x="147078" y="351891"/>
                  </a:lnTo>
                  <a:lnTo>
                    <a:pt x="147078" y="342620"/>
                  </a:lnTo>
                  <a:close/>
                </a:path>
                <a:path w="427990" h="395604">
                  <a:moveTo>
                    <a:pt x="160439" y="215265"/>
                  </a:moveTo>
                  <a:lnTo>
                    <a:pt x="152971" y="207784"/>
                  </a:lnTo>
                  <a:lnTo>
                    <a:pt x="134480" y="207784"/>
                  </a:lnTo>
                  <a:lnTo>
                    <a:pt x="127012" y="215265"/>
                  </a:lnTo>
                  <a:lnTo>
                    <a:pt x="127012" y="233807"/>
                  </a:lnTo>
                  <a:lnTo>
                    <a:pt x="134480" y="241300"/>
                  </a:lnTo>
                  <a:lnTo>
                    <a:pt x="152971" y="241300"/>
                  </a:lnTo>
                  <a:lnTo>
                    <a:pt x="160439" y="233807"/>
                  </a:lnTo>
                  <a:lnTo>
                    <a:pt x="160439" y="224536"/>
                  </a:lnTo>
                  <a:lnTo>
                    <a:pt x="160439" y="215265"/>
                  </a:lnTo>
                  <a:close/>
                </a:path>
                <a:path w="427990" h="395604">
                  <a:moveTo>
                    <a:pt x="180492" y="34302"/>
                  </a:moveTo>
                  <a:lnTo>
                    <a:pt x="173037" y="26822"/>
                  </a:lnTo>
                  <a:lnTo>
                    <a:pt x="154533" y="26822"/>
                  </a:lnTo>
                  <a:lnTo>
                    <a:pt x="147078" y="34302"/>
                  </a:lnTo>
                  <a:lnTo>
                    <a:pt x="147078" y="52844"/>
                  </a:lnTo>
                  <a:lnTo>
                    <a:pt x="154533" y="60325"/>
                  </a:lnTo>
                  <a:lnTo>
                    <a:pt x="173037" y="60325"/>
                  </a:lnTo>
                  <a:lnTo>
                    <a:pt x="180492" y="52844"/>
                  </a:lnTo>
                  <a:lnTo>
                    <a:pt x="180492" y="43573"/>
                  </a:lnTo>
                  <a:lnTo>
                    <a:pt x="180492" y="34302"/>
                  </a:lnTo>
                  <a:close/>
                </a:path>
                <a:path w="427990" h="395604">
                  <a:moveTo>
                    <a:pt x="193865" y="342620"/>
                  </a:moveTo>
                  <a:lnTo>
                    <a:pt x="186397" y="335127"/>
                  </a:lnTo>
                  <a:lnTo>
                    <a:pt x="167906" y="335127"/>
                  </a:lnTo>
                  <a:lnTo>
                    <a:pt x="160439" y="342620"/>
                  </a:lnTo>
                  <a:lnTo>
                    <a:pt x="160439" y="361162"/>
                  </a:lnTo>
                  <a:lnTo>
                    <a:pt x="167906" y="368642"/>
                  </a:lnTo>
                  <a:lnTo>
                    <a:pt x="186397" y="368642"/>
                  </a:lnTo>
                  <a:lnTo>
                    <a:pt x="193865" y="361162"/>
                  </a:lnTo>
                  <a:lnTo>
                    <a:pt x="193865" y="351891"/>
                  </a:lnTo>
                  <a:lnTo>
                    <a:pt x="193865" y="342620"/>
                  </a:lnTo>
                  <a:close/>
                </a:path>
                <a:path w="427990" h="395604">
                  <a:moveTo>
                    <a:pt x="213918" y="215265"/>
                  </a:moveTo>
                  <a:lnTo>
                    <a:pt x="206463" y="207784"/>
                  </a:lnTo>
                  <a:lnTo>
                    <a:pt x="187960" y="207784"/>
                  </a:lnTo>
                  <a:lnTo>
                    <a:pt x="180492" y="215265"/>
                  </a:lnTo>
                  <a:lnTo>
                    <a:pt x="180492" y="233807"/>
                  </a:lnTo>
                  <a:lnTo>
                    <a:pt x="187960" y="241300"/>
                  </a:lnTo>
                  <a:lnTo>
                    <a:pt x="206463" y="241300"/>
                  </a:lnTo>
                  <a:lnTo>
                    <a:pt x="213918" y="233807"/>
                  </a:lnTo>
                  <a:lnTo>
                    <a:pt x="213918" y="224536"/>
                  </a:lnTo>
                  <a:lnTo>
                    <a:pt x="213918" y="215265"/>
                  </a:lnTo>
                  <a:close/>
                </a:path>
                <a:path w="427990" h="395604">
                  <a:moveTo>
                    <a:pt x="227291" y="34302"/>
                  </a:moveTo>
                  <a:lnTo>
                    <a:pt x="219824" y="26822"/>
                  </a:lnTo>
                  <a:lnTo>
                    <a:pt x="201333" y="26822"/>
                  </a:lnTo>
                  <a:lnTo>
                    <a:pt x="193865" y="34302"/>
                  </a:lnTo>
                  <a:lnTo>
                    <a:pt x="193865" y="52844"/>
                  </a:lnTo>
                  <a:lnTo>
                    <a:pt x="201333" y="60325"/>
                  </a:lnTo>
                  <a:lnTo>
                    <a:pt x="219824" y="60325"/>
                  </a:lnTo>
                  <a:lnTo>
                    <a:pt x="227291" y="52844"/>
                  </a:lnTo>
                  <a:lnTo>
                    <a:pt x="227291" y="43573"/>
                  </a:lnTo>
                  <a:lnTo>
                    <a:pt x="227291" y="34302"/>
                  </a:lnTo>
                  <a:close/>
                </a:path>
                <a:path w="427990" h="395604">
                  <a:moveTo>
                    <a:pt x="247345" y="342620"/>
                  </a:moveTo>
                  <a:lnTo>
                    <a:pt x="239877" y="335127"/>
                  </a:lnTo>
                  <a:lnTo>
                    <a:pt x="221386" y="335127"/>
                  </a:lnTo>
                  <a:lnTo>
                    <a:pt x="213918" y="342620"/>
                  </a:lnTo>
                  <a:lnTo>
                    <a:pt x="213918" y="361162"/>
                  </a:lnTo>
                  <a:lnTo>
                    <a:pt x="221386" y="368642"/>
                  </a:lnTo>
                  <a:lnTo>
                    <a:pt x="239877" y="368642"/>
                  </a:lnTo>
                  <a:lnTo>
                    <a:pt x="247345" y="361162"/>
                  </a:lnTo>
                  <a:lnTo>
                    <a:pt x="247345" y="351891"/>
                  </a:lnTo>
                  <a:lnTo>
                    <a:pt x="247345" y="342620"/>
                  </a:lnTo>
                  <a:close/>
                </a:path>
                <a:path w="427990" h="395604">
                  <a:moveTo>
                    <a:pt x="260718" y="161645"/>
                  </a:moveTo>
                  <a:lnTo>
                    <a:pt x="253250" y="154165"/>
                  </a:lnTo>
                  <a:lnTo>
                    <a:pt x="234759" y="154165"/>
                  </a:lnTo>
                  <a:lnTo>
                    <a:pt x="227291" y="161645"/>
                  </a:lnTo>
                  <a:lnTo>
                    <a:pt x="227291" y="180187"/>
                  </a:lnTo>
                  <a:lnTo>
                    <a:pt x="234759" y="187680"/>
                  </a:lnTo>
                  <a:lnTo>
                    <a:pt x="253250" y="187680"/>
                  </a:lnTo>
                  <a:lnTo>
                    <a:pt x="260718" y="180187"/>
                  </a:lnTo>
                  <a:lnTo>
                    <a:pt x="260718" y="170916"/>
                  </a:lnTo>
                  <a:lnTo>
                    <a:pt x="260718" y="161645"/>
                  </a:lnTo>
                  <a:close/>
                </a:path>
                <a:path w="427990" h="395604">
                  <a:moveTo>
                    <a:pt x="280771" y="7493"/>
                  </a:moveTo>
                  <a:lnTo>
                    <a:pt x="273304" y="0"/>
                  </a:lnTo>
                  <a:lnTo>
                    <a:pt x="254812" y="0"/>
                  </a:lnTo>
                  <a:lnTo>
                    <a:pt x="247345" y="7493"/>
                  </a:lnTo>
                  <a:lnTo>
                    <a:pt x="247345" y="26035"/>
                  </a:lnTo>
                  <a:lnTo>
                    <a:pt x="254812" y="33515"/>
                  </a:lnTo>
                  <a:lnTo>
                    <a:pt x="273304" y="33515"/>
                  </a:lnTo>
                  <a:lnTo>
                    <a:pt x="280771" y="26035"/>
                  </a:lnTo>
                  <a:lnTo>
                    <a:pt x="280771" y="16764"/>
                  </a:lnTo>
                  <a:lnTo>
                    <a:pt x="280771" y="7493"/>
                  </a:lnTo>
                  <a:close/>
                </a:path>
                <a:path w="427990" h="395604">
                  <a:moveTo>
                    <a:pt x="294144" y="369430"/>
                  </a:moveTo>
                  <a:lnTo>
                    <a:pt x="286677" y="361937"/>
                  </a:lnTo>
                  <a:lnTo>
                    <a:pt x="268185" y="361937"/>
                  </a:lnTo>
                  <a:lnTo>
                    <a:pt x="260718" y="369430"/>
                  </a:lnTo>
                  <a:lnTo>
                    <a:pt x="260718" y="387972"/>
                  </a:lnTo>
                  <a:lnTo>
                    <a:pt x="268185" y="395452"/>
                  </a:lnTo>
                  <a:lnTo>
                    <a:pt x="286677" y="395452"/>
                  </a:lnTo>
                  <a:lnTo>
                    <a:pt x="294144" y="387972"/>
                  </a:lnTo>
                  <a:lnTo>
                    <a:pt x="294144" y="378701"/>
                  </a:lnTo>
                  <a:lnTo>
                    <a:pt x="294144" y="369430"/>
                  </a:lnTo>
                  <a:close/>
                </a:path>
                <a:path w="427990" h="395604">
                  <a:moveTo>
                    <a:pt x="307517" y="188455"/>
                  </a:moveTo>
                  <a:lnTo>
                    <a:pt x="300050" y="180975"/>
                  </a:lnTo>
                  <a:lnTo>
                    <a:pt x="281559" y="180975"/>
                  </a:lnTo>
                  <a:lnTo>
                    <a:pt x="274091" y="188455"/>
                  </a:lnTo>
                  <a:lnTo>
                    <a:pt x="274091" y="206997"/>
                  </a:lnTo>
                  <a:lnTo>
                    <a:pt x="281559" y="214490"/>
                  </a:lnTo>
                  <a:lnTo>
                    <a:pt x="300050" y="214490"/>
                  </a:lnTo>
                  <a:lnTo>
                    <a:pt x="307517" y="206997"/>
                  </a:lnTo>
                  <a:lnTo>
                    <a:pt x="307517" y="197726"/>
                  </a:lnTo>
                  <a:lnTo>
                    <a:pt x="307517" y="188455"/>
                  </a:lnTo>
                  <a:close/>
                </a:path>
                <a:path w="427990" h="395604">
                  <a:moveTo>
                    <a:pt x="327571" y="7493"/>
                  </a:moveTo>
                  <a:lnTo>
                    <a:pt x="320103" y="0"/>
                  </a:lnTo>
                  <a:lnTo>
                    <a:pt x="301612" y="0"/>
                  </a:lnTo>
                  <a:lnTo>
                    <a:pt x="294144" y="7493"/>
                  </a:lnTo>
                  <a:lnTo>
                    <a:pt x="294144" y="26035"/>
                  </a:lnTo>
                  <a:lnTo>
                    <a:pt x="301612" y="33515"/>
                  </a:lnTo>
                  <a:lnTo>
                    <a:pt x="320103" y="33515"/>
                  </a:lnTo>
                  <a:lnTo>
                    <a:pt x="327571" y="26035"/>
                  </a:lnTo>
                  <a:lnTo>
                    <a:pt x="327571" y="16764"/>
                  </a:lnTo>
                  <a:lnTo>
                    <a:pt x="327571" y="7493"/>
                  </a:lnTo>
                  <a:close/>
                </a:path>
                <a:path w="427990" h="395604">
                  <a:moveTo>
                    <a:pt x="340944" y="369430"/>
                  </a:moveTo>
                  <a:lnTo>
                    <a:pt x="333476" y="361937"/>
                  </a:lnTo>
                  <a:lnTo>
                    <a:pt x="314972" y="361937"/>
                  </a:lnTo>
                  <a:lnTo>
                    <a:pt x="307517" y="369430"/>
                  </a:lnTo>
                  <a:lnTo>
                    <a:pt x="307517" y="387972"/>
                  </a:lnTo>
                  <a:lnTo>
                    <a:pt x="314972" y="395452"/>
                  </a:lnTo>
                  <a:lnTo>
                    <a:pt x="333476" y="395452"/>
                  </a:lnTo>
                  <a:lnTo>
                    <a:pt x="340944" y="387972"/>
                  </a:lnTo>
                  <a:lnTo>
                    <a:pt x="340944" y="378701"/>
                  </a:lnTo>
                  <a:lnTo>
                    <a:pt x="340944" y="369430"/>
                  </a:lnTo>
                  <a:close/>
                </a:path>
                <a:path w="427990" h="395604">
                  <a:moveTo>
                    <a:pt x="360997" y="188455"/>
                  </a:moveTo>
                  <a:lnTo>
                    <a:pt x="353529" y="180975"/>
                  </a:lnTo>
                  <a:lnTo>
                    <a:pt x="335038" y="180975"/>
                  </a:lnTo>
                  <a:lnTo>
                    <a:pt x="327571" y="188455"/>
                  </a:lnTo>
                  <a:lnTo>
                    <a:pt x="327571" y="206997"/>
                  </a:lnTo>
                  <a:lnTo>
                    <a:pt x="335038" y="214490"/>
                  </a:lnTo>
                  <a:lnTo>
                    <a:pt x="353529" y="214490"/>
                  </a:lnTo>
                  <a:lnTo>
                    <a:pt x="360997" y="206997"/>
                  </a:lnTo>
                  <a:lnTo>
                    <a:pt x="360997" y="197726"/>
                  </a:lnTo>
                  <a:lnTo>
                    <a:pt x="360997" y="188455"/>
                  </a:lnTo>
                  <a:close/>
                </a:path>
                <a:path w="427990" h="395604">
                  <a:moveTo>
                    <a:pt x="374357" y="7493"/>
                  </a:moveTo>
                  <a:lnTo>
                    <a:pt x="366903" y="0"/>
                  </a:lnTo>
                  <a:lnTo>
                    <a:pt x="348399" y="0"/>
                  </a:lnTo>
                  <a:lnTo>
                    <a:pt x="340944" y="7493"/>
                  </a:lnTo>
                  <a:lnTo>
                    <a:pt x="340944" y="26035"/>
                  </a:lnTo>
                  <a:lnTo>
                    <a:pt x="348399" y="33515"/>
                  </a:lnTo>
                  <a:lnTo>
                    <a:pt x="366903" y="33515"/>
                  </a:lnTo>
                  <a:lnTo>
                    <a:pt x="374357" y="26035"/>
                  </a:lnTo>
                  <a:lnTo>
                    <a:pt x="374357" y="16764"/>
                  </a:lnTo>
                  <a:lnTo>
                    <a:pt x="374357" y="7493"/>
                  </a:lnTo>
                  <a:close/>
                </a:path>
                <a:path w="427990" h="395604">
                  <a:moveTo>
                    <a:pt x="394423" y="369430"/>
                  </a:moveTo>
                  <a:lnTo>
                    <a:pt x="386956" y="361937"/>
                  </a:lnTo>
                  <a:lnTo>
                    <a:pt x="368465" y="361937"/>
                  </a:lnTo>
                  <a:lnTo>
                    <a:pt x="360997" y="369430"/>
                  </a:lnTo>
                  <a:lnTo>
                    <a:pt x="360997" y="387972"/>
                  </a:lnTo>
                  <a:lnTo>
                    <a:pt x="368465" y="395452"/>
                  </a:lnTo>
                  <a:lnTo>
                    <a:pt x="386956" y="395452"/>
                  </a:lnTo>
                  <a:lnTo>
                    <a:pt x="394423" y="387972"/>
                  </a:lnTo>
                  <a:lnTo>
                    <a:pt x="394423" y="378701"/>
                  </a:lnTo>
                  <a:lnTo>
                    <a:pt x="394423" y="369430"/>
                  </a:lnTo>
                  <a:close/>
                </a:path>
                <a:path w="427990" h="395604">
                  <a:moveTo>
                    <a:pt x="407784" y="188455"/>
                  </a:moveTo>
                  <a:lnTo>
                    <a:pt x="400329" y="180975"/>
                  </a:lnTo>
                  <a:lnTo>
                    <a:pt x="381825" y="180975"/>
                  </a:lnTo>
                  <a:lnTo>
                    <a:pt x="374357" y="188455"/>
                  </a:lnTo>
                  <a:lnTo>
                    <a:pt x="374357" y="206997"/>
                  </a:lnTo>
                  <a:lnTo>
                    <a:pt x="381825" y="214490"/>
                  </a:lnTo>
                  <a:lnTo>
                    <a:pt x="400329" y="214490"/>
                  </a:lnTo>
                  <a:lnTo>
                    <a:pt x="407784" y="206997"/>
                  </a:lnTo>
                  <a:lnTo>
                    <a:pt x="407784" y="197726"/>
                  </a:lnTo>
                  <a:lnTo>
                    <a:pt x="407784" y="188455"/>
                  </a:lnTo>
                  <a:close/>
                </a:path>
                <a:path w="427990" h="395604">
                  <a:moveTo>
                    <a:pt x="427850" y="7493"/>
                  </a:moveTo>
                  <a:lnTo>
                    <a:pt x="420382" y="0"/>
                  </a:lnTo>
                  <a:lnTo>
                    <a:pt x="401878" y="0"/>
                  </a:lnTo>
                  <a:lnTo>
                    <a:pt x="394423" y="7493"/>
                  </a:lnTo>
                  <a:lnTo>
                    <a:pt x="394423" y="26035"/>
                  </a:lnTo>
                  <a:lnTo>
                    <a:pt x="401878" y="33515"/>
                  </a:lnTo>
                  <a:lnTo>
                    <a:pt x="420382" y="33515"/>
                  </a:lnTo>
                  <a:lnTo>
                    <a:pt x="427850" y="26035"/>
                  </a:lnTo>
                  <a:lnTo>
                    <a:pt x="427850" y="16764"/>
                  </a:lnTo>
                  <a:lnTo>
                    <a:pt x="427850" y="7493"/>
                  </a:lnTo>
                  <a:close/>
                </a:path>
              </a:pathLst>
            </a:custGeom>
            <a:solidFill>
              <a:srgbClr val="1F487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0" name="object 30"/>
            <p:cNvSpPr/>
            <p:nvPr/>
          </p:nvSpPr>
          <p:spPr>
            <a:xfrm>
              <a:off x="9417592" y="4916371"/>
              <a:ext cx="1678305" cy="730885"/>
            </a:xfrm>
            <a:custGeom>
              <a:avLst/>
              <a:gdLst/>
              <a:ahLst/>
              <a:cxnLst/>
              <a:rect l="l" t="t" r="r" b="b"/>
              <a:pathLst>
                <a:path w="1678304" h="730885">
                  <a:moveTo>
                    <a:pt x="33425" y="730576"/>
                  </a:moveTo>
                  <a:lnTo>
                    <a:pt x="1677945" y="730576"/>
                  </a:lnTo>
                </a:path>
                <a:path w="1678304" h="730885">
                  <a:moveTo>
                    <a:pt x="33425" y="549607"/>
                  </a:moveTo>
                  <a:lnTo>
                    <a:pt x="1677945" y="549607"/>
                  </a:lnTo>
                </a:path>
                <a:path w="1678304" h="730885">
                  <a:moveTo>
                    <a:pt x="33425" y="180968"/>
                  </a:moveTo>
                  <a:lnTo>
                    <a:pt x="1677945" y="180968"/>
                  </a:lnTo>
                </a:path>
                <a:path w="1678304" h="730885">
                  <a:moveTo>
                    <a:pt x="33425" y="0"/>
                  </a:moveTo>
                  <a:lnTo>
                    <a:pt x="1677945" y="0"/>
                  </a:lnTo>
                </a:path>
                <a:path w="1678304" h="730885">
                  <a:moveTo>
                    <a:pt x="33425" y="730576"/>
                  </a:moveTo>
                  <a:lnTo>
                    <a:pt x="33425" y="0"/>
                  </a:lnTo>
                </a:path>
                <a:path w="1678304" h="730885">
                  <a:moveTo>
                    <a:pt x="0" y="730576"/>
                  </a:moveTo>
                  <a:lnTo>
                    <a:pt x="33425" y="730576"/>
                  </a:lnTo>
                </a:path>
                <a:path w="1678304" h="730885">
                  <a:moveTo>
                    <a:pt x="0" y="549607"/>
                  </a:moveTo>
                  <a:lnTo>
                    <a:pt x="33425" y="549607"/>
                  </a:lnTo>
                </a:path>
                <a:path w="1678304" h="730885">
                  <a:moveTo>
                    <a:pt x="0" y="368639"/>
                  </a:moveTo>
                  <a:lnTo>
                    <a:pt x="33425" y="368639"/>
                  </a:lnTo>
                </a:path>
                <a:path w="1678304" h="730885">
                  <a:moveTo>
                    <a:pt x="0" y="180968"/>
                  </a:moveTo>
                  <a:lnTo>
                    <a:pt x="33425" y="180968"/>
                  </a:lnTo>
                </a:path>
                <a:path w="1678304" h="730885">
                  <a:moveTo>
                    <a:pt x="0" y="0"/>
                  </a:moveTo>
                  <a:lnTo>
                    <a:pt x="33425" y="0"/>
                  </a:lnTo>
                </a:path>
                <a:path w="1678304" h="730885">
                  <a:moveTo>
                    <a:pt x="33425" y="368639"/>
                  </a:moveTo>
                  <a:lnTo>
                    <a:pt x="1677945" y="368639"/>
                  </a:lnTo>
                </a:path>
              </a:pathLst>
            </a:custGeom>
            <a:ln w="6700">
              <a:solidFill>
                <a:srgbClr val="85858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1" name="object 31"/>
            <p:cNvSpPr/>
            <p:nvPr/>
          </p:nvSpPr>
          <p:spPr>
            <a:xfrm>
              <a:off x="9447670" y="5080584"/>
              <a:ext cx="1270635" cy="395605"/>
            </a:xfrm>
            <a:custGeom>
              <a:avLst/>
              <a:gdLst/>
              <a:ahLst/>
              <a:cxnLst/>
              <a:rect l="l" t="t" r="r" b="b"/>
              <a:pathLst>
                <a:path w="1270634" h="395604">
                  <a:moveTo>
                    <a:pt x="33426" y="369430"/>
                  </a:moveTo>
                  <a:lnTo>
                    <a:pt x="25958" y="361937"/>
                  </a:lnTo>
                  <a:lnTo>
                    <a:pt x="7467" y="361937"/>
                  </a:lnTo>
                  <a:lnTo>
                    <a:pt x="0" y="369430"/>
                  </a:lnTo>
                  <a:lnTo>
                    <a:pt x="0" y="387972"/>
                  </a:lnTo>
                  <a:lnTo>
                    <a:pt x="7467" y="395452"/>
                  </a:lnTo>
                  <a:lnTo>
                    <a:pt x="25958" y="395452"/>
                  </a:lnTo>
                  <a:lnTo>
                    <a:pt x="33426" y="387972"/>
                  </a:lnTo>
                  <a:lnTo>
                    <a:pt x="33426" y="378701"/>
                  </a:lnTo>
                  <a:lnTo>
                    <a:pt x="33426" y="369430"/>
                  </a:lnTo>
                  <a:close/>
                </a:path>
                <a:path w="1270634" h="395604">
                  <a:moveTo>
                    <a:pt x="53479" y="188455"/>
                  </a:moveTo>
                  <a:lnTo>
                    <a:pt x="46012" y="180975"/>
                  </a:lnTo>
                  <a:lnTo>
                    <a:pt x="27520" y="180975"/>
                  </a:lnTo>
                  <a:lnTo>
                    <a:pt x="20053" y="188455"/>
                  </a:lnTo>
                  <a:lnTo>
                    <a:pt x="20053" y="206997"/>
                  </a:lnTo>
                  <a:lnTo>
                    <a:pt x="27520" y="214490"/>
                  </a:lnTo>
                  <a:lnTo>
                    <a:pt x="46012" y="214490"/>
                  </a:lnTo>
                  <a:lnTo>
                    <a:pt x="53479" y="206997"/>
                  </a:lnTo>
                  <a:lnTo>
                    <a:pt x="53479" y="197726"/>
                  </a:lnTo>
                  <a:lnTo>
                    <a:pt x="53479" y="188455"/>
                  </a:lnTo>
                  <a:close/>
                </a:path>
                <a:path w="1270634" h="395604">
                  <a:moveTo>
                    <a:pt x="66852" y="7493"/>
                  </a:moveTo>
                  <a:lnTo>
                    <a:pt x="59385" y="0"/>
                  </a:lnTo>
                  <a:lnTo>
                    <a:pt x="40894" y="0"/>
                  </a:lnTo>
                  <a:lnTo>
                    <a:pt x="33426" y="7493"/>
                  </a:lnTo>
                  <a:lnTo>
                    <a:pt x="33426" y="26035"/>
                  </a:lnTo>
                  <a:lnTo>
                    <a:pt x="40894" y="33515"/>
                  </a:lnTo>
                  <a:lnTo>
                    <a:pt x="59385" y="33515"/>
                  </a:lnTo>
                  <a:lnTo>
                    <a:pt x="66852" y="26035"/>
                  </a:lnTo>
                  <a:lnTo>
                    <a:pt x="66852" y="16764"/>
                  </a:lnTo>
                  <a:lnTo>
                    <a:pt x="66852" y="7493"/>
                  </a:lnTo>
                  <a:close/>
                </a:path>
                <a:path w="1270634" h="395604">
                  <a:moveTo>
                    <a:pt x="86906" y="369430"/>
                  </a:moveTo>
                  <a:lnTo>
                    <a:pt x="79438" y="361937"/>
                  </a:lnTo>
                  <a:lnTo>
                    <a:pt x="60947" y="361937"/>
                  </a:lnTo>
                  <a:lnTo>
                    <a:pt x="53479" y="369430"/>
                  </a:lnTo>
                  <a:lnTo>
                    <a:pt x="53479" y="387972"/>
                  </a:lnTo>
                  <a:lnTo>
                    <a:pt x="60947" y="395452"/>
                  </a:lnTo>
                  <a:lnTo>
                    <a:pt x="79438" y="395452"/>
                  </a:lnTo>
                  <a:lnTo>
                    <a:pt x="86906" y="387972"/>
                  </a:lnTo>
                  <a:lnTo>
                    <a:pt x="86906" y="378701"/>
                  </a:lnTo>
                  <a:lnTo>
                    <a:pt x="86906" y="369430"/>
                  </a:lnTo>
                  <a:close/>
                </a:path>
                <a:path w="1270634" h="395604">
                  <a:moveTo>
                    <a:pt x="100279" y="188455"/>
                  </a:moveTo>
                  <a:lnTo>
                    <a:pt x="92811" y="180975"/>
                  </a:lnTo>
                  <a:lnTo>
                    <a:pt x="74320" y="180975"/>
                  </a:lnTo>
                  <a:lnTo>
                    <a:pt x="66852" y="188455"/>
                  </a:lnTo>
                  <a:lnTo>
                    <a:pt x="66852" y="206997"/>
                  </a:lnTo>
                  <a:lnTo>
                    <a:pt x="74320" y="214490"/>
                  </a:lnTo>
                  <a:lnTo>
                    <a:pt x="92811" y="214490"/>
                  </a:lnTo>
                  <a:lnTo>
                    <a:pt x="100279" y="206997"/>
                  </a:lnTo>
                  <a:lnTo>
                    <a:pt x="100279" y="197726"/>
                  </a:lnTo>
                  <a:lnTo>
                    <a:pt x="100279" y="188455"/>
                  </a:lnTo>
                  <a:close/>
                </a:path>
                <a:path w="1270634" h="395604">
                  <a:moveTo>
                    <a:pt x="120332" y="7493"/>
                  </a:moveTo>
                  <a:lnTo>
                    <a:pt x="112864" y="0"/>
                  </a:lnTo>
                  <a:lnTo>
                    <a:pt x="94373" y="0"/>
                  </a:lnTo>
                  <a:lnTo>
                    <a:pt x="86906" y="7493"/>
                  </a:lnTo>
                  <a:lnTo>
                    <a:pt x="86906" y="26035"/>
                  </a:lnTo>
                  <a:lnTo>
                    <a:pt x="94373" y="33515"/>
                  </a:lnTo>
                  <a:lnTo>
                    <a:pt x="112864" y="33515"/>
                  </a:lnTo>
                  <a:lnTo>
                    <a:pt x="120332" y="26035"/>
                  </a:lnTo>
                  <a:lnTo>
                    <a:pt x="120332" y="16764"/>
                  </a:lnTo>
                  <a:lnTo>
                    <a:pt x="120332" y="7493"/>
                  </a:lnTo>
                  <a:close/>
                </a:path>
                <a:path w="1270634" h="395604">
                  <a:moveTo>
                    <a:pt x="133705" y="369430"/>
                  </a:moveTo>
                  <a:lnTo>
                    <a:pt x="126238" y="361937"/>
                  </a:lnTo>
                  <a:lnTo>
                    <a:pt x="107734" y="361937"/>
                  </a:lnTo>
                  <a:lnTo>
                    <a:pt x="100279" y="369430"/>
                  </a:lnTo>
                  <a:lnTo>
                    <a:pt x="100279" y="387972"/>
                  </a:lnTo>
                  <a:lnTo>
                    <a:pt x="107734" y="395452"/>
                  </a:lnTo>
                  <a:lnTo>
                    <a:pt x="126238" y="395452"/>
                  </a:lnTo>
                  <a:lnTo>
                    <a:pt x="133705" y="387972"/>
                  </a:lnTo>
                  <a:lnTo>
                    <a:pt x="133705" y="378701"/>
                  </a:lnTo>
                  <a:lnTo>
                    <a:pt x="133705" y="369430"/>
                  </a:lnTo>
                  <a:close/>
                </a:path>
                <a:path w="1270634" h="395604">
                  <a:moveTo>
                    <a:pt x="153758" y="188455"/>
                  </a:moveTo>
                  <a:lnTo>
                    <a:pt x="146291" y="180975"/>
                  </a:lnTo>
                  <a:lnTo>
                    <a:pt x="127800" y="180975"/>
                  </a:lnTo>
                  <a:lnTo>
                    <a:pt x="120332" y="188455"/>
                  </a:lnTo>
                  <a:lnTo>
                    <a:pt x="120332" y="206997"/>
                  </a:lnTo>
                  <a:lnTo>
                    <a:pt x="127800" y="214490"/>
                  </a:lnTo>
                  <a:lnTo>
                    <a:pt x="146291" y="214490"/>
                  </a:lnTo>
                  <a:lnTo>
                    <a:pt x="153758" y="206997"/>
                  </a:lnTo>
                  <a:lnTo>
                    <a:pt x="153758" y="197726"/>
                  </a:lnTo>
                  <a:lnTo>
                    <a:pt x="153758" y="188455"/>
                  </a:lnTo>
                  <a:close/>
                </a:path>
                <a:path w="1270634" h="395604">
                  <a:moveTo>
                    <a:pt x="167132" y="7493"/>
                  </a:moveTo>
                  <a:lnTo>
                    <a:pt x="159664" y="0"/>
                  </a:lnTo>
                  <a:lnTo>
                    <a:pt x="141160" y="0"/>
                  </a:lnTo>
                  <a:lnTo>
                    <a:pt x="133705" y="7493"/>
                  </a:lnTo>
                  <a:lnTo>
                    <a:pt x="133705" y="26035"/>
                  </a:lnTo>
                  <a:lnTo>
                    <a:pt x="141160" y="33515"/>
                  </a:lnTo>
                  <a:lnTo>
                    <a:pt x="159664" y="33515"/>
                  </a:lnTo>
                  <a:lnTo>
                    <a:pt x="167132" y="26035"/>
                  </a:lnTo>
                  <a:lnTo>
                    <a:pt x="167132" y="16764"/>
                  </a:lnTo>
                  <a:lnTo>
                    <a:pt x="167132" y="7493"/>
                  </a:lnTo>
                  <a:close/>
                </a:path>
                <a:path w="1270634" h="395604">
                  <a:moveTo>
                    <a:pt x="180492" y="369430"/>
                  </a:moveTo>
                  <a:lnTo>
                    <a:pt x="173024" y="361937"/>
                  </a:lnTo>
                  <a:lnTo>
                    <a:pt x="154533" y="361937"/>
                  </a:lnTo>
                  <a:lnTo>
                    <a:pt x="147066" y="369430"/>
                  </a:lnTo>
                  <a:lnTo>
                    <a:pt x="147066" y="387972"/>
                  </a:lnTo>
                  <a:lnTo>
                    <a:pt x="154533" y="395452"/>
                  </a:lnTo>
                  <a:lnTo>
                    <a:pt x="173024" y="395452"/>
                  </a:lnTo>
                  <a:lnTo>
                    <a:pt x="180492" y="387972"/>
                  </a:lnTo>
                  <a:lnTo>
                    <a:pt x="180492" y="378701"/>
                  </a:lnTo>
                  <a:lnTo>
                    <a:pt x="180492" y="369430"/>
                  </a:lnTo>
                  <a:close/>
                </a:path>
                <a:path w="1270634" h="395604">
                  <a:moveTo>
                    <a:pt x="200545" y="188455"/>
                  </a:moveTo>
                  <a:lnTo>
                    <a:pt x="193090" y="180975"/>
                  </a:lnTo>
                  <a:lnTo>
                    <a:pt x="174586" y="180975"/>
                  </a:lnTo>
                  <a:lnTo>
                    <a:pt x="167132" y="188455"/>
                  </a:lnTo>
                  <a:lnTo>
                    <a:pt x="167132" y="206997"/>
                  </a:lnTo>
                  <a:lnTo>
                    <a:pt x="174586" y="214490"/>
                  </a:lnTo>
                  <a:lnTo>
                    <a:pt x="193090" y="214490"/>
                  </a:lnTo>
                  <a:lnTo>
                    <a:pt x="200545" y="206997"/>
                  </a:lnTo>
                  <a:lnTo>
                    <a:pt x="200545" y="197726"/>
                  </a:lnTo>
                  <a:lnTo>
                    <a:pt x="200545" y="188455"/>
                  </a:lnTo>
                  <a:close/>
                </a:path>
                <a:path w="1270634" h="395604">
                  <a:moveTo>
                    <a:pt x="213918" y="7493"/>
                  </a:moveTo>
                  <a:lnTo>
                    <a:pt x="206451" y="0"/>
                  </a:lnTo>
                  <a:lnTo>
                    <a:pt x="187960" y="0"/>
                  </a:lnTo>
                  <a:lnTo>
                    <a:pt x="180492" y="7493"/>
                  </a:lnTo>
                  <a:lnTo>
                    <a:pt x="180492" y="26035"/>
                  </a:lnTo>
                  <a:lnTo>
                    <a:pt x="187960" y="33515"/>
                  </a:lnTo>
                  <a:lnTo>
                    <a:pt x="206451" y="33515"/>
                  </a:lnTo>
                  <a:lnTo>
                    <a:pt x="213918" y="26035"/>
                  </a:lnTo>
                  <a:lnTo>
                    <a:pt x="213918" y="16764"/>
                  </a:lnTo>
                  <a:lnTo>
                    <a:pt x="213918" y="7493"/>
                  </a:lnTo>
                  <a:close/>
                </a:path>
                <a:path w="1270634" h="395604">
                  <a:moveTo>
                    <a:pt x="233972" y="369430"/>
                  </a:moveTo>
                  <a:lnTo>
                    <a:pt x="226517" y="361937"/>
                  </a:lnTo>
                  <a:lnTo>
                    <a:pt x="208013" y="361937"/>
                  </a:lnTo>
                  <a:lnTo>
                    <a:pt x="200545" y="369430"/>
                  </a:lnTo>
                  <a:lnTo>
                    <a:pt x="200545" y="387972"/>
                  </a:lnTo>
                  <a:lnTo>
                    <a:pt x="208013" y="395452"/>
                  </a:lnTo>
                  <a:lnTo>
                    <a:pt x="226517" y="395452"/>
                  </a:lnTo>
                  <a:lnTo>
                    <a:pt x="233972" y="387972"/>
                  </a:lnTo>
                  <a:lnTo>
                    <a:pt x="233972" y="378701"/>
                  </a:lnTo>
                  <a:lnTo>
                    <a:pt x="233972" y="369430"/>
                  </a:lnTo>
                  <a:close/>
                </a:path>
                <a:path w="1270634" h="395604">
                  <a:moveTo>
                    <a:pt x="247345" y="188455"/>
                  </a:moveTo>
                  <a:lnTo>
                    <a:pt x="239877" y="180975"/>
                  </a:lnTo>
                  <a:lnTo>
                    <a:pt x="221386" y="180975"/>
                  </a:lnTo>
                  <a:lnTo>
                    <a:pt x="213918" y="188455"/>
                  </a:lnTo>
                  <a:lnTo>
                    <a:pt x="213918" y="206997"/>
                  </a:lnTo>
                  <a:lnTo>
                    <a:pt x="221386" y="214490"/>
                  </a:lnTo>
                  <a:lnTo>
                    <a:pt x="239877" y="214490"/>
                  </a:lnTo>
                  <a:lnTo>
                    <a:pt x="247345" y="206997"/>
                  </a:lnTo>
                  <a:lnTo>
                    <a:pt x="247345" y="197726"/>
                  </a:lnTo>
                  <a:lnTo>
                    <a:pt x="247345" y="188455"/>
                  </a:lnTo>
                  <a:close/>
                </a:path>
                <a:path w="1270634" h="395604">
                  <a:moveTo>
                    <a:pt x="267398" y="7493"/>
                  </a:moveTo>
                  <a:lnTo>
                    <a:pt x="259930" y="0"/>
                  </a:lnTo>
                  <a:lnTo>
                    <a:pt x="241439" y="0"/>
                  </a:lnTo>
                  <a:lnTo>
                    <a:pt x="233972" y="7493"/>
                  </a:lnTo>
                  <a:lnTo>
                    <a:pt x="233972" y="26035"/>
                  </a:lnTo>
                  <a:lnTo>
                    <a:pt x="241439" y="33515"/>
                  </a:lnTo>
                  <a:lnTo>
                    <a:pt x="259930" y="33515"/>
                  </a:lnTo>
                  <a:lnTo>
                    <a:pt x="267398" y="26035"/>
                  </a:lnTo>
                  <a:lnTo>
                    <a:pt x="267398" y="16764"/>
                  </a:lnTo>
                  <a:lnTo>
                    <a:pt x="267398" y="7493"/>
                  </a:lnTo>
                  <a:close/>
                </a:path>
                <a:path w="1270634" h="395604">
                  <a:moveTo>
                    <a:pt x="280771" y="369430"/>
                  </a:moveTo>
                  <a:lnTo>
                    <a:pt x="273304" y="361937"/>
                  </a:lnTo>
                  <a:lnTo>
                    <a:pt x="254812" y="361937"/>
                  </a:lnTo>
                  <a:lnTo>
                    <a:pt x="247345" y="369430"/>
                  </a:lnTo>
                  <a:lnTo>
                    <a:pt x="247345" y="387972"/>
                  </a:lnTo>
                  <a:lnTo>
                    <a:pt x="254812" y="395452"/>
                  </a:lnTo>
                  <a:lnTo>
                    <a:pt x="273304" y="395452"/>
                  </a:lnTo>
                  <a:lnTo>
                    <a:pt x="280771" y="387972"/>
                  </a:lnTo>
                  <a:lnTo>
                    <a:pt x="280771" y="378701"/>
                  </a:lnTo>
                  <a:lnTo>
                    <a:pt x="280771" y="369430"/>
                  </a:lnTo>
                  <a:close/>
                </a:path>
                <a:path w="1270634" h="395604">
                  <a:moveTo>
                    <a:pt x="300824" y="188455"/>
                  </a:moveTo>
                  <a:lnTo>
                    <a:pt x="293357" y="180975"/>
                  </a:lnTo>
                  <a:lnTo>
                    <a:pt x="274866" y="180975"/>
                  </a:lnTo>
                  <a:lnTo>
                    <a:pt x="267398" y="188455"/>
                  </a:lnTo>
                  <a:lnTo>
                    <a:pt x="267398" y="206997"/>
                  </a:lnTo>
                  <a:lnTo>
                    <a:pt x="274866" y="214490"/>
                  </a:lnTo>
                  <a:lnTo>
                    <a:pt x="293357" y="214490"/>
                  </a:lnTo>
                  <a:lnTo>
                    <a:pt x="300824" y="206997"/>
                  </a:lnTo>
                  <a:lnTo>
                    <a:pt x="300824" y="197726"/>
                  </a:lnTo>
                  <a:lnTo>
                    <a:pt x="300824" y="188455"/>
                  </a:lnTo>
                  <a:close/>
                </a:path>
                <a:path w="1270634" h="395604">
                  <a:moveTo>
                    <a:pt x="314198" y="7493"/>
                  </a:moveTo>
                  <a:lnTo>
                    <a:pt x="306730" y="0"/>
                  </a:lnTo>
                  <a:lnTo>
                    <a:pt x="288239" y="0"/>
                  </a:lnTo>
                  <a:lnTo>
                    <a:pt x="280771" y="7493"/>
                  </a:lnTo>
                  <a:lnTo>
                    <a:pt x="280771" y="26035"/>
                  </a:lnTo>
                  <a:lnTo>
                    <a:pt x="288239" y="33515"/>
                  </a:lnTo>
                  <a:lnTo>
                    <a:pt x="306730" y="33515"/>
                  </a:lnTo>
                  <a:lnTo>
                    <a:pt x="314198" y="26035"/>
                  </a:lnTo>
                  <a:lnTo>
                    <a:pt x="314198" y="16764"/>
                  </a:lnTo>
                  <a:lnTo>
                    <a:pt x="314198" y="7493"/>
                  </a:lnTo>
                  <a:close/>
                </a:path>
                <a:path w="1270634" h="395604">
                  <a:moveTo>
                    <a:pt x="334251" y="369430"/>
                  </a:moveTo>
                  <a:lnTo>
                    <a:pt x="326783" y="361937"/>
                  </a:lnTo>
                  <a:lnTo>
                    <a:pt x="308292" y="361937"/>
                  </a:lnTo>
                  <a:lnTo>
                    <a:pt x="300824" y="369430"/>
                  </a:lnTo>
                  <a:lnTo>
                    <a:pt x="300824" y="387972"/>
                  </a:lnTo>
                  <a:lnTo>
                    <a:pt x="308292" y="395452"/>
                  </a:lnTo>
                  <a:lnTo>
                    <a:pt x="326783" y="395452"/>
                  </a:lnTo>
                  <a:lnTo>
                    <a:pt x="334251" y="387972"/>
                  </a:lnTo>
                  <a:lnTo>
                    <a:pt x="334251" y="378701"/>
                  </a:lnTo>
                  <a:lnTo>
                    <a:pt x="334251" y="369430"/>
                  </a:lnTo>
                  <a:close/>
                </a:path>
                <a:path w="1270634" h="395604">
                  <a:moveTo>
                    <a:pt x="347624" y="188455"/>
                  </a:moveTo>
                  <a:lnTo>
                    <a:pt x="340156" y="180975"/>
                  </a:lnTo>
                  <a:lnTo>
                    <a:pt x="321665" y="180975"/>
                  </a:lnTo>
                  <a:lnTo>
                    <a:pt x="314198" y="188455"/>
                  </a:lnTo>
                  <a:lnTo>
                    <a:pt x="314198" y="206997"/>
                  </a:lnTo>
                  <a:lnTo>
                    <a:pt x="321665" y="214490"/>
                  </a:lnTo>
                  <a:lnTo>
                    <a:pt x="340156" y="214490"/>
                  </a:lnTo>
                  <a:lnTo>
                    <a:pt x="347624" y="206997"/>
                  </a:lnTo>
                  <a:lnTo>
                    <a:pt x="347624" y="197726"/>
                  </a:lnTo>
                  <a:lnTo>
                    <a:pt x="347624" y="188455"/>
                  </a:lnTo>
                  <a:close/>
                </a:path>
                <a:path w="1270634" h="395604">
                  <a:moveTo>
                    <a:pt x="360997" y="7493"/>
                  </a:moveTo>
                  <a:lnTo>
                    <a:pt x="353529" y="0"/>
                  </a:lnTo>
                  <a:lnTo>
                    <a:pt x="335026" y="0"/>
                  </a:lnTo>
                  <a:lnTo>
                    <a:pt x="327571" y="7493"/>
                  </a:lnTo>
                  <a:lnTo>
                    <a:pt x="327571" y="26035"/>
                  </a:lnTo>
                  <a:lnTo>
                    <a:pt x="335026" y="33515"/>
                  </a:lnTo>
                  <a:lnTo>
                    <a:pt x="353529" y="33515"/>
                  </a:lnTo>
                  <a:lnTo>
                    <a:pt x="360997" y="26035"/>
                  </a:lnTo>
                  <a:lnTo>
                    <a:pt x="360997" y="16764"/>
                  </a:lnTo>
                  <a:lnTo>
                    <a:pt x="360997" y="7493"/>
                  </a:lnTo>
                  <a:close/>
                </a:path>
                <a:path w="1270634" h="395604">
                  <a:moveTo>
                    <a:pt x="381050" y="369430"/>
                  </a:moveTo>
                  <a:lnTo>
                    <a:pt x="373583" y="361937"/>
                  </a:lnTo>
                  <a:lnTo>
                    <a:pt x="355092" y="361937"/>
                  </a:lnTo>
                  <a:lnTo>
                    <a:pt x="347624" y="369430"/>
                  </a:lnTo>
                  <a:lnTo>
                    <a:pt x="347624" y="387972"/>
                  </a:lnTo>
                  <a:lnTo>
                    <a:pt x="355092" y="395452"/>
                  </a:lnTo>
                  <a:lnTo>
                    <a:pt x="373583" y="395452"/>
                  </a:lnTo>
                  <a:lnTo>
                    <a:pt x="381050" y="387972"/>
                  </a:lnTo>
                  <a:lnTo>
                    <a:pt x="381050" y="378701"/>
                  </a:lnTo>
                  <a:lnTo>
                    <a:pt x="381050" y="369430"/>
                  </a:lnTo>
                  <a:close/>
                </a:path>
                <a:path w="1270634" h="395604">
                  <a:moveTo>
                    <a:pt x="394411" y="188455"/>
                  </a:moveTo>
                  <a:lnTo>
                    <a:pt x="386956" y="180975"/>
                  </a:lnTo>
                  <a:lnTo>
                    <a:pt x="368452" y="180975"/>
                  </a:lnTo>
                  <a:lnTo>
                    <a:pt x="360997" y="188455"/>
                  </a:lnTo>
                  <a:lnTo>
                    <a:pt x="360997" y="206997"/>
                  </a:lnTo>
                  <a:lnTo>
                    <a:pt x="368452" y="214490"/>
                  </a:lnTo>
                  <a:lnTo>
                    <a:pt x="386956" y="214490"/>
                  </a:lnTo>
                  <a:lnTo>
                    <a:pt x="394411" y="206997"/>
                  </a:lnTo>
                  <a:lnTo>
                    <a:pt x="394411" y="197726"/>
                  </a:lnTo>
                  <a:lnTo>
                    <a:pt x="394411" y="188455"/>
                  </a:lnTo>
                  <a:close/>
                </a:path>
                <a:path w="1270634" h="395604">
                  <a:moveTo>
                    <a:pt x="414477" y="7493"/>
                  </a:moveTo>
                  <a:lnTo>
                    <a:pt x="407009" y="0"/>
                  </a:lnTo>
                  <a:lnTo>
                    <a:pt x="388518" y="0"/>
                  </a:lnTo>
                  <a:lnTo>
                    <a:pt x="381050" y="7493"/>
                  </a:lnTo>
                  <a:lnTo>
                    <a:pt x="381050" y="26035"/>
                  </a:lnTo>
                  <a:lnTo>
                    <a:pt x="388518" y="33515"/>
                  </a:lnTo>
                  <a:lnTo>
                    <a:pt x="407009" y="33515"/>
                  </a:lnTo>
                  <a:lnTo>
                    <a:pt x="414477" y="26035"/>
                  </a:lnTo>
                  <a:lnTo>
                    <a:pt x="414477" y="16764"/>
                  </a:lnTo>
                  <a:lnTo>
                    <a:pt x="414477" y="7493"/>
                  </a:lnTo>
                  <a:close/>
                </a:path>
                <a:path w="1270634" h="395604">
                  <a:moveTo>
                    <a:pt x="427837" y="369430"/>
                  </a:moveTo>
                  <a:lnTo>
                    <a:pt x="420382" y="361937"/>
                  </a:lnTo>
                  <a:lnTo>
                    <a:pt x="401878" y="361937"/>
                  </a:lnTo>
                  <a:lnTo>
                    <a:pt x="394411" y="369430"/>
                  </a:lnTo>
                  <a:lnTo>
                    <a:pt x="394411" y="387972"/>
                  </a:lnTo>
                  <a:lnTo>
                    <a:pt x="401878" y="395452"/>
                  </a:lnTo>
                  <a:lnTo>
                    <a:pt x="420382" y="395452"/>
                  </a:lnTo>
                  <a:lnTo>
                    <a:pt x="427837" y="387972"/>
                  </a:lnTo>
                  <a:lnTo>
                    <a:pt x="427837" y="378701"/>
                  </a:lnTo>
                  <a:lnTo>
                    <a:pt x="427837" y="369430"/>
                  </a:lnTo>
                  <a:close/>
                </a:path>
                <a:path w="1270634" h="395604">
                  <a:moveTo>
                    <a:pt x="447903" y="188455"/>
                  </a:moveTo>
                  <a:lnTo>
                    <a:pt x="440436" y="180975"/>
                  </a:lnTo>
                  <a:lnTo>
                    <a:pt x="421932" y="180975"/>
                  </a:lnTo>
                  <a:lnTo>
                    <a:pt x="414477" y="188455"/>
                  </a:lnTo>
                  <a:lnTo>
                    <a:pt x="414477" y="206997"/>
                  </a:lnTo>
                  <a:lnTo>
                    <a:pt x="421932" y="214490"/>
                  </a:lnTo>
                  <a:lnTo>
                    <a:pt x="440436" y="214490"/>
                  </a:lnTo>
                  <a:lnTo>
                    <a:pt x="447903" y="206997"/>
                  </a:lnTo>
                  <a:lnTo>
                    <a:pt x="447903" y="197726"/>
                  </a:lnTo>
                  <a:lnTo>
                    <a:pt x="447903" y="188455"/>
                  </a:lnTo>
                  <a:close/>
                </a:path>
                <a:path w="1270634" h="395604">
                  <a:moveTo>
                    <a:pt x="461264" y="7493"/>
                  </a:moveTo>
                  <a:lnTo>
                    <a:pt x="453796" y="0"/>
                  </a:lnTo>
                  <a:lnTo>
                    <a:pt x="435305" y="0"/>
                  </a:lnTo>
                  <a:lnTo>
                    <a:pt x="427837" y="7493"/>
                  </a:lnTo>
                  <a:lnTo>
                    <a:pt x="427837" y="26035"/>
                  </a:lnTo>
                  <a:lnTo>
                    <a:pt x="435305" y="33515"/>
                  </a:lnTo>
                  <a:lnTo>
                    <a:pt x="453796" y="33515"/>
                  </a:lnTo>
                  <a:lnTo>
                    <a:pt x="461264" y="26035"/>
                  </a:lnTo>
                  <a:lnTo>
                    <a:pt x="461264" y="16764"/>
                  </a:lnTo>
                  <a:lnTo>
                    <a:pt x="461264" y="7493"/>
                  </a:lnTo>
                  <a:close/>
                </a:path>
                <a:path w="1270634" h="395604">
                  <a:moveTo>
                    <a:pt x="481317" y="369430"/>
                  </a:moveTo>
                  <a:lnTo>
                    <a:pt x="473862" y="361937"/>
                  </a:lnTo>
                  <a:lnTo>
                    <a:pt x="455358" y="361937"/>
                  </a:lnTo>
                  <a:lnTo>
                    <a:pt x="447903" y="369430"/>
                  </a:lnTo>
                  <a:lnTo>
                    <a:pt x="447903" y="387972"/>
                  </a:lnTo>
                  <a:lnTo>
                    <a:pt x="455358" y="395452"/>
                  </a:lnTo>
                  <a:lnTo>
                    <a:pt x="473862" y="395452"/>
                  </a:lnTo>
                  <a:lnTo>
                    <a:pt x="481317" y="387972"/>
                  </a:lnTo>
                  <a:lnTo>
                    <a:pt x="481317" y="378701"/>
                  </a:lnTo>
                  <a:lnTo>
                    <a:pt x="481317" y="369430"/>
                  </a:lnTo>
                  <a:close/>
                </a:path>
                <a:path w="1270634" h="395604">
                  <a:moveTo>
                    <a:pt x="494690" y="188455"/>
                  </a:moveTo>
                  <a:lnTo>
                    <a:pt x="487222" y="180975"/>
                  </a:lnTo>
                  <a:lnTo>
                    <a:pt x="468731" y="180975"/>
                  </a:lnTo>
                  <a:lnTo>
                    <a:pt x="461264" y="188455"/>
                  </a:lnTo>
                  <a:lnTo>
                    <a:pt x="461264" y="206997"/>
                  </a:lnTo>
                  <a:lnTo>
                    <a:pt x="468731" y="214490"/>
                  </a:lnTo>
                  <a:lnTo>
                    <a:pt x="487222" y="214490"/>
                  </a:lnTo>
                  <a:lnTo>
                    <a:pt x="494690" y="206997"/>
                  </a:lnTo>
                  <a:lnTo>
                    <a:pt x="494690" y="197726"/>
                  </a:lnTo>
                  <a:lnTo>
                    <a:pt x="494690" y="188455"/>
                  </a:lnTo>
                  <a:close/>
                </a:path>
                <a:path w="1270634" h="395604">
                  <a:moveTo>
                    <a:pt x="594969" y="369430"/>
                  </a:moveTo>
                  <a:lnTo>
                    <a:pt x="587502" y="361937"/>
                  </a:lnTo>
                  <a:lnTo>
                    <a:pt x="569010" y="361937"/>
                  </a:lnTo>
                  <a:lnTo>
                    <a:pt x="561543" y="369430"/>
                  </a:lnTo>
                  <a:lnTo>
                    <a:pt x="561543" y="387972"/>
                  </a:lnTo>
                  <a:lnTo>
                    <a:pt x="569010" y="395452"/>
                  </a:lnTo>
                  <a:lnTo>
                    <a:pt x="587502" y="395452"/>
                  </a:lnTo>
                  <a:lnTo>
                    <a:pt x="594969" y="387972"/>
                  </a:lnTo>
                  <a:lnTo>
                    <a:pt x="594969" y="378701"/>
                  </a:lnTo>
                  <a:lnTo>
                    <a:pt x="594969" y="369430"/>
                  </a:lnTo>
                  <a:close/>
                </a:path>
                <a:path w="1270634" h="395604">
                  <a:moveTo>
                    <a:pt x="608342" y="188455"/>
                  </a:moveTo>
                  <a:lnTo>
                    <a:pt x="600875" y="180975"/>
                  </a:lnTo>
                  <a:lnTo>
                    <a:pt x="582383" y="180975"/>
                  </a:lnTo>
                  <a:lnTo>
                    <a:pt x="574916" y="188455"/>
                  </a:lnTo>
                  <a:lnTo>
                    <a:pt x="574916" y="206997"/>
                  </a:lnTo>
                  <a:lnTo>
                    <a:pt x="582383" y="214490"/>
                  </a:lnTo>
                  <a:lnTo>
                    <a:pt x="600875" y="214490"/>
                  </a:lnTo>
                  <a:lnTo>
                    <a:pt x="608342" y="206997"/>
                  </a:lnTo>
                  <a:lnTo>
                    <a:pt x="608342" y="197726"/>
                  </a:lnTo>
                  <a:lnTo>
                    <a:pt x="608342" y="188455"/>
                  </a:lnTo>
                  <a:close/>
                </a:path>
                <a:path w="1270634" h="395604">
                  <a:moveTo>
                    <a:pt x="628396" y="7493"/>
                  </a:moveTo>
                  <a:lnTo>
                    <a:pt x="620928" y="0"/>
                  </a:lnTo>
                  <a:lnTo>
                    <a:pt x="602437" y="0"/>
                  </a:lnTo>
                  <a:lnTo>
                    <a:pt x="594969" y="7493"/>
                  </a:lnTo>
                  <a:lnTo>
                    <a:pt x="594969" y="26035"/>
                  </a:lnTo>
                  <a:lnTo>
                    <a:pt x="602437" y="33515"/>
                  </a:lnTo>
                  <a:lnTo>
                    <a:pt x="620928" y="33515"/>
                  </a:lnTo>
                  <a:lnTo>
                    <a:pt x="628396" y="26035"/>
                  </a:lnTo>
                  <a:lnTo>
                    <a:pt x="628396" y="16764"/>
                  </a:lnTo>
                  <a:lnTo>
                    <a:pt x="628396" y="7493"/>
                  </a:lnTo>
                  <a:close/>
                </a:path>
                <a:path w="1270634" h="395604">
                  <a:moveTo>
                    <a:pt x="641769" y="369430"/>
                  </a:moveTo>
                  <a:lnTo>
                    <a:pt x="634301" y="361937"/>
                  </a:lnTo>
                  <a:lnTo>
                    <a:pt x="615797" y="361937"/>
                  </a:lnTo>
                  <a:lnTo>
                    <a:pt x="608342" y="369430"/>
                  </a:lnTo>
                  <a:lnTo>
                    <a:pt x="608342" y="387972"/>
                  </a:lnTo>
                  <a:lnTo>
                    <a:pt x="615797" y="395452"/>
                  </a:lnTo>
                  <a:lnTo>
                    <a:pt x="634301" y="395452"/>
                  </a:lnTo>
                  <a:lnTo>
                    <a:pt x="641769" y="387972"/>
                  </a:lnTo>
                  <a:lnTo>
                    <a:pt x="641769" y="378701"/>
                  </a:lnTo>
                  <a:lnTo>
                    <a:pt x="641769" y="369430"/>
                  </a:lnTo>
                  <a:close/>
                </a:path>
                <a:path w="1270634" h="395604">
                  <a:moveTo>
                    <a:pt x="661822" y="188455"/>
                  </a:moveTo>
                  <a:lnTo>
                    <a:pt x="654354" y="180975"/>
                  </a:lnTo>
                  <a:lnTo>
                    <a:pt x="635863" y="180975"/>
                  </a:lnTo>
                  <a:lnTo>
                    <a:pt x="628396" y="188455"/>
                  </a:lnTo>
                  <a:lnTo>
                    <a:pt x="628396" y="206997"/>
                  </a:lnTo>
                  <a:lnTo>
                    <a:pt x="635863" y="214490"/>
                  </a:lnTo>
                  <a:lnTo>
                    <a:pt x="654354" y="214490"/>
                  </a:lnTo>
                  <a:lnTo>
                    <a:pt x="661822" y="206997"/>
                  </a:lnTo>
                  <a:lnTo>
                    <a:pt x="661822" y="197726"/>
                  </a:lnTo>
                  <a:lnTo>
                    <a:pt x="661822" y="188455"/>
                  </a:lnTo>
                  <a:close/>
                </a:path>
                <a:path w="1270634" h="395604">
                  <a:moveTo>
                    <a:pt x="675182" y="7493"/>
                  </a:moveTo>
                  <a:lnTo>
                    <a:pt x="667727" y="0"/>
                  </a:lnTo>
                  <a:lnTo>
                    <a:pt x="649224" y="0"/>
                  </a:lnTo>
                  <a:lnTo>
                    <a:pt x="641769" y="7493"/>
                  </a:lnTo>
                  <a:lnTo>
                    <a:pt x="641769" y="26035"/>
                  </a:lnTo>
                  <a:lnTo>
                    <a:pt x="649224" y="33515"/>
                  </a:lnTo>
                  <a:lnTo>
                    <a:pt x="667727" y="33515"/>
                  </a:lnTo>
                  <a:lnTo>
                    <a:pt x="675182" y="26035"/>
                  </a:lnTo>
                  <a:lnTo>
                    <a:pt x="675182" y="16764"/>
                  </a:lnTo>
                  <a:lnTo>
                    <a:pt x="675182" y="7493"/>
                  </a:lnTo>
                  <a:close/>
                </a:path>
                <a:path w="1270634" h="395604">
                  <a:moveTo>
                    <a:pt x="695248" y="369430"/>
                  </a:moveTo>
                  <a:lnTo>
                    <a:pt x="687781" y="361937"/>
                  </a:lnTo>
                  <a:lnTo>
                    <a:pt x="669290" y="361937"/>
                  </a:lnTo>
                  <a:lnTo>
                    <a:pt x="661822" y="369430"/>
                  </a:lnTo>
                  <a:lnTo>
                    <a:pt x="661822" y="387972"/>
                  </a:lnTo>
                  <a:lnTo>
                    <a:pt x="669290" y="395452"/>
                  </a:lnTo>
                  <a:lnTo>
                    <a:pt x="687781" y="395452"/>
                  </a:lnTo>
                  <a:lnTo>
                    <a:pt x="695248" y="387972"/>
                  </a:lnTo>
                  <a:lnTo>
                    <a:pt x="695248" y="378701"/>
                  </a:lnTo>
                  <a:lnTo>
                    <a:pt x="695248" y="369430"/>
                  </a:lnTo>
                  <a:close/>
                </a:path>
                <a:path w="1270634" h="395604">
                  <a:moveTo>
                    <a:pt x="708609" y="188455"/>
                  </a:moveTo>
                  <a:lnTo>
                    <a:pt x="701154" y="180975"/>
                  </a:lnTo>
                  <a:lnTo>
                    <a:pt x="682650" y="180975"/>
                  </a:lnTo>
                  <a:lnTo>
                    <a:pt x="675182" y="188455"/>
                  </a:lnTo>
                  <a:lnTo>
                    <a:pt x="675182" y="206997"/>
                  </a:lnTo>
                  <a:lnTo>
                    <a:pt x="682650" y="214490"/>
                  </a:lnTo>
                  <a:lnTo>
                    <a:pt x="701154" y="214490"/>
                  </a:lnTo>
                  <a:lnTo>
                    <a:pt x="708609" y="206997"/>
                  </a:lnTo>
                  <a:lnTo>
                    <a:pt x="708609" y="197726"/>
                  </a:lnTo>
                  <a:lnTo>
                    <a:pt x="708609" y="188455"/>
                  </a:lnTo>
                  <a:close/>
                </a:path>
                <a:path w="1270634" h="395604">
                  <a:moveTo>
                    <a:pt x="728675" y="7493"/>
                  </a:moveTo>
                  <a:lnTo>
                    <a:pt x="721207" y="0"/>
                  </a:lnTo>
                  <a:lnTo>
                    <a:pt x="702703" y="0"/>
                  </a:lnTo>
                  <a:lnTo>
                    <a:pt x="695248" y="7493"/>
                  </a:lnTo>
                  <a:lnTo>
                    <a:pt x="695248" y="26035"/>
                  </a:lnTo>
                  <a:lnTo>
                    <a:pt x="702703" y="33515"/>
                  </a:lnTo>
                  <a:lnTo>
                    <a:pt x="721207" y="33515"/>
                  </a:lnTo>
                  <a:lnTo>
                    <a:pt x="728675" y="26035"/>
                  </a:lnTo>
                  <a:lnTo>
                    <a:pt x="728675" y="16764"/>
                  </a:lnTo>
                  <a:lnTo>
                    <a:pt x="728675" y="7493"/>
                  </a:lnTo>
                  <a:close/>
                </a:path>
                <a:path w="1270634" h="395604">
                  <a:moveTo>
                    <a:pt x="742035" y="369430"/>
                  </a:moveTo>
                  <a:lnTo>
                    <a:pt x="734580" y="361937"/>
                  </a:lnTo>
                  <a:lnTo>
                    <a:pt x="716076" y="361937"/>
                  </a:lnTo>
                  <a:lnTo>
                    <a:pt x="708609" y="369430"/>
                  </a:lnTo>
                  <a:lnTo>
                    <a:pt x="708609" y="387972"/>
                  </a:lnTo>
                  <a:lnTo>
                    <a:pt x="716076" y="395452"/>
                  </a:lnTo>
                  <a:lnTo>
                    <a:pt x="734580" y="395452"/>
                  </a:lnTo>
                  <a:lnTo>
                    <a:pt x="742035" y="387972"/>
                  </a:lnTo>
                  <a:lnTo>
                    <a:pt x="742035" y="378701"/>
                  </a:lnTo>
                  <a:lnTo>
                    <a:pt x="742035" y="369430"/>
                  </a:lnTo>
                  <a:close/>
                </a:path>
                <a:path w="1270634" h="395604">
                  <a:moveTo>
                    <a:pt x="755408" y="188455"/>
                  </a:moveTo>
                  <a:lnTo>
                    <a:pt x="747941" y="180975"/>
                  </a:lnTo>
                  <a:lnTo>
                    <a:pt x="729449" y="180975"/>
                  </a:lnTo>
                  <a:lnTo>
                    <a:pt x="721982" y="188455"/>
                  </a:lnTo>
                  <a:lnTo>
                    <a:pt x="721982" y="206997"/>
                  </a:lnTo>
                  <a:lnTo>
                    <a:pt x="729449" y="214490"/>
                  </a:lnTo>
                  <a:lnTo>
                    <a:pt x="747941" y="214490"/>
                  </a:lnTo>
                  <a:lnTo>
                    <a:pt x="755408" y="206997"/>
                  </a:lnTo>
                  <a:lnTo>
                    <a:pt x="755408" y="197726"/>
                  </a:lnTo>
                  <a:lnTo>
                    <a:pt x="755408" y="188455"/>
                  </a:lnTo>
                  <a:close/>
                </a:path>
                <a:path w="1270634" h="395604">
                  <a:moveTo>
                    <a:pt x="775462" y="7493"/>
                  </a:moveTo>
                  <a:lnTo>
                    <a:pt x="767994" y="0"/>
                  </a:lnTo>
                  <a:lnTo>
                    <a:pt x="749503" y="0"/>
                  </a:lnTo>
                  <a:lnTo>
                    <a:pt x="742035" y="7493"/>
                  </a:lnTo>
                  <a:lnTo>
                    <a:pt x="742035" y="26035"/>
                  </a:lnTo>
                  <a:lnTo>
                    <a:pt x="749503" y="33515"/>
                  </a:lnTo>
                  <a:lnTo>
                    <a:pt x="767994" y="33515"/>
                  </a:lnTo>
                  <a:lnTo>
                    <a:pt x="775462" y="26035"/>
                  </a:lnTo>
                  <a:lnTo>
                    <a:pt x="775462" y="16764"/>
                  </a:lnTo>
                  <a:lnTo>
                    <a:pt x="775462" y="7493"/>
                  </a:lnTo>
                  <a:close/>
                </a:path>
                <a:path w="1270634" h="395604">
                  <a:moveTo>
                    <a:pt x="788835" y="369430"/>
                  </a:moveTo>
                  <a:lnTo>
                    <a:pt x="781367" y="361937"/>
                  </a:lnTo>
                  <a:lnTo>
                    <a:pt x="762876" y="361937"/>
                  </a:lnTo>
                  <a:lnTo>
                    <a:pt x="755408" y="369430"/>
                  </a:lnTo>
                  <a:lnTo>
                    <a:pt x="755408" y="387972"/>
                  </a:lnTo>
                  <a:lnTo>
                    <a:pt x="762876" y="395452"/>
                  </a:lnTo>
                  <a:lnTo>
                    <a:pt x="781367" y="395452"/>
                  </a:lnTo>
                  <a:lnTo>
                    <a:pt x="788835" y="387972"/>
                  </a:lnTo>
                  <a:lnTo>
                    <a:pt x="788835" y="378701"/>
                  </a:lnTo>
                  <a:lnTo>
                    <a:pt x="788835" y="369430"/>
                  </a:lnTo>
                  <a:close/>
                </a:path>
                <a:path w="1270634" h="395604">
                  <a:moveTo>
                    <a:pt x="808888" y="188455"/>
                  </a:moveTo>
                  <a:lnTo>
                    <a:pt x="801420" y="180975"/>
                  </a:lnTo>
                  <a:lnTo>
                    <a:pt x="782929" y="180975"/>
                  </a:lnTo>
                  <a:lnTo>
                    <a:pt x="775462" y="188455"/>
                  </a:lnTo>
                  <a:lnTo>
                    <a:pt x="775462" y="206997"/>
                  </a:lnTo>
                  <a:lnTo>
                    <a:pt x="782929" y="214490"/>
                  </a:lnTo>
                  <a:lnTo>
                    <a:pt x="801420" y="214490"/>
                  </a:lnTo>
                  <a:lnTo>
                    <a:pt x="808888" y="206997"/>
                  </a:lnTo>
                  <a:lnTo>
                    <a:pt x="808888" y="197726"/>
                  </a:lnTo>
                  <a:lnTo>
                    <a:pt x="808888" y="188455"/>
                  </a:lnTo>
                  <a:close/>
                </a:path>
                <a:path w="1270634" h="395604">
                  <a:moveTo>
                    <a:pt x="822261" y="7493"/>
                  </a:moveTo>
                  <a:lnTo>
                    <a:pt x="814793" y="0"/>
                  </a:lnTo>
                  <a:lnTo>
                    <a:pt x="796302" y="0"/>
                  </a:lnTo>
                  <a:lnTo>
                    <a:pt x="788835" y="7493"/>
                  </a:lnTo>
                  <a:lnTo>
                    <a:pt x="788835" y="26035"/>
                  </a:lnTo>
                  <a:lnTo>
                    <a:pt x="796302" y="33515"/>
                  </a:lnTo>
                  <a:lnTo>
                    <a:pt x="814793" y="33515"/>
                  </a:lnTo>
                  <a:lnTo>
                    <a:pt x="822261" y="26035"/>
                  </a:lnTo>
                  <a:lnTo>
                    <a:pt x="822261" y="16764"/>
                  </a:lnTo>
                  <a:lnTo>
                    <a:pt x="822261" y="7493"/>
                  </a:lnTo>
                  <a:close/>
                </a:path>
                <a:path w="1270634" h="395604">
                  <a:moveTo>
                    <a:pt x="842314" y="369430"/>
                  </a:moveTo>
                  <a:lnTo>
                    <a:pt x="834847" y="361937"/>
                  </a:lnTo>
                  <a:lnTo>
                    <a:pt x="816356" y="361937"/>
                  </a:lnTo>
                  <a:lnTo>
                    <a:pt x="808888" y="369430"/>
                  </a:lnTo>
                  <a:lnTo>
                    <a:pt x="808888" y="387972"/>
                  </a:lnTo>
                  <a:lnTo>
                    <a:pt x="816356" y="395452"/>
                  </a:lnTo>
                  <a:lnTo>
                    <a:pt x="834847" y="395452"/>
                  </a:lnTo>
                  <a:lnTo>
                    <a:pt x="842314" y="387972"/>
                  </a:lnTo>
                  <a:lnTo>
                    <a:pt x="842314" y="378701"/>
                  </a:lnTo>
                  <a:lnTo>
                    <a:pt x="842314" y="369430"/>
                  </a:lnTo>
                  <a:close/>
                </a:path>
                <a:path w="1270634" h="395604">
                  <a:moveTo>
                    <a:pt x="855687" y="188455"/>
                  </a:moveTo>
                  <a:lnTo>
                    <a:pt x="848220" y="180975"/>
                  </a:lnTo>
                  <a:lnTo>
                    <a:pt x="829729" y="180975"/>
                  </a:lnTo>
                  <a:lnTo>
                    <a:pt x="822261" y="188455"/>
                  </a:lnTo>
                  <a:lnTo>
                    <a:pt x="822261" y="206997"/>
                  </a:lnTo>
                  <a:lnTo>
                    <a:pt x="829729" y="214490"/>
                  </a:lnTo>
                  <a:lnTo>
                    <a:pt x="848220" y="214490"/>
                  </a:lnTo>
                  <a:lnTo>
                    <a:pt x="855687" y="206997"/>
                  </a:lnTo>
                  <a:lnTo>
                    <a:pt x="855687" y="197726"/>
                  </a:lnTo>
                  <a:lnTo>
                    <a:pt x="855687" y="188455"/>
                  </a:lnTo>
                  <a:close/>
                </a:path>
                <a:path w="1270634" h="395604">
                  <a:moveTo>
                    <a:pt x="875741" y="7493"/>
                  </a:moveTo>
                  <a:lnTo>
                    <a:pt x="868273" y="0"/>
                  </a:lnTo>
                  <a:lnTo>
                    <a:pt x="849782" y="0"/>
                  </a:lnTo>
                  <a:lnTo>
                    <a:pt x="842314" y="7493"/>
                  </a:lnTo>
                  <a:lnTo>
                    <a:pt x="842314" y="26035"/>
                  </a:lnTo>
                  <a:lnTo>
                    <a:pt x="849782" y="33515"/>
                  </a:lnTo>
                  <a:lnTo>
                    <a:pt x="868273" y="33515"/>
                  </a:lnTo>
                  <a:lnTo>
                    <a:pt x="875741" y="26035"/>
                  </a:lnTo>
                  <a:lnTo>
                    <a:pt x="875741" y="16764"/>
                  </a:lnTo>
                  <a:lnTo>
                    <a:pt x="875741" y="7493"/>
                  </a:lnTo>
                  <a:close/>
                </a:path>
                <a:path w="1270634" h="395604">
                  <a:moveTo>
                    <a:pt x="889114" y="369430"/>
                  </a:moveTo>
                  <a:lnTo>
                    <a:pt x="881646" y="361937"/>
                  </a:lnTo>
                  <a:lnTo>
                    <a:pt x="863155" y="361937"/>
                  </a:lnTo>
                  <a:lnTo>
                    <a:pt x="855687" y="369430"/>
                  </a:lnTo>
                  <a:lnTo>
                    <a:pt x="855687" y="387972"/>
                  </a:lnTo>
                  <a:lnTo>
                    <a:pt x="863155" y="395452"/>
                  </a:lnTo>
                  <a:lnTo>
                    <a:pt x="881646" y="395452"/>
                  </a:lnTo>
                  <a:lnTo>
                    <a:pt x="889114" y="387972"/>
                  </a:lnTo>
                  <a:lnTo>
                    <a:pt x="889114" y="378701"/>
                  </a:lnTo>
                  <a:lnTo>
                    <a:pt x="889114" y="369430"/>
                  </a:lnTo>
                  <a:close/>
                </a:path>
                <a:path w="1270634" h="395604">
                  <a:moveTo>
                    <a:pt x="909167" y="188455"/>
                  </a:moveTo>
                  <a:lnTo>
                    <a:pt x="901700" y="180975"/>
                  </a:lnTo>
                  <a:lnTo>
                    <a:pt x="883208" y="180975"/>
                  </a:lnTo>
                  <a:lnTo>
                    <a:pt x="875741" y="188455"/>
                  </a:lnTo>
                  <a:lnTo>
                    <a:pt x="875741" y="206997"/>
                  </a:lnTo>
                  <a:lnTo>
                    <a:pt x="883208" y="214490"/>
                  </a:lnTo>
                  <a:lnTo>
                    <a:pt x="901700" y="214490"/>
                  </a:lnTo>
                  <a:lnTo>
                    <a:pt x="909167" y="206997"/>
                  </a:lnTo>
                  <a:lnTo>
                    <a:pt x="909167" y="197726"/>
                  </a:lnTo>
                  <a:lnTo>
                    <a:pt x="909167" y="188455"/>
                  </a:lnTo>
                  <a:close/>
                </a:path>
                <a:path w="1270634" h="395604">
                  <a:moveTo>
                    <a:pt x="922540" y="7493"/>
                  </a:moveTo>
                  <a:lnTo>
                    <a:pt x="915073" y="0"/>
                  </a:lnTo>
                  <a:lnTo>
                    <a:pt x="896569" y="0"/>
                  </a:lnTo>
                  <a:lnTo>
                    <a:pt x="889114" y="7493"/>
                  </a:lnTo>
                  <a:lnTo>
                    <a:pt x="889114" y="26035"/>
                  </a:lnTo>
                  <a:lnTo>
                    <a:pt x="896569" y="33515"/>
                  </a:lnTo>
                  <a:lnTo>
                    <a:pt x="915073" y="33515"/>
                  </a:lnTo>
                  <a:lnTo>
                    <a:pt x="922540" y="26035"/>
                  </a:lnTo>
                  <a:lnTo>
                    <a:pt x="922540" y="16764"/>
                  </a:lnTo>
                  <a:lnTo>
                    <a:pt x="922540" y="7493"/>
                  </a:lnTo>
                  <a:close/>
                </a:path>
                <a:path w="1270634" h="395604">
                  <a:moveTo>
                    <a:pt x="942594" y="369430"/>
                  </a:moveTo>
                  <a:lnTo>
                    <a:pt x="935126" y="361937"/>
                  </a:lnTo>
                  <a:lnTo>
                    <a:pt x="916635" y="361937"/>
                  </a:lnTo>
                  <a:lnTo>
                    <a:pt x="909167" y="369430"/>
                  </a:lnTo>
                  <a:lnTo>
                    <a:pt x="909167" y="387972"/>
                  </a:lnTo>
                  <a:lnTo>
                    <a:pt x="916635" y="395452"/>
                  </a:lnTo>
                  <a:lnTo>
                    <a:pt x="935126" y="395452"/>
                  </a:lnTo>
                  <a:lnTo>
                    <a:pt x="942594" y="387972"/>
                  </a:lnTo>
                  <a:lnTo>
                    <a:pt x="942594" y="378701"/>
                  </a:lnTo>
                  <a:lnTo>
                    <a:pt x="942594" y="369430"/>
                  </a:lnTo>
                  <a:close/>
                </a:path>
                <a:path w="1270634" h="395604">
                  <a:moveTo>
                    <a:pt x="955967" y="188455"/>
                  </a:moveTo>
                  <a:lnTo>
                    <a:pt x="948499" y="180975"/>
                  </a:lnTo>
                  <a:lnTo>
                    <a:pt x="929995" y="180975"/>
                  </a:lnTo>
                  <a:lnTo>
                    <a:pt x="922540" y="188455"/>
                  </a:lnTo>
                  <a:lnTo>
                    <a:pt x="922540" y="206997"/>
                  </a:lnTo>
                  <a:lnTo>
                    <a:pt x="929995" y="214490"/>
                  </a:lnTo>
                  <a:lnTo>
                    <a:pt x="948499" y="214490"/>
                  </a:lnTo>
                  <a:lnTo>
                    <a:pt x="955967" y="206997"/>
                  </a:lnTo>
                  <a:lnTo>
                    <a:pt x="955967" y="197726"/>
                  </a:lnTo>
                  <a:lnTo>
                    <a:pt x="955967" y="188455"/>
                  </a:lnTo>
                  <a:close/>
                </a:path>
                <a:path w="1270634" h="395604">
                  <a:moveTo>
                    <a:pt x="969327" y="7493"/>
                  </a:moveTo>
                  <a:lnTo>
                    <a:pt x="961859" y="0"/>
                  </a:lnTo>
                  <a:lnTo>
                    <a:pt x="943368" y="0"/>
                  </a:lnTo>
                  <a:lnTo>
                    <a:pt x="935901" y="7493"/>
                  </a:lnTo>
                  <a:lnTo>
                    <a:pt x="935901" y="26035"/>
                  </a:lnTo>
                  <a:lnTo>
                    <a:pt x="943368" y="33515"/>
                  </a:lnTo>
                  <a:lnTo>
                    <a:pt x="961859" y="33515"/>
                  </a:lnTo>
                  <a:lnTo>
                    <a:pt x="969327" y="26035"/>
                  </a:lnTo>
                  <a:lnTo>
                    <a:pt x="969327" y="16764"/>
                  </a:lnTo>
                  <a:lnTo>
                    <a:pt x="969327" y="7493"/>
                  </a:lnTo>
                  <a:close/>
                </a:path>
                <a:path w="1270634" h="395604">
                  <a:moveTo>
                    <a:pt x="989380" y="369430"/>
                  </a:moveTo>
                  <a:lnTo>
                    <a:pt x="981925" y="361937"/>
                  </a:lnTo>
                  <a:lnTo>
                    <a:pt x="963422" y="361937"/>
                  </a:lnTo>
                  <a:lnTo>
                    <a:pt x="955967" y="369430"/>
                  </a:lnTo>
                  <a:lnTo>
                    <a:pt x="955967" y="387972"/>
                  </a:lnTo>
                  <a:lnTo>
                    <a:pt x="963422" y="395452"/>
                  </a:lnTo>
                  <a:lnTo>
                    <a:pt x="981925" y="395452"/>
                  </a:lnTo>
                  <a:lnTo>
                    <a:pt x="989380" y="387972"/>
                  </a:lnTo>
                  <a:lnTo>
                    <a:pt x="989380" y="378701"/>
                  </a:lnTo>
                  <a:lnTo>
                    <a:pt x="989380" y="369430"/>
                  </a:lnTo>
                  <a:close/>
                </a:path>
                <a:path w="1270634" h="395604">
                  <a:moveTo>
                    <a:pt x="1002753" y="188455"/>
                  </a:moveTo>
                  <a:lnTo>
                    <a:pt x="995286" y="180975"/>
                  </a:lnTo>
                  <a:lnTo>
                    <a:pt x="976795" y="180975"/>
                  </a:lnTo>
                  <a:lnTo>
                    <a:pt x="969327" y="188455"/>
                  </a:lnTo>
                  <a:lnTo>
                    <a:pt x="969327" y="206997"/>
                  </a:lnTo>
                  <a:lnTo>
                    <a:pt x="976795" y="214490"/>
                  </a:lnTo>
                  <a:lnTo>
                    <a:pt x="995286" y="214490"/>
                  </a:lnTo>
                  <a:lnTo>
                    <a:pt x="1002753" y="206997"/>
                  </a:lnTo>
                  <a:lnTo>
                    <a:pt x="1002753" y="197726"/>
                  </a:lnTo>
                  <a:lnTo>
                    <a:pt x="1002753" y="188455"/>
                  </a:lnTo>
                  <a:close/>
                </a:path>
                <a:path w="1270634" h="395604">
                  <a:moveTo>
                    <a:pt x="1022807" y="7493"/>
                  </a:moveTo>
                  <a:lnTo>
                    <a:pt x="1015352" y="0"/>
                  </a:lnTo>
                  <a:lnTo>
                    <a:pt x="996848" y="0"/>
                  </a:lnTo>
                  <a:lnTo>
                    <a:pt x="989380" y="7493"/>
                  </a:lnTo>
                  <a:lnTo>
                    <a:pt x="989380" y="26035"/>
                  </a:lnTo>
                  <a:lnTo>
                    <a:pt x="996848" y="33515"/>
                  </a:lnTo>
                  <a:lnTo>
                    <a:pt x="1015352" y="33515"/>
                  </a:lnTo>
                  <a:lnTo>
                    <a:pt x="1022807" y="26035"/>
                  </a:lnTo>
                  <a:lnTo>
                    <a:pt x="1022807" y="16764"/>
                  </a:lnTo>
                  <a:lnTo>
                    <a:pt x="1022807" y="7493"/>
                  </a:lnTo>
                  <a:close/>
                </a:path>
                <a:path w="1270634" h="395604">
                  <a:moveTo>
                    <a:pt x="1036180" y="369430"/>
                  </a:moveTo>
                  <a:lnTo>
                    <a:pt x="1028712" y="361937"/>
                  </a:lnTo>
                  <a:lnTo>
                    <a:pt x="1010221" y="361937"/>
                  </a:lnTo>
                  <a:lnTo>
                    <a:pt x="1002753" y="369430"/>
                  </a:lnTo>
                  <a:lnTo>
                    <a:pt x="1002753" y="387972"/>
                  </a:lnTo>
                  <a:lnTo>
                    <a:pt x="1010221" y="395452"/>
                  </a:lnTo>
                  <a:lnTo>
                    <a:pt x="1028712" y="395452"/>
                  </a:lnTo>
                  <a:lnTo>
                    <a:pt x="1036180" y="387972"/>
                  </a:lnTo>
                  <a:lnTo>
                    <a:pt x="1036180" y="378701"/>
                  </a:lnTo>
                  <a:lnTo>
                    <a:pt x="1036180" y="369430"/>
                  </a:lnTo>
                  <a:close/>
                </a:path>
                <a:path w="1270634" h="395604">
                  <a:moveTo>
                    <a:pt x="1056233" y="188455"/>
                  </a:moveTo>
                  <a:lnTo>
                    <a:pt x="1048766" y="180975"/>
                  </a:lnTo>
                  <a:lnTo>
                    <a:pt x="1030274" y="180975"/>
                  </a:lnTo>
                  <a:lnTo>
                    <a:pt x="1022807" y="188455"/>
                  </a:lnTo>
                  <a:lnTo>
                    <a:pt x="1022807" y="206997"/>
                  </a:lnTo>
                  <a:lnTo>
                    <a:pt x="1030274" y="214490"/>
                  </a:lnTo>
                  <a:lnTo>
                    <a:pt x="1048766" y="214490"/>
                  </a:lnTo>
                  <a:lnTo>
                    <a:pt x="1056233" y="206997"/>
                  </a:lnTo>
                  <a:lnTo>
                    <a:pt x="1056233" y="197726"/>
                  </a:lnTo>
                  <a:lnTo>
                    <a:pt x="1056233" y="188455"/>
                  </a:lnTo>
                  <a:close/>
                </a:path>
                <a:path w="1270634" h="395604">
                  <a:moveTo>
                    <a:pt x="1069606" y="7493"/>
                  </a:moveTo>
                  <a:lnTo>
                    <a:pt x="1062139" y="0"/>
                  </a:lnTo>
                  <a:lnTo>
                    <a:pt x="1043647" y="0"/>
                  </a:lnTo>
                  <a:lnTo>
                    <a:pt x="1036180" y="7493"/>
                  </a:lnTo>
                  <a:lnTo>
                    <a:pt x="1036180" y="26035"/>
                  </a:lnTo>
                  <a:lnTo>
                    <a:pt x="1043647" y="33515"/>
                  </a:lnTo>
                  <a:lnTo>
                    <a:pt x="1062139" y="33515"/>
                  </a:lnTo>
                  <a:lnTo>
                    <a:pt x="1069606" y="26035"/>
                  </a:lnTo>
                  <a:lnTo>
                    <a:pt x="1069606" y="16764"/>
                  </a:lnTo>
                  <a:lnTo>
                    <a:pt x="1069606" y="7493"/>
                  </a:lnTo>
                  <a:close/>
                </a:path>
                <a:path w="1270634" h="395604">
                  <a:moveTo>
                    <a:pt x="1089660" y="369430"/>
                  </a:moveTo>
                  <a:lnTo>
                    <a:pt x="1082192" y="361937"/>
                  </a:lnTo>
                  <a:lnTo>
                    <a:pt x="1063701" y="361937"/>
                  </a:lnTo>
                  <a:lnTo>
                    <a:pt x="1056233" y="369430"/>
                  </a:lnTo>
                  <a:lnTo>
                    <a:pt x="1056233" y="387972"/>
                  </a:lnTo>
                  <a:lnTo>
                    <a:pt x="1063701" y="395452"/>
                  </a:lnTo>
                  <a:lnTo>
                    <a:pt x="1082192" y="395452"/>
                  </a:lnTo>
                  <a:lnTo>
                    <a:pt x="1089660" y="387972"/>
                  </a:lnTo>
                  <a:lnTo>
                    <a:pt x="1089660" y="378701"/>
                  </a:lnTo>
                  <a:lnTo>
                    <a:pt x="1089660" y="369430"/>
                  </a:lnTo>
                  <a:close/>
                </a:path>
                <a:path w="1270634" h="395604">
                  <a:moveTo>
                    <a:pt x="1103033" y="188455"/>
                  </a:moveTo>
                  <a:lnTo>
                    <a:pt x="1095565" y="180975"/>
                  </a:lnTo>
                  <a:lnTo>
                    <a:pt x="1077074" y="180975"/>
                  </a:lnTo>
                  <a:lnTo>
                    <a:pt x="1069606" y="188455"/>
                  </a:lnTo>
                  <a:lnTo>
                    <a:pt x="1069606" y="206997"/>
                  </a:lnTo>
                  <a:lnTo>
                    <a:pt x="1077074" y="214490"/>
                  </a:lnTo>
                  <a:lnTo>
                    <a:pt x="1095565" y="214490"/>
                  </a:lnTo>
                  <a:lnTo>
                    <a:pt x="1103033" y="206997"/>
                  </a:lnTo>
                  <a:lnTo>
                    <a:pt x="1103033" y="197726"/>
                  </a:lnTo>
                  <a:lnTo>
                    <a:pt x="1103033" y="188455"/>
                  </a:lnTo>
                  <a:close/>
                </a:path>
                <a:path w="1270634" h="395604">
                  <a:moveTo>
                    <a:pt x="1123086" y="7493"/>
                  </a:moveTo>
                  <a:lnTo>
                    <a:pt x="1115618" y="0"/>
                  </a:lnTo>
                  <a:lnTo>
                    <a:pt x="1097127" y="0"/>
                  </a:lnTo>
                  <a:lnTo>
                    <a:pt x="1089660" y="7493"/>
                  </a:lnTo>
                  <a:lnTo>
                    <a:pt x="1089660" y="26035"/>
                  </a:lnTo>
                  <a:lnTo>
                    <a:pt x="1097127" y="33515"/>
                  </a:lnTo>
                  <a:lnTo>
                    <a:pt x="1115618" y="33515"/>
                  </a:lnTo>
                  <a:lnTo>
                    <a:pt x="1123086" y="26035"/>
                  </a:lnTo>
                  <a:lnTo>
                    <a:pt x="1123086" y="16764"/>
                  </a:lnTo>
                  <a:lnTo>
                    <a:pt x="1123086" y="7493"/>
                  </a:lnTo>
                  <a:close/>
                </a:path>
                <a:path w="1270634" h="395604">
                  <a:moveTo>
                    <a:pt x="1136459" y="369430"/>
                  </a:moveTo>
                  <a:lnTo>
                    <a:pt x="1128991" y="361937"/>
                  </a:lnTo>
                  <a:lnTo>
                    <a:pt x="1110500" y="361937"/>
                  </a:lnTo>
                  <a:lnTo>
                    <a:pt x="1103033" y="369430"/>
                  </a:lnTo>
                  <a:lnTo>
                    <a:pt x="1103033" y="387972"/>
                  </a:lnTo>
                  <a:lnTo>
                    <a:pt x="1110500" y="395452"/>
                  </a:lnTo>
                  <a:lnTo>
                    <a:pt x="1128991" y="395452"/>
                  </a:lnTo>
                  <a:lnTo>
                    <a:pt x="1136459" y="387972"/>
                  </a:lnTo>
                  <a:lnTo>
                    <a:pt x="1136459" y="378701"/>
                  </a:lnTo>
                  <a:lnTo>
                    <a:pt x="1136459" y="369430"/>
                  </a:lnTo>
                  <a:close/>
                </a:path>
                <a:path w="1270634" h="395604">
                  <a:moveTo>
                    <a:pt x="1149832" y="188455"/>
                  </a:moveTo>
                  <a:lnTo>
                    <a:pt x="1142365" y="180975"/>
                  </a:lnTo>
                  <a:lnTo>
                    <a:pt x="1123861" y="180975"/>
                  </a:lnTo>
                  <a:lnTo>
                    <a:pt x="1116406" y="188455"/>
                  </a:lnTo>
                  <a:lnTo>
                    <a:pt x="1116406" y="206997"/>
                  </a:lnTo>
                  <a:lnTo>
                    <a:pt x="1123861" y="214490"/>
                  </a:lnTo>
                  <a:lnTo>
                    <a:pt x="1142365" y="214490"/>
                  </a:lnTo>
                  <a:lnTo>
                    <a:pt x="1149832" y="206997"/>
                  </a:lnTo>
                  <a:lnTo>
                    <a:pt x="1149832" y="197726"/>
                  </a:lnTo>
                  <a:lnTo>
                    <a:pt x="1149832" y="188455"/>
                  </a:lnTo>
                  <a:close/>
                </a:path>
                <a:path w="1270634" h="395604">
                  <a:moveTo>
                    <a:pt x="1169885" y="7493"/>
                  </a:moveTo>
                  <a:lnTo>
                    <a:pt x="1162418" y="0"/>
                  </a:lnTo>
                  <a:lnTo>
                    <a:pt x="1143927" y="0"/>
                  </a:lnTo>
                  <a:lnTo>
                    <a:pt x="1136459" y="7493"/>
                  </a:lnTo>
                  <a:lnTo>
                    <a:pt x="1136459" y="26035"/>
                  </a:lnTo>
                  <a:lnTo>
                    <a:pt x="1143927" y="33515"/>
                  </a:lnTo>
                  <a:lnTo>
                    <a:pt x="1162418" y="33515"/>
                  </a:lnTo>
                  <a:lnTo>
                    <a:pt x="1169885" y="26035"/>
                  </a:lnTo>
                  <a:lnTo>
                    <a:pt x="1169885" y="16764"/>
                  </a:lnTo>
                  <a:lnTo>
                    <a:pt x="1169885" y="7493"/>
                  </a:lnTo>
                  <a:close/>
                </a:path>
                <a:path w="1270634" h="395604">
                  <a:moveTo>
                    <a:pt x="1183246" y="369430"/>
                  </a:moveTo>
                  <a:lnTo>
                    <a:pt x="1175791" y="361937"/>
                  </a:lnTo>
                  <a:lnTo>
                    <a:pt x="1157287" y="361937"/>
                  </a:lnTo>
                  <a:lnTo>
                    <a:pt x="1149832" y="369430"/>
                  </a:lnTo>
                  <a:lnTo>
                    <a:pt x="1149832" y="387972"/>
                  </a:lnTo>
                  <a:lnTo>
                    <a:pt x="1157287" y="395452"/>
                  </a:lnTo>
                  <a:lnTo>
                    <a:pt x="1175791" y="395452"/>
                  </a:lnTo>
                  <a:lnTo>
                    <a:pt x="1183246" y="387972"/>
                  </a:lnTo>
                  <a:lnTo>
                    <a:pt x="1183246" y="378701"/>
                  </a:lnTo>
                  <a:lnTo>
                    <a:pt x="1183246" y="369430"/>
                  </a:lnTo>
                  <a:close/>
                </a:path>
                <a:path w="1270634" h="395604">
                  <a:moveTo>
                    <a:pt x="1203312" y="134835"/>
                  </a:moveTo>
                  <a:lnTo>
                    <a:pt x="1195844" y="127355"/>
                  </a:lnTo>
                  <a:lnTo>
                    <a:pt x="1177353" y="127355"/>
                  </a:lnTo>
                  <a:lnTo>
                    <a:pt x="1169885" y="134835"/>
                  </a:lnTo>
                  <a:lnTo>
                    <a:pt x="1169885" y="153377"/>
                  </a:lnTo>
                  <a:lnTo>
                    <a:pt x="1177353" y="160870"/>
                  </a:lnTo>
                  <a:lnTo>
                    <a:pt x="1195844" y="160870"/>
                  </a:lnTo>
                  <a:lnTo>
                    <a:pt x="1203312" y="153377"/>
                  </a:lnTo>
                  <a:lnTo>
                    <a:pt x="1203312" y="144106"/>
                  </a:lnTo>
                  <a:lnTo>
                    <a:pt x="1203312" y="134835"/>
                  </a:lnTo>
                  <a:close/>
                </a:path>
                <a:path w="1270634" h="395604">
                  <a:moveTo>
                    <a:pt x="1216672" y="7493"/>
                  </a:moveTo>
                  <a:lnTo>
                    <a:pt x="1209217" y="0"/>
                  </a:lnTo>
                  <a:lnTo>
                    <a:pt x="1190713" y="0"/>
                  </a:lnTo>
                  <a:lnTo>
                    <a:pt x="1183246" y="7493"/>
                  </a:lnTo>
                  <a:lnTo>
                    <a:pt x="1183246" y="26035"/>
                  </a:lnTo>
                  <a:lnTo>
                    <a:pt x="1190713" y="33515"/>
                  </a:lnTo>
                  <a:lnTo>
                    <a:pt x="1209217" y="33515"/>
                  </a:lnTo>
                  <a:lnTo>
                    <a:pt x="1216672" y="26035"/>
                  </a:lnTo>
                  <a:lnTo>
                    <a:pt x="1216672" y="16764"/>
                  </a:lnTo>
                  <a:lnTo>
                    <a:pt x="1216672" y="7493"/>
                  </a:lnTo>
                  <a:close/>
                </a:path>
                <a:path w="1270634" h="395604">
                  <a:moveTo>
                    <a:pt x="1236738" y="242074"/>
                  </a:moveTo>
                  <a:lnTo>
                    <a:pt x="1229271" y="234594"/>
                  </a:lnTo>
                  <a:lnTo>
                    <a:pt x="1210767" y="234594"/>
                  </a:lnTo>
                  <a:lnTo>
                    <a:pt x="1203312" y="242074"/>
                  </a:lnTo>
                  <a:lnTo>
                    <a:pt x="1203312" y="260616"/>
                  </a:lnTo>
                  <a:lnTo>
                    <a:pt x="1210767" y="268109"/>
                  </a:lnTo>
                  <a:lnTo>
                    <a:pt x="1229271" y="268109"/>
                  </a:lnTo>
                  <a:lnTo>
                    <a:pt x="1236738" y="260616"/>
                  </a:lnTo>
                  <a:lnTo>
                    <a:pt x="1236738" y="251345"/>
                  </a:lnTo>
                  <a:lnTo>
                    <a:pt x="1236738" y="242074"/>
                  </a:lnTo>
                  <a:close/>
                </a:path>
                <a:path w="1270634" h="395604">
                  <a:moveTo>
                    <a:pt x="1250099" y="134835"/>
                  </a:moveTo>
                  <a:lnTo>
                    <a:pt x="1242631" y="127355"/>
                  </a:lnTo>
                  <a:lnTo>
                    <a:pt x="1224140" y="127355"/>
                  </a:lnTo>
                  <a:lnTo>
                    <a:pt x="1216672" y="134835"/>
                  </a:lnTo>
                  <a:lnTo>
                    <a:pt x="1216672" y="153377"/>
                  </a:lnTo>
                  <a:lnTo>
                    <a:pt x="1224140" y="160870"/>
                  </a:lnTo>
                  <a:lnTo>
                    <a:pt x="1242631" y="160870"/>
                  </a:lnTo>
                  <a:lnTo>
                    <a:pt x="1250099" y="153377"/>
                  </a:lnTo>
                  <a:lnTo>
                    <a:pt x="1250099" y="144106"/>
                  </a:lnTo>
                  <a:lnTo>
                    <a:pt x="1250099" y="134835"/>
                  </a:lnTo>
                  <a:close/>
                </a:path>
                <a:path w="1270634" h="395604">
                  <a:moveTo>
                    <a:pt x="1270152" y="7493"/>
                  </a:moveTo>
                  <a:lnTo>
                    <a:pt x="1262697" y="0"/>
                  </a:lnTo>
                  <a:lnTo>
                    <a:pt x="1244193" y="0"/>
                  </a:lnTo>
                  <a:lnTo>
                    <a:pt x="1236738" y="7493"/>
                  </a:lnTo>
                  <a:lnTo>
                    <a:pt x="1236738" y="26035"/>
                  </a:lnTo>
                  <a:lnTo>
                    <a:pt x="1244193" y="33515"/>
                  </a:lnTo>
                  <a:lnTo>
                    <a:pt x="1262697" y="33515"/>
                  </a:lnTo>
                  <a:lnTo>
                    <a:pt x="1270152" y="26035"/>
                  </a:lnTo>
                  <a:lnTo>
                    <a:pt x="1270152" y="16764"/>
                  </a:lnTo>
                  <a:lnTo>
                    <a:pt x="1270152" y="7493"/>
                  </a:lnTo>
                  <a:close/>
                </a:path>
              </a:pathLst>
            </a:custGeom>
            <a:solidFill>
              <a:srgbClr val="1F487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2" name="object 32"/>
            <p:cNvSpPr/>
            <p:nvPr/>
          </p:nvSpPr>
          <p:spPr>
            <a:xfrm>
              <a:off x="10684408" y="5080584"/>
              <a:ext cx="427990" cy="395605"/>
            </a:xfrm>
            <a:custGeom>
              <a:avLst/>
              <a:gdLst/>
              <a:ahLst/>
              <a:cxnLst/>
              <a:rect l="l" t="t" r="r" b="b"/>
              <a:pathLst>
                <a:path w="427990" h="395604">
                  <a:moveTo>
                    <a:pt x="33413" y="7493"/>
                  </a:moveTo>
                  <a:lnTo>
                    <a:pt x="25958" y="0"/>
                  </a:lnTo>
                  <a:lnTo>
                    <a:pt x="7454" y="0"/>
                  </a:lnTo>
                  <a:lnTo>
                    <a:pt x="0" y="7493"/>
                  </a:lnTo>
                  <a:lnTo>
                    <a:pt x="0" y="26035"/>
                  </a:lnTo>
                  <a:lnTo>
                    <a:pt x="7454" y="33515"/>
                  </a:lnTo>
                  <a:lnTo>
                    <a:pt x="25958" y="33515"/>
                  </a:lnTo>
                  <a:lnTo>
                    <a:pt x="33413" y="26035"/>
                  </a:lnTo>
                  <a:lnTo>
                    <a:pt x="33413" y="16764"/>
                  </a:lnTo>
                  <a:lnTo>
                    <a:pt x="33413" y="7493"/>
                  </a:lnTo>
                  <a:close/>
                </a:path>
                <a:path w="427990" h="395604">
                  <a:moveTo>
                    <a:pt x="46786" y="369430"/>
                  </a:moveTo>
                  <a:lnTo>
                    <a:pt x="39319" y="361937"/>
                  </a:lnTo>
                  <a:lnTo>
                    <a:pt x="20828" y="361937"/>
                  </a:lnTo>
                  <a:lnTo>
                    <a:pt x="13360" y="369430"/>
                  </a:lnTo>
                  <a:lnTo>
                    <a:pt x="13360" y="387972"/>
                  </a:lnTo>
                  <a:lnTo>
                    <a:pt x="20828" y="395452"/>
                  </a:lnTo>
                  <a:lnTo>
                    <a:pt x="39319" y="395452"/>
                  </a:lnTo>
                  <a:lnTo>
                    <a:pt x="46786" y="387972"/>
                  </a:lnTo>
                  <a:lnTo>
                    <a:pt x="46786" y="378701"/>
                  </a:lnTo>
                  <a:lnTo>
                    <a:pt x="46786" y="369430"/>
                  </a:lnTo>
                  <a:close/>
                </a:path>
                <a:path w="427990" h="395604">
                  <a:moveTo>
                    <a:pt x="66840" y="242074"/>
                  </a:moveTo>
                  <a:lnTo>
                    <a:pt x="59385" y="234594"/>
                  </a:lnTo>
                  <a:lnTo>
                    <a:pt x="40881" y="234594"/>
                  </a:lnTo>
                  <a:lnTo>
                    <a:pt x="33413" y="242074"/>
                  </a:lnTo>
                  <a:lnTo>
                    <a:pt x="33413" y="260616"/>
                  </a:lnTo>
                  <a:lnTo>
                    <a:pt x="40881" y="268109"/>
                  </a:lnTo>
                  <a:lnTo>
                    <a:pt x="59385" y="268109"/>
                  </a:lnTo>
                  <a:lnTo>
                    <a:pt x="66840" y="260616"/>
                  </a:lnTo>
                  <a:lnTo>
                    <a:pt x="66840" y="251345"/>
                  </a:lnTo>
                  <a:lnTo>
                    <a:pt x="66840" y="242074"/>
                  </a:lnTo>
                  <a:close/>
                </a:path>
                <a:path w="427990" h="395604">
                  <a:moveTo>
                    <a:pt x="80213" y="7493"/>
                  </a:moveTo>
                  <a:lnTo>
                    <a:pt x="72745" y="0"/>
                  </a:lnTo>
                  <a:lnTo>
                    <a:pt x="54254" y="0"/>
                  </a:lnTo>
                  <a:lnTo>
                    <a:pt x="46786" y="7493"/>
                  </a:lnTo>
                  <a:lnTo>
                    <a:pt x="46786" y="26035"/>
                  </a:lnTo>
                  <a:lnTo>
                    <a:pt x="54254" y="33515"/>
                  </a:lnTo>
                  <a:lnTo>
                    <a:pt x="72745" y="33515"/>
                  </a:lnTo>
                  <a:lnTo>
                    <a:pt x="80213" y="26035"/>
                  </a:lnTo>
                  <a:lnTo>
                    <a:pt x="80213" y="16764"/>
                  </a:lnTo>
                  <a:lnTo>
                    <a:pt x="80213" y="7493"/>
                  </a:lnTo>
                  <a:close/>
                </a:path>
                <a:path w="427990" h="395604">
                  <a:moveTo>
                    <a:pt x="100266" y="369430"/>
                  </a:moveTo>
                  <a:lnTo>
                    <a:pt x="92798" y="361937"/>
                  </a:lnTo>
                  <a:lnTo>
                    <a:pt x="74307" y="361937"/>
                  </a:lnTo>
                  <a:lnTo>
                    <a:pt x="66840" y="369430"/>
                  </a:lnTo>
                  <a:lnTo>
                    <a:pt x="66840" y="387972"/>
                  </a:lnTo>
                  <a:lnTo>
                    <a:pt x="74307" y="395452"/>
                  </a:lnTo>
                  <a:lnTo>
                    <a:pt x="92798" y="395452"/>
                  </a:lnTo>
                  <a:lnTo>
                    <a:pt x="100266" y="387972"/>
                  </a:lnTo>
                  <a:lnTo>
                    <a:pt x="100266" y="378701"/>
                  </a:lnTo>
                  <a:lnTo>
                    <a:pt x="100266" y="369430"/>
                  </a:lnTo>
                  <a:close/>
                </a:path>
                <a:path w="427990" h="395604">
                  <a:moveTo>
                    <a:pt x="113639" y="134835"/>
                  </a:moveTo>
                  <a:lnTo>
                    <a:pt x="106172" y="127355"/>
                  </a:lnTo>
                  <a:lnTo>
                    <a:pt x="87680" y="127355"/>
                  </a:lnTo>
                  <a:lnTo>
                    <a:pt x="80213" y="134835"/>
                  </a:lnTo>
                  <a:lnTo>
                    <a:pt x="80213" y="153377"/>
                  </a:lnTo>
                  <a:lnTo>
                    <a:pt x="87680" y="160870"/>
                  </a:lnTo>
                  <a:lnTo>
                    <a:pt x="106172" y="160870"/>
                  </a:lnTo>
                  <a:lnTo>
                    <a:pt x="113639" y="153377"/>
                  </a:lnTo>
                  <a:lnTo>
                    <a:pt x="113639" y="144106"/>
                  </a:lnTo>
                  <a:lnTo>
                    <a:pt x="113639" y="134835"/>
                  </a:lnTo>
                  <a:close/>
                </a:path>
                <a:path w="427990" h="395604">
                  <a:moveTo>
                    <a:pt x="127012" y="7493"/>
                  </a:moveTo>
                  <a:lnTo>
                    <a:pt x="119545" y="0"/>
                  </a:lnTo>
                  <a:lnTo>
                    <a:pt x="101053" y="0"/>
                  </a:lnTo>
                  <a:lnTo>
                    <a:pt x="93586" y="7493"/>
                  </a:lnTo>
                  <a:lnTo>
                    <a:pt x="93586" y="26035"/>
                  </a:lnTo>
                  <a:lnTo>
                    <a:pt x="101053" y="33515"/>
                  </a:lnTo>
                  <a:lnTo>
                    <a:pt x="119545" y="33515"/>
                  </a:lnTo>
                  <a:lnTo>
                    <a:pt x="127012" y="26035"/>
                  </a:lnTo>
                  <a:lnTo>
                    <a:pt x="127012" y="16764"/>
                  </a:lnTo>
                  <a:lnTo>
                    <a:pt x="127012" y="7493"/>
                  </a:lnTo>
                  <a:close/>
                </a:path>
                <a:path w="427990" h="395604">
                  <a:moveTo>
                    <a:pt x="147066" y="369430"/>
                  </a:moveTo>
                  <a:lnTo>
                    <a:pt x="139598" y="361937"/>
                  </a:lnTo>
                  <a:lnTo>
                    <a:pt x="121107" y="361937"/>
                  </a:lnTo>
                  <a:lnTo>
                    <a:pt x="113639" y="369430"/>
                  </a:lnTo>
                  <a:lnTo>
                    <a:pt x="113639" y="387972"/>
                  </a:lnTo>
                  <a:lnTo>
                    <a:pt x="121107" y="395452"/>
                  </a:lnTo>
                  <a:lnTo>
                    <a:pt x="139598" y="395452"/>
                  </a:lnTo>
                  <a:lnTo>
                    <a:pt x="147066" y="387972"/>
                  </a:lnTo>
                  <a:lnTo>
                    <a:pt x="147066" y="378701"/>
                  </a:lnTo>
                  <a:lnTo>
                    <a:pt x="147066" y="369430"/>
                  </a:lnTo>
                  <a:close/>
                </a:path>
                <a:path w="427990" h="395604">
                  <a:moveTo>
                    <a:pt x="160439" y="242074"/>
                  </a:moveTo>
                  <a:lnTo>
                    <a:pt x="152971" y="234594"/>
                  </a:lnTo>
                  <a:lnTo>
                    <a:pt x="134480" y="234594"/>
                  </a:lnTo>
                  <a:lnTo>
                    <a:pt x="127012" y="242074"/>
                  </a:lnTo>
                  <a:lnTo>
                    <a:pt x="127012" y="260616"/>
                  </a:lnTo>
                  <a:lnTo>
                    <a:pt x="134480" y="268109"/>
                  </a:lnTo>
                  <a:lnTo>
                    <a:pt x="152971" y="268109"/>
                  </a:lnTo>
                  <a:lnTo>
                    <a:pt x="160439" y="260616"/>
                  </a:lnTo>
                  <a:lnTo>
                    <a:pt x="160439" y="251345"/>
                  </a:lnTo>
                  <a:lnTo>
                    <a:pt x="160439" y="242074"/>
                  </a:lnTo>
                  <a:close/>
                </a:path>
                <a:path w="427990" h="395604">
                  <a:moveTo>
                    <a:pt x="180492" y="7493"/>
                  </a:moveTo>
                  <a:lnTo>
                    <a:pt x="173024" y="0"/>
                  </a:lnTo>
                  <a:lnTo>
                    <a:pt x="154533" y="0"/>
                  </a:lnTo>
                  <a:lnTo>
                    <a:pt x="147066" y="7493"/>
                  </a:lnTo>
                  <a:lnTo>
                    <a:pt x="147066" y="26035"/>
                  </a:lnTo>
                  <a:lnTo>
                    <a:pt x="154533" y="33515"/>
                  </a:lnTo>
                  <a:lnTo>
                    <a:pt x="173024" y="33515"/>
                  </a:lnTo>
                  <a:lnTo>
                    <a:pt x="180492" y="26035"/>
                  </a:lnTo>
                  <a:lnTo>
                    <a:pt x="180492" y="16764"/>
                  </a:lnTo>
                  <a:lnTo>
                    <a:pt x="180492" y="7493"/>
                  </a:lnTo>
                  <a:close/>
                </a:path>
                <a:path w="427990" h="395604">
                  <a:moveTo>
                    <a:pt x="193865" y="369430"/>
                  </a:moveTo>
                  <a:lnTo>
                    <a:pt x="186397" y="361937"/>
                  </a:lnTo>
                  <a:lnTo>
                    <a:pt x="167894" y="361937"/>
                  </a:lnTo>
                  <a:lnTo>
                    <a:pt x="160439" y="369430"/>
                  </a:lnTo>
                  <a:lnTo>
                    <a:pt x="160439" y="387972"/>
                  </a:lnTo>
                  <a:lnTo>
                    <a:pt x="167894" y="395452"/>
                  </a:lnTo>
                  <a:lnTo>
                    <a:pt x="186397" y="395452"/>
                  </a:lnTo>
                  <a:lnTo>
                    <a:pt x="193865" y="387972"/>
                  </a:lnTo>
                  <a:lnTo>
                    <a:pt x="193865" y="378701"/>
                  </a:lnTo>
                  <a:lnTo>
                    <a:pt x="193865" y="369430"/>
                  </a:lnTo>
                  <a:close/>
                </a:path>
                <a:path w="427990" h="395604">
                  <a:moveTo>
                    <a:pt x="213918" y="242074"/>
                  </a:moveTo>
                  <a:lnTo>
                    <a:pt x="206451" y="234594"/>
                  </a:lnTo>
                  <a:lnTo>
                    <a:pt x="187960" y="234594"/>
                  </a:lnTo>
                  <a:lnTo>
                    <a:pt x="180492" y="242074"/>
                  </a:lnTo>
                  <a:lnTo>
                    <a:pt x="180492" y="260616"/>
                  </a:lnTo>
                  <a:lnTo>
                    <a:pt x="187960" y="268109"/>
                  </a:lnTo>
                  <a:lnTo>
                    <a:pt x="206451" y="268109"/>
                  </a:lnTo>
                  <a:lnTo>
                    <a:pt x="213918" y="260616"/>
                  </a:lnTo>
                  <a:lnTo>
                    <a:pt x="213918" y="251345"/>
                  </a:lnTo>
                  <a:lnTo>
                    <a:pt x="213918" y="242074"/>
                  </a:lnTo>
                  <a:close/>
                </a:path>
                <a:path w="427990" h="395604">
                  <a:moveTo>
                    <a:pt x="227279" y="7493"/>
                  </a:moveTo>
                  <a:lnTo>
                    <a:pt x="219824" y="0"/>
                  </a:lnTo>
                  <a:lnTo>
                    <a:pt x="201320" y="0"/>
                  </a:lnTo>
                  <a:lnTo>
                    <a:pt x="193865" y="7493"/>
                  </a:lnTo>
                  <a:lnTo>
                    <a:pt x="193865" y="26035"/>
                  </a:lnTo>
                  <a:lnTo>
                    <a:pt x="201320" y="33515"/>
                  </a:lnTo>
                  <a:lnTo>
                    <a:pt x="219824" y="33515"/>
                  </a:lnTo>
                  <a:lnTo>
                    <a:pt x="227279" y="26035"/>
                  </a:lnTo>
                  <a:lnTo>
                    <a:pt x="227279" y="16764"/>
                  </a:lnTo>
                  <a:lnTo>
                    <a:pt x="227279" y="7493"/>
                  </a:lnTo>
                  <a:close/>
                </a:path>
                <a:path w="427990" h="395604">
                  <a:moveTo>
                    <a:pt x="247345" y="369430"/>
                  </a:moveTo>
                  <a:lnTo>
                    <a:pt x="239877" y="361937"/>
                  </a:lnTo>
                  <a:lnTo>
                    <a:pt x="221386" y="361937"/>
                  </a:lnTo>
                  <a:lnTo>
                    <a:pt x="213918" y="369430"/>
                  </a:lnTo>
                  <a:lnTo>
                    <a:pt x="213918" y="387972"/>
                  </a:lnTo>
                  <a:lnTo>
                    <a:pt x="221386" y="395452"/>
                  </a:lnTo>
                  <a:lnTo>
                    <a:pt x="239877" y="395452"/>
                  </a:lnTo>
                  <a:lnTo>
                    <a:pt x="247345" y="387972"/>
                  </a:lnTo>
                  <a:lnTo>
                    <a:pt x="247345" y="378701"/>
                  </a:lnTo>
                  <a:lnTo>
                    <a:pt x="247345" y="369430"/>
                  </a:lnTo>
                  <a:close/>
                </a:path>
                <a:path w="427990" h="395604">
                  <a:moveTo>
                    <a:pt x="260705" y="134835"/>
                  </a:moveTo>
                  <a:lnTo>
                    <a:pt x="253250" y="127355"/>
                  </a:lnTo>
                  <a:lnTo>
                    <a:pt x="234746" y="127355"/>
                  </a:lnTo>
                  <a:lnTo>
                    <a:pt x="227279" y="134835"/>
                  </a:lnTo>
                  <a:lnTo>
                    <a:pt x="227279" y="153377"/>
                  </a:lnTo>
                  <a:lnTo>
                    <a:pt x="234746" y="160870"/>
                  </a:lnTo>
                  <a:lnTo>
                    <a:pt x="253250" y="160870"/>
                  </a:lnTo>
                  <a:lnTo>
                    <a:pt x="260705" y="153377"/>
                  </a:lnTo>
                  <a:lnTo>
                    <a:pt x="260705" y="144106"/>
                  </a:lnTo>
                  <a:lnTo>
                    <a:pt x="260705" y="134835"/>
                  </a:lnTo>
                  <a:close/>
                </a:path>
                <a:path w="427990" h="395604">
                  <a:moveTo>
                    <a:pt x="280771" y="7493"/>
                  </a:moveTo>
                  <a:lnTo>
                    <a:pt x="273304" y="0"/>
                  </a:lnTo>
                  <a:lnTo>
                    <a:pt x="254800" y="0"/>
                  </a:lnTo>
                  <a:lnTo>
                    <a:pt x="247345" y="7493"/>
                  </a:lnTo>
                  <a:lnTo>
                    <a:pt x="247345" y="26035"/>
                  </a:lnTo>
                  <a:lnTo>
                    <a:pt x="254800" y="33515"/>
                  </a:lnTo>
                  <a:lnTo>
                    <a:pt x="273304" y="33515"/>
                  </a:lnTo>
                  <a:lnTo>
                    <a:pt x="280771" y="26035"/>
                  </a:lnTo>
                  <a:lnTo>
                    <a:pt x="280771" y="16764"/>
                  </a:lnTo>
                  <a:lnTo>
                    <a:pt x="280771" y="7493"/>
                  </a:lnTo>
                  <a:close/>
                </a:path>
                <a:path w="427990" h="395604">
                  <a:moveTo>
                    <a:pt x="294132" y="369430"/>
                  </a:moveTo>
                  <a:lnTo>
                    <a:pt x="286677" y="361937"/>
                  </a:lnTo>
                  <a:lnTo>
                    <a:pt x="268173" y="361937"/>
                  </a:lnTo>
                  <a:lnTo>
                    <a:pt x="260705" y="369430"/>
                  </a:lnTo>
                  <a:lnTo>
                    <a:pt x="260705" y="387972"/>
                  </a:lnTo>
                  <a:lnTo>
                    <a:pt x="268173" y="395452"/>
                  </a:lnTo>
                  <a:lnTo>
                    <a:pt x="286677" y="395452"/>
                  </a:lnTo>
                  <a:lnTo>
                    <a:pt x="294132" y="387972"/>
                  </a:lnTo>
                  <a:lnTo>
                    <a:pt x="294132" y="378701"/>
                  </a:lnTo>
                  <a:lnTo>
                    <a:pt x="294132" y="369430"/>
                  </a:lnTo>
                  <a:close/>
                </a:path>
                <a:path w="427990" h="395604">
                  <a:moveTo>
                    <a:pt x="307505" y="188455"/>
                  </a:moveTo>
                  <a:lnTo>
                    <a:pt x="300037" y="180975"/>
                  </a:lnTo>
                  <a:lnTo>
                    <a:pt x="281546" y="180975"/>
                  </a:lnTo>
                  <a:lnTo>
                    <a:pt x="274078" y="188455"/>
                  </a:lnTo>
                  <a:lnTo>
                    <a:pt x="274078" y="206997"/>
                  </a:lnTo>
                  <a:lnTo>
                    <a:pt x="281546" y="214490"/>
                  </a:lnTo>
                  <a:lnTo>
                    <a:pt x="300037" y="214490"/>
                  </a:lnTo>
                  <a:lnTo>
                    <a:pt x="307505" y="206997"/>
                  </a:lnTo>
                  <a:lnTo>
                    <a:pt x="307505" y="197726"/>
                  </a:lnTo>
                  <a:lnTo>
                    <a:pt x="307505" y="188455"/>
                  </a:lnTo>
                  <a:close/>
                </a:path>
                <a:path w="427990" h="395604">
                  <a:moveTo>
                    <a:pt x="327558" y="7493"/>
                  </a:moveTo>
                  <a:lnTo>
                    <a:pt x="320090" y="0"/>
                  </a:lnTo>
                  <a:lnTo>
                    <a:pt x="301599" y="0"/>
                  </a:lnTo>
                  <a:lnTo>
                    <a:pt x="294132" y="7493"/>
                  </a:lnTo>
                  <a:lnTo>
                    <a:pt x="294132" y="26035"/>
                  </a:lnTo>
                  <a:lnTo>
                    <a:pt x="301599" y="33515"/>
                  </a:lnTo>
                  <a:lnTo>
                    <a:pt x="320090" y="33515"/>
                  </a:lnTo>
                  <a:lnTo>
                    <a:pt x="327558" y="26035"/>
                  </a:lnTo>
                  <a:lnTo>
                    <a:pt x="327558" y="16764"/>
                  </a:lnTo>
                  <a:lnTo>
                    <a:pt x="327558" y="7493"/>
                  </a:lnTo>
                  <a:close/>
                </a:path>
                <a:path w="427990" h="395604">
                  <a:moveTo>
                    <a:pt x="340931" y="369430"/>
                  </a:moveTo>
                  <a:lnTo>
                    <a:pt x="333463" y="361937"/>
                  </a:lnTo>
                  <a:lnTo>
                    <a:pt x="314972" y="361937"/>
                  </a:lnTo>
                  <a:lnTo>
                    <a:pt x="307505" y="369430"/>
                  </a:lnTo>
                  <a:lnTo>
                    <a:pt x="307505" y="387972"/>
                  </a:lnTo>
                  <a:lnTo>
                    <a:pt x="314972" y="395452"/>
                  </a:lnTo>
                  <a:lnTo>
                    <a:pt x="333463" y="395452"/>
                  </a:lnTo>
                  <a:lnTo>
                    <a:pt x="340931" y="387972"/>
                  </a:lnTo>
                  <a:lnTo>
                    <a:pt x="340931" y="378701"/>
                  </a:lnTo>
                  <a:lnTo>
                    <a:pt x="340931" y="369430"/>
                  </a:lnTo>
                  <a:close/>
                </a:path>
                <a:path w="427990" h="395604">
                  <a:moveTo>
                    <a:pt x="360984" y="188455"/>
                  </a:moveTo>
                  <a:lnTo>
                    <a:pt x="353517" y="180975"/>
                  </a:lnTo>
                  <a:lnTo>
                    <a:pt x="335026" y="180975"/>
                  </a:lnTo>
                  <a:lnTo>
                    <a:pt x="327558" y="188455"/>
                  </a:lnTo>
                  <a:lnTo>
                    <a:pt x="327558" y="206997"/>
                  </a:lnTo>
                  <a:lnTo>
                    <a:pt x="335026" y="214490"/>
                  </a:lnTo>
                  <a:lnTo>
                    <a:pt x="353517" y="214490"/>
                  </a:lnTo>
                  <a:lnTo>
                    <a:pt x="360984" y="206997"/>
                  </a:lnTo>
                  <a:lnTo>
                    <a:pt x="360984" y="197726"/>
                  </a:lnTo>
                  <a:lnTo>
                    <a:pt x="360984" y="188455"/>
                  </a:lnTo>
                  <a:close/>
                </a:path>
                <a:path w="427990" h="395604">
                  <a:moveTo>
                    <a:pt x="374357" y="7493"/>
                  </a:moveTo>
                  <a:lnTo>
                    <a:pt x="366890" y="0"/>
                  </a:lnTo>
                  <a:lnTo>
                    <a:pt x="348399" y="0"/>
                  </a:lnTo>
                  <a:lnTo>
                    <a:pt x="340931" y="7493"/>
                  </a:lnTo>
                  <a:lnTo>
                    <a:pt x="340931" y="26035"/>
                  </a:lnTo>
                  <a:lnTo>
                    <a:pt x="348399" y="33515"/>
                  </a:lnTo>
                  <a:lnTo>
                    <a:pt x="366890" y="33515"/>
                  </a:lnTo>
                  <a:lnTo>
                    <a:pt x="374357" y="26035"/>
                  </a:lnTo>
                  <a:lnTo>
                    <a:pt x="374357" y="16764"/>
                  </a:lnTo>
                  <a:lnTo>
                    <a:pt x="374357" y="7493"/>
                  </a:lnTo>
                  <a:close/>
                </a:path>
                <a:path w="427990" h="395604">
                  <a:moveTo>
                    <a:pt x="394411" y="369430"/>
                  </a:moveTo>
                  <a:lnTo>
                    <a:pt x="386943" y="361937"/>
                  </a:lnTo>
                  <a:lnTo>
                    <a:pt x="368452" y="361937"/>
                  </a:lnTo>
                  <a:lnTo>
                    <a:pt x="360984" y="369430"/>
                  </a:lnTo>
                  <a:lnTo>
                    <a:pt x="360984" y="387972"/>
                  </a:lnTo>
                  <a:lnTo>
                    <a:pt x="368452" y="395452"/>
                  </a:lnTo>
                  <a:lnTo>
                    <a:pt x="386943" y="395452"/>
                  </a:lnTo>
                  <a:lnTo>
                    <a:pt x="394411" y="387972"/>
                  </a:lnTo>
                  <a:lnTo>
                    <a:pt x="394411" y="378701"/>
                  </a:lnTo>
                  <a:lnTo>
                    <a:pt x="394411" y="369430"/>
                  </a:lnTo>
                  <a:close/>
                </a:path>
                <a:path w="427990" h="395604">
                  <a:moveTo>
                    <a:pt x="407784" y="188455"/>
                  </a:moveTo>
                  <a:lnTo>
                    <a:pt x="400316" y="180975"/>
                  </a:lnTo>
                  <a:lnTo>
                    <a:pt x="381825" y="180975"/>
                  </a:lnTo>
                  <a:lnTo>
                    <a:pt x="374357" y="188455"/>
                  </a:lnTo>
                  <a:lnTo>
                    <a:pt x="374357" y="206997"/>
                  </a:lnTo>
                  <a:lnTo>
                    <a:pt x="381825" y="214490"/>
                  </a:lnTo>
                  <a:lnTo>
                    <a:pt x="400316" y="214490"/>
                  </a:lnTo>
                  <a:lnTo>
                    <a:pt x="407784" y="206997"/>
                  </a:lnTo>
                  <a:lnTo>
                    <a:pt x="407784" y="197726"/>
                  </a:lnTo>
                  <a:lnTo>
                    <a:pt x="407784" y="188455"/>
                  </a:lnTo>
                  <a:close/>
                </a:path>
                <a:path w="427990" h="395604">
                  <a:moveTo>
                    <a:pt x="427837" y="7493"/>
                  </a:moveTo>
                  <a:lnTo>
                    <a:pt x="420370" y="0"/>
                  </a:lnTo>
                  <a:lnTo>
                    <a:pt x="401878" y="0"/>
                  </a:lnTo>
                  <a:lnTo>
                    <a:pt x="394411" y="7493"/>
                  </a:lnTo>
                  <a:lnTo>
                    <a:pt x="394411" y="26035"/>
                  </a:lnTo>
                  <a:lnTo>
                    <a:pt x="401878" y="33515"/>
                  </a:lnTo>
                  <a:lnTo>
                    <a:pt x="420370" y="33515"/>
                  </a:lnTo>
                  <a:lnTo>
                    <a:pt x="427837" y="26035"/>
                  </a:lnTo>
                  <a:lnTo>
                    <a:pt x="427837" y="16764"/>
                  </a:lnTo>
                  <a:lnTo>
                    <a:pt x="427837" y="7493"/>
                  </a:lnTo>
                  <a:close/>
                </a:path>
              </a:pathLst>
            </a:custGeom>
            <a:solidFill>
              <a:srgbClr val="1F487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3" name="object 33"/>
            <p:cNvSpPr/>
            <p:nvPr/>
          </p:nvSpPr>
          <p:spPr>
            <a:xfrm>
              <a:off x="1662942" y="2905612"/>
              <a:ext cx="2654300" cy="730885"/>
            </a:xfrm>
            <a:custGeom>
              <a:avLst/>
              <a:gdLst/>
              <a:ahLst/>
              <a:cxnLst/>
              <a:rect l="l" t="t" r="r" b="b"/>
              <a:pathLst>
                <a:path w="2654300" h="730885">
                  <a:moveTo>
                    <a:pt x="33425" y="730576"/>
                  </a:moveTo>
                  <a:lnTo>
                    <a:pt x="33425" y="0"/>
                  </a:lnTo>
                </a:path>
                <a:path w="2654300" h="730885">
                  <a:moveTo>
                    <a:pt x="0" y="730576"/>
                  </a:moveTo>
                  <a:lnTo>
                    <a:pt x="33425" y="730576"/>
                  </a:lnTo>
                </a:path>
                <a:path w="2654300" h="730885">
                  <a:moveTo>
                    <a:pt x="0" y="368639"/>
                  </a:moveTo>
                  <a:lnTo>
                    <a:pt x="33425" y="368639"/>
                  </a:lnTo>
                </a:path>
                <a:path w="2654300" h="730885">
                  <a:moveTo>
                    <a:pt x="0" y="0"/>
                  </a:moveTo>
                  <a:lnTo>
                    <a:pt x="33425" y="0"/>
                  </a:lnTo>
                </a:path>
                <a:path w="2654300" h="730885">
                  <a:moveTo>
                    <a:pt x="33425" y="368639"/>
                  </a:moveTo>
                  <a:lnTo>
                    <a:pt x="1684630" y="368639"/>
                  </a:lnTo>
                </a:path>
                <a:path w="2654300" h="730885">
                  <a:moveTo>
                    <a:pt x="2653962" y="730576"/>
                  </a:moveTo>
                  <a:lnTo>
                    <a:pt x="2653962" y="0"/>
                  </a:lnTo>
                </a:path>
                <a:path w="2654300" h="730885">
                  <a:moveTo>
                    <a:pt x="2620536" y="730576"/>
                  </a:moveTo>
                  <a:lnTo>
                    <a:pt x="2653962" y="730576"/>
                  </a:lnTo>
                </a:path>
                <a:path w="2654300" h="730885">
                  <a:moveTo>
                    <a:pt x="2620536" y="368639"/>
                  </a:moveTo>
                  <a:lnTo>
                    <a:pt x="2653962" y="368639"/>
                  </a:lnTo>
                </a:path>
                <a:path w="2654300" h="730885">
                  <a:moveTo>
                    <a:pt x="2620536" y="0"/>
                  </a:moveTo>
                  <a:lnTo>
                    <a:pt x="2653962" y="0"/>
                  </a:lnTo>
                </a:path>
              </a:pathLst>
            </a:custGeom>
            <a:ln w="6700">
              <a:solidFill>
                <a:srgbClr val="85858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4" name="object 34"/>
            <p:cNvSpPr/>
            <p:nvPr/>
          </p:nvSpPr>
          <p:spPr>
            <a:xfrm>
              <a:off x="4316905" y="3274251"/>
              <a:ext cx="1651635" cy="0"/>
            </a:xfrm>
            <a:custGeom>
              <a:avLst/>
              <a:gdLst/>
              <a:ahLst/>
              <a:cxnLst/>
              <a:rect l="l" t="t" r="r" b="b"/>
              <a:pathLst>
                <a:path w="1651635">
                  <a:moveTo>
                    <a:pt x="0" y="0"/>
                  </a:moveTo>
                  <a:lnTo>
                    <a:pt x="1139799" y="0"/>
                  </a:lnTo>
                </a:path>
                <a:path w="1651635">
                  <a:moveTo>
                    <a:pt x="1520847" y="0"/>
                  </a:moveTo>
                  <a:lnTo>
                    <a:pt x="1651205" y="0"/>
                  </a:lnTo>
                </a:path>
              </a:pathLst>
            </a:custGeom>
            <a:ln w="6709">
              <a:solidFill>
                <a:srgbClr val="85858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5" name="object 35"/>
            <p:cNvSpPr/>
            <p:nvPr/>
          </p:nvSpPr>
          <p:spPr>
            <a:xfrm>
              <a:off x="5456694" y="3237394"/>
              <a:ext cx="381635" cy="67310"/>
            </a:xfrm>
            <a:custGeom>
              <a:avLst/>
              <a:gdLst/>
              <a:ahLst/>
              <a:cxnLst/>
              <a:rect l="l" t="t" r="r" b="b"/>
              <a:pathLst>
                <a:path w="381635" h="67310">
                  <a:moveTo>
                    <a:pt x="381050" y="0"/>
                  </a:moveTo>
                  <a:lnTo>
                    <a:pt x="381050" y="0"/>
                  </a:lnTo>
                  <a:lnTo>
                    <a:pt x="0" y="0"/>
                  </a:lnTo>
                  <a:lnTo>
                    <a:pt x="0" y="67017"/>
                  </a:lnTo>
                  <a:lnTo>
                    <a:pt x="381050" y="67017"/>
                  </a:lnTo>
                  <a:lnTo>
                    <a:pt x="381050" y="0"/>
                  </a:lnTo>
                  <a:close/>
                </a:path>
              </a:pathLst>
            </a:custGeom>
            <a:solidFill>
              <a:srgbClr val="548ED4"/>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6" name="object 36"/>
            <p:cNvSpPr/>
            <p:nvPr/>
          </p:nvSpPr>
          <p:spPr>
            <a:xfrm>
              <a:off x="6897331" y="2905612"/>
              <a:ext cx="33655" cy="730885"/>
            </a:xfrm>
            <a:custGeom>
              <a:avLst/>
              <a:gdLst/>
              <a:ahLst/>
              <a:cxnLst/>
              <a:rect l="l" t="t" r="r" b="b"/>
              <a:pathLst>
                <a:path w="33654" h="730885">
                  <a:moveTo>
                    <a:pt x="33425" y="730576"/>
                  </a:moveTo>
                  <a:lnTo>
                    <a:pt x="33425" y="0"/>
                  </a:lnTo>
                </a:path>
                <a:path w="33654" h="730885">
                  <a:moveTo>
                    <a:pt x="0" y="730576"/>
                  </a:moveTo>
                  <a:lnTo>
                    <a:pt x="33425" y="730576"/>
                  </a:lnTo>
                </a:path>
                <a:path w="33654" h="730885">
                  <a:moveTo>
                    <a:pt x="0" y="368639"/>
                  </a:moveTo>
                  <a:lnTo>
                    <a:pt x="33425" y="368639"/>
                  </a:lnTo>
                </a:path>
                <a:path w="33654" h="730885">
                  <a:moveTo>
                    <a:pt x="0" y="0"/>
                  </a:moveTo>
                  <a:lnTo>
                    <a:pt x="33425" y="0"/>
                  </a:lnTo>
                </a:path>
              </a:pathLst>
            </a:custGeom>
            <a:ln w="6700">
              <a:solidFill>
                <a:srgbClr val="85858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7" name="object 37"/>
            <p:cNvSpPr/>
            <p:nvPr/>
          </p:nvSpPr>
          <p:spPr>
            <a:xfrm>
              <a:off x="6930756" y="3274251"/>
              <a:ext cx="1651635" cy="0"/>
            </a:xfrm>
            <a:custGeom>
              <a:avLst/>
              <a:gdLst/>
              <a:ahLst/>
              <a:cxnLst/>
              <a:rect l="l" t="t" r="r" b="b"/>
              <a:pathLst>
                <a:path w="1651634">
                  <a:moveTo>
                    <a:pt x="0" y="0"/>
                  </a:moveTo>
                  <a:lnTo>
                    <a:pt x="1139799" y="0"/>
                  </a:lnTo>
                </a:path>
                <a:path w="1651634">
                  <a:moveTo>
                    <a:pt x="1520847" y="0"/>
                  </a:moveTo>
                  <a:lnTo>
                    <a:pt x="1651205" y="0"/>
                  </a:lnTo>
                </a:path>
              </a:pathLst>
            </a:custGeom>
            <a:ln w="6709">
              <a:solidFill>
                <a:srgbClr val="85858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8" name="object 38"/>
            <p:cNvSpPr/>
            <p:nvPr/>
          </p:nvSpPr>
          <p:spPr>
            <a:xfrm>
              <a:off x="8070545" y="3237394"/>
              <a:ext cx="381635" cy="67310"/>
            </a:xfrm>
            <a:custGeom>
              <a:avLst/>
              <a:gdLst/>
              <a:ahLst/>
              <a:cxnLst/>
              <a:rect l="l" t="t" r="r" b="b"/>
              <a:pathLst>
                <a:path w="381634" h="67310">
                  <a:moveTo>
                    <a:pt x="381050" y="0"/>
                  </a:moveTo>
                  <a:lnTo>
                    <a:pt x="381050" y="0"/>
                  </a:lnTo>
                  <a:lnTo>
                    <a:pt x="0" y="0"/>
                  </a:lnTo>
                  <a:lnTo>
                    <a:pt x="0" y="67017"/>
                  </a:lnTo>
                  <a:lnTo>
                    <a:pt x="381050" y="67017"/>
                  </a:lnTo>
                  <a:lnTo>
                    <a:pt x="381050" y="0"/>
                  </a:lnTo>
                  <a:close/>
                </a:path>
              </a:pathLst>
            </a:custGeom>
            <a:solidFill>
              <a:srgbClr val="D9959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9" name="object 39"/>
            <p:cNvSpPr/>
            <p:nvPr/>
          </p:nvSpPr>
          <p:spPr>
            <a:xfrm>
              <a:off x="9410908" y="2905612"/>
              <a:ext cx="33655" cy="730885"/>
            </a:xfrm>
            <a:custGeom>
              <a:avLst/>
              <a:gdLst/>
              <a:ahLst/>
              <a:cxnLst/>
              <a:rect l="l" t="t" r="r" b="b"/>
              <a:pathLst>
                <a:path w="33654" h="730885">
                  <a:moveTo>
                    <a:pt x="33425" y="730576"/>
                  </a:moveTo>
                  <a:lnTo>
                    <a:pt x="33425" y="0"/>
                  </a:lnTo>
                </a:path>
                <a:path w="33654" h="730885">
                  <a:moveTo>
                    <a:pt x="0" y="730576"/>
                  </a:moveTo>
                  <a:lnTo>
                    <a:pt x="33425" y="730576"/>
                  </a:lnTo>
                </a:path>
                <a:path w="33654" h="730885">
                  <a:moveTo>
                    <a:pt x="0" y="368639"/>
                  </a:moveTo>
                  <a:lnTo>
                    <a:pt x="33425" y="368639"/>
                  </a:lnTo>
                </a:path>
                <a:path w="33654" h="730885">
                  <a:moveTo>
                    <a:pt x="0" y="0"/>
                  </a:moveTo>
                  <a:lnTo>
                    <a:pt x="33425" y="0"/>
                  </a:lnTo>
                </a:path>
              </a:pathLst>
            </a:custGeom>
            <a:ln w="6700">
              <a:solidFill>
                <a:srgbClr val="85858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0" name="object 40"/>
            <p:cNvSpPr/>
            <p:nvPr/>
          </p:nvSpPr>
          <p:spPr>
            <a:xfrm>
              <a:off x="9444333" y="3274251"/>
              <a:ext cx="1651635" cy="0"/>
            </a:xfrm>
            <a:custGeom>
              <a:avLst/>
              <a:gdLst/>
              <a:ahLst/>
              <a:cxnLst/>
              <a:rect l="l" t="t" r="r" b="b"/>
              <a:pathLst>
                <a:path w="1651634">
                  <a:moveTo>
                    <a:pt x="0" y="0"/>
                  </a:moveTo>
                  <a:lnTo>
                    <a:pt x="1139799" y="0"/>
                  </a:lnTo>
                </a:path>
                <a:path w="1651634">
                  <a:moveTo>
                    <a:pt x="1520847" y="0"/>
                  </a:moveTo>
                  <a:lnTo>
                    <a:pt x="1651205" y="0"/>
                  </a:lnTo>
                </a:path>
              </a:pathLst>
            </a:custGeom>
            <a:ln w="6709">
              <a:solidFill>
                <a:srgbClr val="85858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1" name="object 41"/>
            <p:cNvSpPr/>
            <p:nvPr/>
          </p:nvSpPr>
          <p:spPr>
            <a:xfrm>
              <a:off x="10584129" y="3237394"/>
              <a:ext cx="381635" cy="67310"/>
            </a:xfrm>
            <a:custGeom>
              <a:avLst/>
              <a:gdLst/>
              <a:ahLst/>
              <a:cxnLst/>
              <a:rect l="l" t="t" r="r" b="b"/>
              <a:pathLst>
                <a:path w="381634" h="67310">
                  <a:moveTo>
                    <a:pt x="381050" y="0"/>
                  </a:moveTo>
                  <a:lnTo>
                    <a:pt x="381050" y="0"/>
                  </a:lnTo>
                  <a:lnTo>
                    <a:pt x="0" y="0"/>
                  </a:lnTo>
                  <a:lnTo>
                    <a:pt x="0" y="67017"/>
                  </a:lnTo>
                  <a:lnTo>
                    <a:pt x="381050" y="67017"/>
                  </a:lnTo>
                  <a:lnTo>
                    <a:pt x="381050" y="0"/>
                  </a:lnTo>
                  <a:close/>
                </a:path>
              </a:pathLst>
            </a:custGeom>
            <a:solidFill>
              <a:srgbClr val="5F497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42" name="object 42"/>
            <p:cNvPicPr/>
            <p:nvPr/>
          </p:nvPicPr>
          <p:blipFill>
            <a:blip r:embed="rId3" cstate="print"/>
            <a:stretch>
              <a:fillRect/>
            </a:stretch>
          </p:blipFill>
          <p:spPr>
            <a:xfrm>
              <a:off x="4306877" y="1635482"/>
              <a:ext cx="1698000" cy="375341"/>
            </a:xfrm>
            <a:prstGeom prst="rect">
              <a:avLst/>
            </a:prstGeom>
          </p:spPr>
        </p:pic>
        <p:pic>
          <p:nvPicPr>
            <p:cNvPr id="43" name="object 43"/>
            <p:cNvPicPr/>
            <p:nvPr/>
          </p:nvPicPr>
          <p:blipFill>
            <a:blip r:embed="rId3" cstate="print"/>
            <a:stretch>
              <a:fillRect/>
            </a:stretch>
          </p:blipFill>
          <p:spPr>
            <a:xfrm>
              <a:off x="6934099" y="1622077"/>
              <a:ext cx="1698000" cy="375341"/>
            </a:xfrm>
            <a:prstGeom prst="rect">
              <a:avLst/>
            </a:prstGeom>
          </p:spPr>
        </p:pic>
        <p:pic>
          <p:nvPicPr>
            <p:cNvPr id="44" name="object 44"/>
            <p:cNvPicPr/>
            <p:nvPr/>
          </p:nvPicPr>
          <p:blipFill>
            <a:blip r:embed="rId3" cstate="print"/>
            <a:stretch>
              <a:fillRect/>
            </a:stretch>
          </p:blipFill>
          <p:spPr>
            <a:xfrm>
              <a:off x="9481100" y="1635482"/>
              <a:ext cx="1698000" cy="375341"/>
            </a:xfrm>
            <a:prstGeom prst="rect">
              <a:avLst/>
            </a:prstGeom>
          </p:spPr>
        </p:pic>
        <p:pic>
          <p:nvPicPr>
            <p:cNvPr id="45" name="object 45"/>
            <p:cNvPicPr/>
            <p:nvPr/>
          </p:nvPicPr>
          <p:blipFill>
            <a:blip r:embed="rId3" cstate="print"/>
            <a:stretch>
              <a:fillRect/>
            </a:stretch>
          </p:blipFill>
          <p:spPr>
            <a:xfrm>
              <a:off x="9474415" y="2238710"/>
              <a:ext cx="1698000" cy="375341"/>
            </a:xfrm>
            <a:prstGeom prst="rect">
              <a:avLst/>
            </a:prstGeom>
          </p:spPr>
        </p:pic>
        <p:sp>
          <p:nvSpPr>
            <p:cNvPr id="46" name="object 46"/>
            <p:cNvSpPr/>
            <p:nvPr/>
          </p:nvSpPr>
          <p:spPr>
            <a:xfrm>
              <a:off x="10751258" y="2218602"/>
              <a:ext cx="287655" cy="422275"/>
            </a:xfrm>
            <a:custGeom>
              <a:avLst/>
              <a:gdLst/>
              <a:ahLst/>
              <a:cxnLst/>
              <a:rect l="l" t="t" r="r" b="b"/>
              <a:pathLst>
                <a:path w="287654" h="422275">
                  <a:moveTo>
                    <a:pt x="287456" y="0"/>
                  </a:moveTo>
                  <a:lnTo>
                    <a:pt x="0" y="0"/>
                  </a:lnTo>
                  <a:lnTo>
                    <a:pt x="0" y="422259"/>
                  </a:lnTo>
                  <a:lnTo>
                    <a:pt x="287456" y="422259"/>
                  </a:lnTo>
                  <a:lnTo>
                    <a:pt x="287456" y="0"/>
                  </a:lnTo>
                  <a:close/>
                </a:path>
              </a:pathLst>
            </a:custGeom>
            <a:solidFill>
              <a:srgbClr val="943735">
                <a:alpha val="5999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7" name="object 47"/>
            <p:cNvSpPr/>
            <p:nvPr/>
          </p:nvSpPr>
          <p:spPr>
            <a:xfrm>
              <a:off x="10751258" y="2218602"/>
              <a:ext cx="287655" cy="422275"/>
            </a:xfrm>
            <a:custGeom>
              <a:avLst/>
              <a:gdLst/>
              <a:ahLst/>
              <a:cxnLst/>
              <a:rect l="l" t="t" r="r" b="b"/>
              <a:pathLst>
                <a:path w="287654" h="422275">
                  <a:moveTo>
                    <a:pt x="0" y="422259"/>
                  </a:moveTo>
                  <a:lnTo>
                    <a:pt x="287456" y="422259"/>
                  </a:lnTo>
                  <a:lnTo>
                    <a:pt x="287456" y="0"/>
                  </a:lnTo>
                  <a:lnTo>
                    <a:pt x="0" y="0"/>
                  </a:lnTo>
                  <a:lnTo>
                    <a:pt x="0" y="422259"/>
                  </a:lnTo>
                  <a:close/>
                </a:path>
              </a:pathLst>
            </a:custGeom>
            <a:ln w="13381">
              <a:solidFill>
                <a:srgbClr val="62242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pic>
        <p:nvPicPr>
          <p:cNvPr id="48" name="object 48"/>
          <p:cNvPicPr/>
          <p:nvPr/>
        </p:nvPicPr>
        <p:blipFill>
          <a:blip r:embed="rId5" cstate="print"/>
          <a:stretch>
            <a:fillRect/>
          </a:stretch>
        </p:blipFill>
        <p:spPr>
          <a:xfrm>
            <a:off x="6940784" y="2232007"/>
            <a:ext cx="1423914" cy="147455"/>
          </a:xfrm>
          <a:prstGeom prst="rect">
            <a:avLst/>
          </a:prstGeom>
        </p:spPr>
      </p:pic>
      <p:sp>
        <p:nvSpPr>
          <p:cNvPr id="49" name="object 49"/>
          <p:cNvSpPr txBox="1"/>
          <p:nvPr/>
        </p:nvSpPr>
        <p:spPr>
          <a:xfrm>
            <a:off x="1511972" y="5875113"/>
            <a:ext cx="92075" cy="845185"/>
          </a:xfrm>
          <a:prstGeom prst="rect">
            <a:avLst/>
          </a:prstGeom>
        </p:spPr>
        <p:txBody>
          <a:bodyPr vert="horz" wrap="square" lIns="0" tIns="0" rIns="0" bIns="0" rtlCol="0">
            <a:spAutoFit/>
          </a:bodyPr>
          <a:lstStyle/>
          <a:p>
            <a:pPr marL="33655" marR="0" lvl="0" indent="0" algn="l" defTabSz="914400" rtl="0" eaLnBrk="1" fontAlgn="auto" latinLnBrk="0" hangingPunct="1">
              <a:lnSpc>
                <a:spcPts val="855"/>
              </a:lnSpc>
              <a:spcBef>
                <a:spcPts val="0"/>
              </a:spcBef>
              <a:spcAft>
                <a:spcPts val="0"/>
              </a:spcAft>
              <a:buClrTx/>
              <a:buSzTx/>
              <a:buFontTx/>
              <a:buNone/>
              <a:tabLst/>
              <a:defRPr/>
            </a:pPr>
            <a:r>
              <a:rPr kumimoji="0" sz="900" b="0" i="0" u="none" strike="noStrike" kern="0" cap="none" spc="-5" normalizeH="0" baseline="0" noProof="0" dirty="0">
                <a:ln>
                  <a:noFill/>
                </a:ln>
                <a:solidFill>
                  <a:sysClr val="windowText" lastClr="000000"/>
                </a:solidFill>
                <a:effectLst/>
                <a:uLnTx/>
                <a:uFillTx/>
                <a:latin typeface="Calibri"/>
                <a:ea typeface="+mn-ea"/>
                <a:cs typeface="Calibri"/>
              </a:rPr>
              <a:t>2</a:t>
            </a:r>
            <a:endParaRPr kumimoji="0" sz="900" b="0" i="0" u="none" strike="noStrike" kern="0" cap="none" spc="0" normalizeH="0" baseline="0" noProof="0">
              <a:ln>
                <a:noFill/>
              </a:ln>
              <a:solidFill>
                <a:sysClr val="windowText" lastClr="000000"/>
              </a:solidFill>
              <a:effectLst/>
              <a:uLnTx/>
              <a:uFillTx/>
              <a:latin typeface="Calibri"/>
              <a:ea typeface="+mn-ea"/>
              <a:cs typeface="Calibri"/>
            </a:endParaRPr>
          </a:p>
          <a:p>
            <a:pPr marL="33655" marR="0" lvl="0" indent="0" algn="l" defTabSz="914400" rtl="0" eaLnBrk="1" fontAlgn="auto" latinLnBrk="0" hangingPunct="1">
              <a:lnSpc>
                <a:spcPct val="100000"/>
              </a:lnSpc>
              <a:spcBef>
                <a:spcPts val="355"/>
              </a:spcBef>
              <a:spcAft>
                <a:spcPts val="0"/>
              </a:spcAft>
              <a:buClrTx/>
              <a:buSzTx/>
              <a:buFontTx/>
              <a:buNone/>
              <a:tabLst/>
              <a:defRPr/>
            </a:pPr>
            <a:r>
              <a:rPr kumimoji="0" sz="900" b="0" i="0" u="none" strike="noStrike" kern="0" cap="none" spc="-5" normalizeH="0" baseline="0" noProof="0" dirty="0">
                <a:ln>
                  <a:noFill/>
                </a:ln>
                <a:solidFill>
                  <a:sysClr val="windowText" lastClr="000000"/>
                </a:solidFill>
                <a:effectLst/>
                <a:uLnTx/>
                <a:uFillTx/>
                <a:latin typeface="Calibri"/>
                <a:ea typeface="+mn-ea"/>
                <a:cs typeface="Calibri"/>
              </a:rPr>
              <a:t>1</a:t>
            </a:r>
            <a:endParaRPr kumimoji="0" sz="900" b="0" i="0" u="none" strike="noStrike" kern="0" cap="none" spc="0" normalizeH="0" baseline="0" noProof="0">
              <a:ln>
                <a:noFill/>
              </a:ln>
              <a:solidFill>
                <a:sysClr val="windowText" lastClr="000000"/>
              </a:solidFill>
              <a:effectLst/>
              <a:uLnTx/>
              <a:uFillTx/>
              <a:latin typeface="Calibri"/>
              <a:ea typeface="+mn-ea"/>
              <a:cs typeface="Calibri"/>
            </a:endParaRPr>
          </a:p>
          <a:p>
            <a:pPr marL="33655" marR="0" lvl="0" indent="0" algn="l" defTabSz="914400" rtl="0" eaLnBrk="1" fontAlgn="auto" latinLnBrk="0" hangingPunct="1">
              <a:lnSpc>
                <a:spcPct val="100000"/>
              </a:lnSpc>
              <a:spcBef>
                <a:spcPts val="360"/>
              </a:spcBef>
              <a:spcAft>
                <a:spcPts val="0"/>
              </a:spcAft>
              <a:buClrTx/>
              <a:buSzTx/>
              <a:buFontTx/>
              <a:buNone/>
              <a:tabLst/>
              <a:defRPr/>
            </a:pPr>
            <a:r>
              <a:rPr kumimoji="0" sz="900" b="0" i="0" u="none" strike="noStrike" kern="0" cap="none" spc="-5" normalizeH="0" baseline="0" noProof="0" dirty="0">
                <a:ln>
                  <a:noFill/>
                </a:ln>
                <a:solidFill>
                  <a:sysClr val="windowText" lastClr="000000"/>
                </a:solidFill>
                <a:effectLst/>
                <a:uLnTx/>
                <a:uFillTx/>
                <a:latin typeface="Calibri"/>
                <a:ea typeface="+mn-ea"/>
                <a:cs typeface="Calibri"/>
              </a:rPr>
              <a:t>0</a:t>
            </a:r>
            <a:endParaRPr kumimoji="0" sz="900" b="0" i="0" u="none" strike="noStrike" kern="0" cap="none" spc="0" normalizeH="0" baseline="0" noProof="0">
              <a:ln>
                <a:noFill/>
              </a:ln>
              <a:solidFill>
                <a:sysClr val="windowText" lastClr="000000"/>
              </a:solidFill>
              <a:effectLst/>
              <a:uLnTx/>
              <a:uFillTx/>
              <a:latin typeface="Calibri"/>
              <a:ea typeface="+mn-ea"/>
              <a:cs typeface="Calibri"/>
            </a:endParaRPr>
          </a:p>
          <a:p>
            <a:pPr marL="0" marR="0" lvl="0" indent="0" algn="l" defTabSz="914400" rtl="0" eaLnBrk="1" fontAlgn="auto" latinLnBrk="0" hangingPunct="1">
              <a:lnSpc>
                <a:spcPct val="100000"/>
              </a:lnSpc>
              <a:spcBef>
                <a:spcPts val="360"/>
              </a:spcBef>
              <a:spcAft>
                <a:spcPts val="0"/>
              </a:spcAft>
              <a:buClrTx/>
              <a:buSzTx/>
              <a:buFontTx/>
              <a:buNone/>
              <a:tabLst/>
              <a:defRPr/>
            </a:pPr>
            <a:r>
              <a:rPr kumimoji="0" sz="900" b="0" i="0" u="none" strike="noStrike" kern="0" cap="none" spc="-25" normalizeH="0" baseline="0" noProof="0" dirty="0">
                <a:ln>
                  <a:noFill/>
                </a:ln>
                <a:solidFill>
                  <a:sysClr val="windowText" lastClr="000000"/>
                </a:solidFill>
                <a:effectLst/>
                <a:uLnTx/>
                <a:uFillTx/>
                <a:latin typeface="Calibri"/>
                <a:ea typeface="+mn-ea"/>
                <a:cs typeface="Calibri"/>
              </a:rPr>
              <a:t>-</a:t>
            </a:r>
            <a:r>
              <a:rPr kumimoji="0" sz="900" b="0" i="0" u="none" strike="noStrike" kern="0" cap="none" spc="-50" normalizeH="0" baseline="0" noProof="0" dirty="0">
                <a:ln>
                  <a:noFill/>
                </a:ln>
                <a:solidFill>
                  <a:sysClr val="windowText" lastClr="000000"/>
                </a:solidFill>
                <a:effectLst/>
                <a:uLnTx/>
                <a:uFillTx/>
                <a:latin typeface="Calibri"/>
                <a:ea typeface="+mn-ea"/>
                <a:cs typeface="Calibri"/>
              </a:rPr>
              <a:t>1</a:t>
            </a:r>
            <a:endParaRPr kumimoji="0" sz="900" b="0" i="0" u="none" strike="noStrike" kern="0" cap="none" spc="0" normalizeH="0" baseline="0" noProof="0">
              <a:ln>
                <a:noFill/>
              </a:ln>
              <a:solidFill>
                <a:sysClr val="windowText" lastClr="000000"/>
              </a:solidFill>
              <a:effectLst/>
              <a:uLnTx/>
              <a:uFillTx/>
              <a:latin typeface="Calibri"/>
              <a:ea typeface="+mn-ea"/>
              <a:cs typeface="Calibri"/>
            </a:endParaRPr>
          </a:p>
          <a:p>
            <a:pPr marL="0" marR="0" lvl="0" indent="0" algn="l" defTabSz="914400" rtl="0" eaLnBrk="1" fontAlgn="auto" latinLnBrk="0" hangingPunct="1">
              <a:lnSpc>
                <a:spcPct val="100000"/>
              </a:lnSpc>
              <a:spcBef>
                <a:spcPts val="360"/>
              </a:spcBef>
              <a:spcAft>
                <a:spcPts val="0"/>
              </a:spcAft>
              <a:buClrTx/>
              <a:buSzTx/>
              <a:buFontTx/>
              <a:buNone/>
              <a:tabLst/>
              <a:defRPr/>
            </a:pPr>
            <a:r>
              <a:rPr kumimoji="0" sz="900" b="0" i="0" u="none" strike="noStrike" kern="0" cap="none" spc="-25" normalizeH="0" baseline="0" noProof="0" dirty="0">
                <a:ln>
                  <a:noFill/>
                </a:ln>
                <a:solidFill>
                  <a:sysClr val="windowText" lastClr="000000"/>
                </a:solidFill>
                <a:effectLst/>
                <a:uLnTx/>
                <a:uFillTx/>
                <a:latin typeface="Calibri"/>
                <a:ea typeface="+mn-ea"/>
                <a:cs typeface="Calibri"/>
              </a:rPr>
              <a:t>-</a:t>
            </a:r>
            <a:r>
              <a:rPr kumimoji="0" sz="900" b="0" i="0" u="none" strike="noStrike" kern="0" cap="none" spc="-50" normalizeH="0" baseline="0" noProof="0" dirty="0">
                <a:ln>
                  <a:noFill/>
                </a:ln>
                <a:solidFill>
                  <a:sysClr val="windowText" lastClr="000000"/>
                </a:solidFill>
                <a:effectLst/>
                <a:uLnTx/>
                <a:uFillTx/>
                <a:latin typeface="Calibri"/>
                <a:ea typeface="+mn-ea"/>
                <a:cs typeface="Calibri"/>
              </a:rPr>
              <a:t>2</a:t>
            </a:r>
            <a:endParaRPr kumimoji="0" sz="900"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50" name="object 50"/>
          <p:cNvSpPr txBox="1"/>
          <p:nvPr/>
        </p:nvSpPr>
        <p:spPr>
          <a:xfrm>
            <a:off x="4134180" y="5875113"/>
            <a:ext cx="92075" cy="845185"/>
          </a:xfrm>
          <a:prstGeom prst="rect">
            <a:avLst/>
          </a:prstGeom>
        </p:spPr>
        <p:txBody>
          <a:bodyPr vert="horz" wrap="square" lIns="0" tIns="0" rIns="0" bIns="0" rtlCol="0">
            <a:spAutoFit/>
          </a:bodyPr>
          <a:lstStyle/>
          <a:p>
            <a:pPr marL="33655" marR="0" lvl="0" indent="0" algn="l" defTabSz="914400" rtl="0" eaLnBrk="1" fontAlgn="auto" latinLnBrk="0" hangingPunct="1">
              <a:lnSpc>
                <a:spcPts val="855"/>
              </a:lnSpc>
              <a:spcBef>
                <a:spcPts val="0"/>
              </a:spcBef>
              <a:spcAft>
                <a:spcPts val="0"/>
              </a:spcAft>
              <a:buClrTx/>
              <a:buSzTx/>
              <a:buFontTx/>
              <a:buNone/>
              <a:tabLst/>
              <a:defRPr/>
            </a:pPr>
            <a:r>
              <a:rPr kumimoji="0" sz="900" b="0" i="0" u="none" strike="noStrike" kern="0" cap="none" spc="-5" normalizeH="0" baseline="0" noProof="0" dirty="0">
                <a:ln>
                  <a:noFill/>
                </a:ln>
                <a:solidFill>
                  <a:sysClr val="windowText" lastClr="000000"/>
                </a:solidFill>
                <a:effectLst/>
                <a:uLnTx/>
                <a:uFillTx/>
                <a:latin typeface="Calibri"/>
                <a:ea typeface="+mn-ea"/>
                <a:cs typeface="Calibri"/>
              </a:rPr>
              <a:t>2</a:t>
            </a:r>
            <a:endParaRPr kumimoji="0" sz="900" b="0" i="0" u="none" strike="noStrike" kern="0" cap="none" spc="0" normalizeH="0" baseline="0" noProof="0">
              <a:ln>
                <a:noFill/>
              </a:ln>
              <a:solidFill>
                <a:sysClr val="windowText" lastClr="000000"/>
              </a:solidFill>
              <a:effectLst/>
              <a:uLnTx/>
              <a:uFillTx/>
              <a:latin typeface="Calibri"/>
              <a:ea typeface="+mn-ea"/>
              <a:cs typeface="Calibri"/>
            </a:endParaRPr>
          </a:p>
          <a:p>
            <a:pPr marL="33655" marR="0" lvl="0" indent="0" algn="l" defTabSz="914400" rtl="0" eaLnBrk="1" fontAlgn="auto" latinLnBrk="0" hangingPunct="1">
              <a:lnSpc>
                <a:spcPct val="100000"/>
              </a:lnSpc>
              <a:spcBef>
                <a:spcPts val="355"/>
              </a:spcBef>
              <a:spcAft>
                <a:spcPts val="0"/>
              </a:spcAft>
              <a:buClrTx/>
              <a:buSzTx/>
              <a:buFontTx/>
              <a:buNone/>
              <a:tabLst/>
              <a:defRPr/>
            </a:pPr>
            <a:r>
              <a:rPr kumimoji="0" sz="900" b="0" i="0" u="none" strike="noStrike" kern="0" cap="none" spc="-5" normalizeH="0" baseline="0" noProof="0" dirty="0">
                <a:ln>
                  <a:noFill/>
                </a:ln>
                <a:solidFill>
                  <a:sysClr val="windowText" lastClr="000000"/>
                </a:solidFill>
                <a:effectLst/>
                <a:uLnTx/>
                <a:uFillTx/>
                <a:latin typeface="Calibri"/>
                <a:ea typeface="+mn-ea"/>
                <a:cs typeface="Calibri"/>
              </a:rPr>
              <a:t>1</a:t>
            </a:r>
            <a:endParaRPr kumimoji="0" sz="900" b="0" i="0" u="none" strike="noStrike" kern="0" cap="none" spc="0" normalizeH="0" baseline="0" noProof="0">
              <a:ln>
                <a:noFill/>
              </a:ln>
              <a:solidFill>
                <a:sysClr val="windowText" lastClr="000000"/>
              </a:solidFill>
              <a:effectLst/>
              <a:uLnTx/>
              <a:uFillTx/>
              <a:latin typeface="Calibri"/>
              <a:ea typeface="+mn-ea"/>
              <a:cs typeface="Calibri"/>
            </a:endParaRPr>
          </a:p>
          <a:p>
            <a:pPr marL="33655" marR="0" lvl="0" indent="0" algn="l" defTabSz="914400" rtl="0" eaLnBrk="1" fontAlgn="auto" latinLnBrk="0" hangingPunct="1">
              <a:lnSpc>
                <a:spcPct val="100000"/>
              </a:lnSpc>
              <a:spcBef>
                <a:spcPts val="360"/>
              </a:spcBef>
              <a:spcAft>
                <a:spcPts val="0"/>
              </a:spcAft>
              <a:buClrTx/>
              <a:buSzTx/>
              <a:buFontTx/>
              <a:buNone/>
              <a:tabLst/>
              <a:defRPr/>
            </a:pPr>
            <a:r>
              <a:rPr kumimoji="0" sz="900" b="0" i="0" u="none" strike="noStrike" kern="0" cap="none" spc="-5" normalizeH="0" baseline="0" noProof="0" dirty="0">
                <a:ln>
                  <a:noFill/>
                </a:ln>
                <a:solidFill>
                  <a:sysClr val="windowText" lastClr="000000"/>
                </a:solidFill>
                <a:effectLst/>
                <a:uLnTx/>
                <a:uFillTx/>
                <a:latin typeface="Calibri"/>
                <a:ea typeface="+mn-ea"/>
                <a:cs typeface="Calibri"/>
              </a:rPr>
              <a:t>0</a:t>
            </a:r>
            <a:endParaRPr kumimoji="0" sz="900" b="0" i="0" u="none" strike="noStrike" kern="0" cap="none" spc="0" normalizeH="0" baseline="0" noProof="0">
              <a:ln>
                <a:noFill/>
              </a:ln>
              <a:solidFill>
                <a:sysClr val="windowText" lastClr="000000"/>
              </a:solidFill>
              <a:effectLst/>
              <a:uLnTx/>
              <a:uFillTx/>
              <a:latin typeface="Calibri"/>
              <a:ea typeface="+mn-ea"/>
              <a:cs typeface="Calibri"/>
            </a:endParaRPr>
          </a:p>
          <a:p>
            <a:pPr marL="0" marR="0" lvl="0" indent="0" algn="l" defTabSz="914400" rtl="0" eaLnBrk="1" fontAlgn="auto" latinLnBrk="0" hangingPunct="1">
              <a:lnSpc>
                <a:spcPct val="100000"/>
              </a:lnSpc>
              <a:spcBef>
                <a:spcPts val="360"/>
              </a:spcBef>
              <a:spcAft>
                <a:spcPts val="0"/>
              </a:spcAft>
              <a:buClrTx/>
              <a:buSzTx/>
              <a:buFontTx/>
              <a:buNone/>
              <a:tabLst/>
              <a:defRPr/>
            </a:pPr>
            <a:r>
              <a:rPr kumimoji="0" sz="900" b="0" i="0" u="none" strike="noStrike" kern="0" cap="none" spc="-25" normalizeH="0" baseline="0" noProof="0" dirty="0">
                <a:ln>
                  <a:noFill/>
                </a:ln>
                <a:solidFill>
                  <a:sysClr val="windowText" lastClr="000000"/>
                </a:solidFill>
                <a:effectLst/>
                <a:uLnTx/>
                <a:uFillTx/>
                <a:latin typeface="Calibri"/>
                <a:ea typeface="+mn-ea"/>
                <a:cs typeface="Calibri"/>
              </a:rPr>
              <a:t>-</a:t>
            </a:r>
            <a:r>
              <a:rPr kumimoji="0" sz="900" b="0" i="0" u="none" strike="noStrike" kern="0" cap="none" spc="-50" normalizeH="0" baseline="0" noProof="0" dirty="0">
                <a:ln>
                  <a:noFill/>
                </a:ln>
                <a:solidFill>
                  <a:sysClr val="windowText" lastClr="000000"/>
                </a:solidFill>
                <a:effectLst/>
                <a:uLnTx/>
                <a:uFillTx/>
                <a:latin typeface="Calibri"/>
                <a:ea typeface="+mn-ea"/>
                <a:cs typeface="Calibri"/>
              </a:rPr>
              <a:t>1</a:t>
            </a:r>
            <a:endParaRPr kumimoji="0" sz="900" b="0" i="0" u="none" strike="noStrike" kern="0" cap="none" spc="0" normalizeH="0" baseline="0" noProof="0">
              <a:ln>
                <a:noFill/>
              </a:ln>
              <a:solidFill>
                <a:sysClr val="windowText" lastClr="000000"/>
              </a:solidFill>
              <a:effectLst/>
              <a:uLnTx/>
              <a:uFillTx/>
              <a:latin typeface="Calibri"/>
              <a:ea typeface="+mn-ea"/>
              <a:cs typeface="Calibri"/>
            </a:endParaRPr>
          </a:p>
          <a:p>
            <a:pPr marL="0" marR="0" lvl="0" indent="0" algn="l" defTabSz="914400" rtl="0" eaLnBrk="1" fontAlgn="auto" latinLnBrk="0" hangingPunct="1">
              <a:lnSpc>
                <a:spcPct val="100000"/>
              </a:lnSpc>
              <a:spcBef>
                <a:spcPts val="360"/>
              </a:spcBef>
              <a:spcAft>
                <a:spcPts val="0"/>
              </a:spcAft>
              <a:buClrTx/>
              <a:buSzTx/>
              <a:buFontTx/>
              <a:buNone/>
              <a:tabLst/>
              <a:defRPr/>
            </a:pPr>
            <a:r>
              <a:rPr kumimoji="0" sz="900" b="0" i="0" u="none" strike="noStrike" kern="0" cap="none" spc="-25" normalizeH="0" baseline="0" noProof="0" dirty="0">
                <a:ln>
                  <a:noFill/>
                </a:ln>
                <a:solidFill>
                  <a:sysClr val="windowText" lastClr="000000"/>
                </a:solidFill>
                <a:effectLst/>
                <a:uLnTx/>
                <a:uFillTx/>
                <a:latin typeface="Calibri"/>
                <a:ea typeface="+mn-ea"/>
                <a:cs typeface="Calibri"/>
              </a:rPr>
              <a:t>-</a:t>
            </a:r>
            <a:r>
              <a:rPr kumimoji="0" sz="900" b="0" i="0" u="none" strike="noStrike" kern="0" cap="none" spc="-50" normalizeH="0" baseline="0" noProof="0" dirty="0">
                <a:ln>
                  <a:noFill/>
                </a:ln>
                <a:solidFill>
                  <a:sysClr val="windowText" lastClr="000000"/>
                </a:solidFill>
                <a:effectLst/>
                <a:uLnTx/>
                <a:uFillTx/>
                <a:latin typeface="Calibri"/>
                <a:ea typeface="+mn-ea"/>
                <a:cs typeface="Calibri"/>
              </a:rPr>
              <a:t>2</a:t>
            </a:r>
            <a:endParaRPr kumimoji="0" sz="900"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51" name="object 51"/>
          <p:cNvSpPr txBox="1"/>
          <p:nvPr/>
        </p:nvSpPr>
        <p:spPr>
          <a:xfrm>
            <a:off x="6749481" y="5875113"/>
            <a:ext cx="92075" cy="845185"/>
          </a:xfrm>
          <a:prstGeom prst="rect">
            <a:avLst/>
          </a:prstGeom>
        </p:spPr>
        <p:txBody>
          <a:bodyPr vert="horz" wrap="square" lIns="0" tIns="0" rIns="0" bIns="0" rtlCol="0">
            <a:spAutoFit/>
          </a:bodyPr>
          <a:lstStyle/>
          <a:p>
            <a:pPr marL="33655" marR="0" lvl="0" indent="0" algn="l" defTabSz="914400" rtl="0" eaLnBrk="1" fontAlgn="auto" latinLnBrk="0" hangingPunct="1">
              <a:lnSpc>
                <a:spcPts val="855"/>
              </a:lnSpc>
              <a:spcBef>
                <a:spcPts val="0"/>
              </a:spcBef>
              <a:spcAft>
                <a:spcPts val="0"/>
              </a:spcAft>
              <a:buClrTx/>
              <a:buSzTx/>
              <a:buFontTx/>
              <a:buNone/>
              <a:tabLst/>
              <a:defRPr/>
            </a:pPr>
            <a:r>
              <a:rPr kumimoji="0" sz="900" b="0" i="0" u="none" strike="noStrike" kern="0" cap="none" spc="-5" normalizeH="0" baseline="0" noProof="0" dirty="0">
                <a:ln>
                  <a:noFill/>
                </a:ln>
                <a:solidFill>
                  <a:sysClr val="windowText" lastClr="000000"/>
                </a:solidFill>
                <a:effectLst/>
                <a:uLnTx/>
                <a:uFillTx/>
                <a:latin typeface="Calibri"/>
                <a:ea typeface="+mn-ea"/>
                <a:cs typeface="Calibri"/>
              </a:rPr>
              <a:t>2</a:t>
            </a:r>
            <a:endParaRPr kumimoji="0" sz="900" b="0" i="0" u="none" strike="noStrike" kern="0" cap="none" spc="0" normalizeH="0" baseline="0" noProof="0">
              <a:ln>
                <a:noFill/>
              </a:ln>
              <a:solidFill>
                <a:sysClr val="windowText" lastClr="000000"/>
              </a:solidFill>
              <a:effectLst/>
              <a:uLnTx/>
              <a:uFillTx/>
              <a:latin typeface="Calibri"/>
              <a:ea typeface="+mn-ea"/>
              <a:cs typeface="Calibri"/>
            </a:endParaRPr>
          </a:p>
          <a:p>
            <a:pPr marL="33655" marR="0" lvl="0" indent="0" algn="l" defTabSz="914400" rtl="0" eaLnBrk="1" fontAlgn="auto" latinLnBrk="0" hangingPunct="1">
              <a:lnSpc>
                <a:spcPct val="100000"/>
              </a:lnSpc>
              <a:spcBef>
                <a:spcPts val="355"/>
              </a:spcBef>
              <a:spcAft>
                <a:spcPts val="0"/>
              </a:spcAft>
              <a:buClrTx/>
              <a:buSzTx/>
              <a:buFontTx/>
              <a:buNone/>
              <a:tabLst/>
              <a:defRPr/>
            </a:pPr>
            <a:r>
              <a:rPr kumimoji="0" sz="900" b="0" i="0" u="none" strike="noStrike" kern="0" cap="none" spc="-5" normalizeH="0" baseline="0" noProof="0" dirty="0">
                <a:ln>
                  <a:noFill/>
                </a:ln>
                <a:solidFill>
                  <a:sysClr val="windowText" lastClr="000000"/>
                </a:solidFill>
                <a:effectLst/>
                <a:uLnTx/>
                <a:uFillTx/>
                <a:latin typeface="Calibri"/>
                <a:ea typeface="+mn-ea"/>
                <a:cs typeface="Calibri"/>
              </a:rPr>
              <a:t>1</a:t>
            </a:r>
            <a:endParaRPr kumimoji="0" sz="900" b="0" i="0" u="none" strike="noStrike" kern="0" cap="none" spc="0" normalizeH="0" baseline="0" noProof="0">
              <a:ln>
                <a:noFill/>
              </a:ln>
              <a:solidFill>
                <a:sysClr val="windowText" lastClr="000000"/>
              </a:solidFill>
              <a:effectLst/>
              <a:uLnTx/>
              <a:uFillTx/>
              <a:latin typeface="Calibri"/>
              <a:ea typeface="+mn-ea"/>
              <a:cs typeface="Calibri"/>
            </a:endParaRPr>
          </a:p>
          <a:p>
            <a:pPr marL="33655" marR="0" lvl="0" indent="0" algn="l" defTabSz="914400" rtl="0" eaLnBrk="1" fontAlgn="auto" latinLnBrk="0" hangingPunct="1">
              <a:lnSpc>
                <a:spcPct val="100000"/>
              </a:lnSpc>
              <a:spcBef>
                <a:spcPts val="360"/>
              </a:spcBef>
              <a:spcAft>
                <a:spcPts val="0"/>
              </a:spcAft>
              <a:buClrTx/>
              <a:buSzTx/>
              <a:buFontTx/>
              <a:buNone/>
              <a:tabLst/>
              <a:defRPr/>
            </a:pPr>
            <a:r>
              <a:rPr kumimoji="0" sz="900" b="0" i="0" u="none" strike="noStrike" kern="0" cap="none" spc="-5" normalizeH="0" baseline="0" noProof="0" dirty="0">
                <a:ln>
                  <a:noFill/>
                </a:ln>
                <a:solidFill>
                  <a:sysClr val="windowText" lastClr="000000"/>
                </a:solidFill>
                <a:effectLst/>
                <a:uLnTx/>
                <a:uFillTx/>
                <a:latin typeface="Calibri"/>
                <a:ea typeface="+mn-ea"/>
                <a:cs typeface="Calibri"/>
              </a:rPr>
              <a:t>0</a:t>
            </a:r>
            <a:endParaRPr kumimoji="0" sz="900" b="0" i="0" u="none" strike="noStrike" kern="0" cap="none" spc="0" normalizeH="0" baseline="0" noProof="0">
              <a:ln>
                <a:noFill/>
              </a:ln>
              <a:solidFill>
                <a:sysClr val="windowText" lastClr="000000"/>
              </a:solidFill>
              <a:effectLst/>
              <a:uLnTx/>
              <a:uFillTx/>
              <a:latin typeface="Calibri"/>
              <a:ea typeface="+mn-ea"/>
              <a:cs typeface="Calibri"/>
            </a:endParaRPr>
          </a:p>
          <a:p>
            <a:pPr marL="0" marR="0" lvl="0" indent="0" algn="l" defTabSz="914400" rtl="0" eaLnBrk="1" fontAlgn="auto" latinLnBrk="0" hangingPunct="1">
              <a:lnSpc>
                <a:spcPct val="100000"/>
              </a:lnSpc>
              <a:spcBef>
                <a:spcPts val="360"/>
              </a:spcBef>
              <a:spcAft>
                <a:spcPts val="0"/>
              </a:spcAft>
              <a:buClrTx/>
              <a:buSzTx/>
              <a:buFontTx/>
              <a:buNone/>
              <a:tabLst/>
              <a:defRPr/>
            </a:pPr>
            <a:r>
              <a:rPr kumimoji="0" sz="900" b="0" i="0" u="none" strike="noStrike" kern="0" cap="none" spc="-25" normalizeH="0" baseline="0" noProof="0" dirty="0">
                <a:ln>
                  <a:noFill/>
                </a:ln>
                <a:solidFill>
                  <a:sysClr val="windowText" lastClr="000000"/>
                </a:solidFill>
                <a:effectLst/>
                <a:uLnTx/>
                <a:uFillTx/>
                <a:latin typeface="Calibri"/>
                <a:ea typeface="+mn-ea"/>
                <a:cs typeface="Calibri"/>
              </a:rPr>
              <a:t>-</a:t>
            </a:r>
            <a:r>
              <a:rPr kumimoji="0" sz="900" b="0" i="0" u="none" strike="noStrike" kern="0" cap="none" spc="-50" normalizeH="0" baseline="0" noProof="0" dirty="0">
                <a:ln>
                  <a:noFill/>
                </a:ln>
                <a:solidFill>
                  <a:sysClr val="windowText" lastClr="000000"/>
                </a:solidFill>
                <a:effectLst/>
                <a:uLnTx/>
                <a:uFillTx/>
                <a:latin typeface="Calibri"/>
                <a:ea typeface="+mn-ea"/>
                <a:cs typeface="Calibri"/>
              </a:rPr>
              <a:t>1</a:t>
            </a:r>
            <a:endParaRPr kumimoji="0" sz="900" b="0" i="0" u="none" strike="noStrike" kern="0" cap="none" spc="0" normalizeH="0" baseline="0" noProof="0">
              <a:ln>
                <a:noFill/>
              </a:ln>
              <a:solidFill>
                <a:sysClr val="windowText" lastClr="000000"/>
              </a:solidFill>
              <a:effectLst/>
              <a:uLnTx/>
              <a:uFillTx/>
              <a:latin typeface="Calibri"/>
              <a:ea typeface="+mn-ea"/>
              <a:cs typeface="Calibri"/>
            </a:endParaRPr>
          </a:p>
          <a:p>
            <a:pPr marL="0" marR="0" lvl="0" indent="0" algn="l" defTabSz="914400" rtl="0" eaLnBrk="1" fontAlgn="auto" latinLnBrk="0" hangingPunct="1">
              <a:lnSpc>
                <a:spcPct val="100000"/>
              </a:lnSpc>
              <a:spcBef>
                <a:spcPts val="360"/>
              </a:spcBef>
              <a:spcAft>
                <a:spcPts val="0"/>
              </a:spcAft>
              <a:buClrTx/>
              <a:buSzTx/>
              <a:buFontTx/>
              <a:buNone/>
              <a:tabLst/>
              <a:defRPr/>
            </a:pPr>
            <a:r>
              <a:rPr kumimoji="0" sz="900" b="0" i="0" u="none" strike="noStrike" kern="0" cap="none" spc="-25" normalizeH="0" baseline="0" noProof="0" dirty="0">
                <a:ln>
                  <a:noFill/>
                </a:ln>
                <a:solidFill>
                  <a:sysClr val="windowText" lastClr="000000"/>
                </a:solidFill>
                <a:effectLst/>
                <a:uLnTx/>
                <a:uFillTx/>
                <a:latin typeface="Calibri"/>
                <a:ea typeface="+mn-ea"/>
                <a:cs typeface="Calibri"/>
              </a:rPr>
              <a:t>-</a:t>
            </a:r>
            <a:r>
              <a:rPr kumimoji="0" sz="900" b="0" i="0" u="none" strike="noStrike" kern="0" cap="none" spc="-50" normalizeH="0" baseline="0" noProof="0" dirty="0">
                <a:ln>
                  <a:noFill/>
                </a:ln>
                <a:solidFill>
                  <a:sysClr val="windowText" lastClr="000000"/>
                </a:solidFill>
                <a:effectLst/>
                <a:uLnTx/>
                <a:uFillTx/>
                <a:latin typeface="Calibri"/>
                <a:ea typeface="+mn-ea"/>
                <a:cs typeface="Calibri"/>
              </a:rPr>
              <a:t>2</a:t>
            </a:r>
            <a:endParaRPr kumimoji="0" sz="900"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52" name="object 52"/>
          <p:cNvSpPr txBox="1"/>
          <p:nvPr/>
        </p:nvSpPr>
        <p:spPr>
          <a:xfrm>
            <a:off x="9264728" y="5875113"/>
            <a:ext cx="92075" cy="845185"/>
          </a:xfrm>
          <a:prstGeom prst="rect">
            <a:avLst/>
          </a:prstGeom>
        </p:spPr>
        <p:txBody>
          <a:bodyPr vert="horz" wrap="square" lIns="0" tIns="0" rIns="0" bIns="0" rtlCol="0">
            <a:spAutoFit/>
          </a:bodyPr>
          <a:lstStyle/>
          <a:p>
            <a:pPr marL="33655" marR="0" lvl="0" indent="0" algn="l" defTabSz="914400" rtl="0" eaLnBrk="1" fontAlgn="auto" latinLnBrk="0" hangingPunct="1">
              <a:lnSpc>
                <a:spcPts val="855"/>
              </a:lnSpc>
              <a:spcBef>
                <a:spcPts val="0"/>
              </a:spcBef>
              <a:spcAft>
                <a:spcPts val="0"/>
              </a:spcAft>
              <a:buClrTx/>
              <a:buSzTx/>
              <a:buFontTx/>
              <a:buNone/>
              <a:tabLst/>
              <a:defRPr/>
            </a:pPr>
            <a:r>
              <a:rPr kumimoji="0" sz="900" b="0" i="0" u="none" strike="noStrike" kern="0" cap="none" spc="-5" normalizeH="0" baseline="0" noProof="0" dirty="0">
                <a:ln>
                  <a:noFill/>
                </a:ln>
                <a:solidFill>
                  <a:sysClr val="windowText" lastClr="000000"/>
                </a:solidFill>
                <a:effectLst/>
                <a:uLnTx/>
                <a:uFillTx/>
                <a:latin typeface="Calibri"/>
                <a:ea typeface="+mn-ea"/>
                <a:cs typeface="Calibri"/>
              </a:rPr>
              <a:t>2</a:t>
            </a:r>
            <a:endParaRPr kumimoji="0" sz="900" b="0" i="0" u="none" strike="noStrike" kern="0" cap="none" spc="0" normalizeH="0" baseline="0" noProof="0">
              <a:ln>
                <a:noFill/>
              </a:ln>
              <a:solidFill>
                <a:sysClr val="windowText" lastClr="000000"/>
              </a:solidFill>
              <a:effectLst/>
              <a:uLnTx/>
              <a:uFillTx/>
              <a:latin typeface="Calibri"/>
              <a:ea typeface="+mn-ea"/>
              <a:cs typeface="Calibri"/>
            </a:endParaRPr>
          </a:p>
          <a:p>
            <a:pPr marL="33655" marR="0" lvl="0" indent="0" algn="l" defTabSz="914400" rtl="0" eaLnBrk="1" fontAlgn="auto" latinLnBrk="0" hangingPunct="1">
              <a:lnSpc>
                <a:spcPct val="100000"/>
              </a:lnSpc>
              <a:spcBef>
                <a:spcPts val="355"/>
              </a:spcBef>
              <a:spcAft>
                <a:spcPts val="0"/>
              </a:spcAft>
              <a:buClrTx/>
              <a:buSzTx/>
              <a:buFontTx/>
              <a:buNone/>
              <a:tabLst/>
              <a:defRPr/>
            </a:pPr>
            <a:r>
              <a:rPr kumimoji="0" sz="900" b="0" i="0" u="none" strike="noStrike" kern="0" cap="none" spc="-5" normalizeH="0" baseline="0" noProof="0" dirty="0">
                <a:ln>
                  <a:noFill/>
                </a:ln>
                <a:solidFill>
                  <a:sysClr val="windowText" lastClr="000000"/>
                </a:solidFill>
                <a:effectLst/>
                <a:uLnTx/>
                <a:uFillTx/>
                <a:latin typeface="Calibri"/>
                <a:ea typeface="+mn-ea"/>
                <a:cs typeface="Calibri"/>
              </a:rPr>
              <a:t>1</a:t>
            </a:r>
            <a:endParaRPr kumimoji="0" sz="900" b="0" i="0" u="none" strike="noStrike" kern="0" cap="none" spc="0" normalizeH="0" baseline="0" noProof="0">
              <a:ln>
                <a:noFill/>
              </a:ln>
              <a:solidFill>
                <a:sysClr val="windowText" lastClr="000000"/>
              </a:solidFill>
              <a:effectLst/>
              <a:uLnTx/>
              <a:uFillTx/>
              <a:latin typeface="Calibri"/>
              <a:ea typeface="+mn-ea"/>
              <a:cs typeface="Calibri"/>
            </a:endParaRPr>
          </a:p>
          <a:p>
            <a:pPr marL="33655" marR="0" lvl="0" indent="0" algn="l" defTabSz="914400" rtl="0" eaLnBrk="1" fontAlgn="auto" latinLnBrk="0" hangingPunct="1">
              <a:lnSpc>
                <a:spcPct val="100000"/>
              </a:lnSpc>
              <a:spcBef>
                <a:spcPts val="360"/>
              </a:spcBef>
              <a:spcAft>
                <a:spcPts val="0"/>
              </a:spcAft>
              <a:buClrTx/>
              <a:buSzTx/>
              <a:buFontTx/>
              <a:buNone/>
              <a:tabLst/>
              <a:defRPr/>
            </a:pPr>
            <a:r>
              <a:rPr kumimoji="0" sz="900" b="0" i="0" u="none" strike="noStrike" kern="0" cap="none" spc="-5" normalizeH="0" baseline="0" noProof="0" dirty="0">
                <a:ln>
                  <a:noFill/>
                </a:ln>
                <a:solidFill>
                  <a:sysClr val="windowText" lastClr="000000"/>
                </a:solidFill>
                <a:effectLst/>
                <a:uLnTx/>
                <a:uFillTx/>
                <a:latin typeface="Calibri"/>
                <a:ea typeface="+mn-ea"/>
                <a:cs typeface="Calibri"/>
              </a:rPr>
              <a:t>0</a:t>
            </a:r>
            <a:endParaRPr kumimoji="0" sz="900" b="0" i="0" u="none" strike="noStrike" kern="0" cap="none" spc="0" normalizeH="0" baseline="0" noProof="0">
              <a:ln>
                <a:noFill/>
              </a:ln>
              <a:solidFill>
                <a:sysClr val="windowText" lastClr="000000"/>
              </a:solidFill>
              <a:effectLst/>
              <a:uLnTx/>
              <a:uFillTx/>
              <a:latin typeface="Calibri"/>
              <a:ea typeface="+mn-ea"/>
              <a:cs typeface="Calibri"/>
            </a:endParaRPr>
          </a:p>
          <a:p>
            <a:pPr marL="0" marR="0" lvl="0" indent="0" algn="l" defTabSz="914400" rtl="0" eaLnBrk="1" fontAlgn="auto" latinLnBrk="0" hangingPunct="1">
              <a:lnSpc>
                <a:spcPct val="100000"/>
              </a:lnSpc>
              <a:spcBef>
                <a:spcPts val="360"/>
              </a:spcBef>
              <a:spcAft>
                <a:spcPts val="0"/>
              </a:spcAft>
              <a:buClrTx/>
              <a:buSzTx/>
              <a:buFontTx/>
              <a:buNone/>
              <a:tabLst/>
              <a:defRPr/>
            </a:pPr>
            <a:r>
              <a:rPr kumimoji="0" sz="900" b="0" i="0" u="none" strike="noStrike" kern="0" cap="none" spc="-25" normalizeH="0" baseline="0" noProof="0" dirty="0">
                <a:ln>
                  <a:noFill/>
                </a:ln>
                <a:solidFill>
                  <a:sysClr val="windowText" lastClr="000000"/>
                </a:solidFill>
                <a:effectLst/>
                <a:uLnTx/>
                <a:uFillTx/>
                <a:latin typeface="Calibri"/>
                <a:ea typeface="+mn-ea"/>
                <a:cs typeface="Calibri"/>
              </a:rPr>
              <a:t>-</a:t>
            </a:r>
            <a:r>
              <a:rPr kumimoji="0" sz="900" b="0" i="0" u="none" strike="noStrike" kern="0" cap="none" spc="-50" normalizeH="0" baseline="0" noProof="0" dirty="0">
                <a:ln>
                  <a:noFill/>
                </a:ln>
                <a:solidFill>
                  <a:sysClr val="windowText" lastClr="000000"/>
                </a:solidFill>
                <a:effectLst/>
                <a:uLnTx/>
                <a:uFillTx/>
                <a:latin typeface="Calibri"/>
                <a:ea typeface="+mn-ea"/>
                <a:cs typeface="Calibri"/>
              </a:rPr>
              <a:t>1</a:t>
            </a:r>
            <a:endParaRPr kumimoji="0" sz="900" b="0" i="0" u="none" strike="noStrike" kern="0" cap="none" spc="0" normalizeH="0" baseline="0" noProof="0">
              <a:ln>
                <a:noFill/>
              </a:ln>
              <a:solidFill>
                <a:sysClr val="windowText" lastClr="000000"/>
              </a:solidFill>
              <a:effectLst/>
              <a:uLnTx/>
              <a:uFillTx/>
              <a:latin typeface="Calibri"/>
              <a:ea typeface="+mn-ea"/>
              <a:cs typeface="Calibri"/>
            </a:endParaRPr>
          </a:p>
          <a:p>
            <a:pPr marL="0" marR="0" lvl="0" indent="0" algn="l" defTabSz="914400" rtl="0" eaLnBrk="1" fontAlgn="auto" latinLnBrk="0" hangingPunct="1">
              <a:lnSpc>
                <a:spcPct val="100000"/>
              </a:lnSpc>
              <a:spcBef>
                <a:spcPts val="360"/>
              </a:spcBef>
              <a:spcAft>
                <a:spcPts val="0"/>
              </a:spcAft>
              <a:buClrTx/>
              <a:buSzTx/>
              <a:buFontTx/>
              <a:buNone/>
              <a:tabLst/>
              <a:defRPr/>
            </a:pPr>
            <a:r>
              <a:rPr kumimoji="0" sz="900" b="0" i="0" u="none" strike="noStrike" kern="0" cap="none" spc="-25" normalizeH="0" baseline="0" noProof="0" dirty="0">
                <a:ln>
                  <a:noFill/>
                </a:ln>
                <a:solidFill>
                  <a:sysClr val="windowText" lastClr="000000"/>
                </a:solidFill>
                <a:effectLst/>
                <a:uLnTx/>
                <a:uFillTx/>
                <a:latin typeface="Calibri"/>
                <a:ea typeface="+mn-ea"/>
                <a:cs typeface="Calibri"/>
              </a:rPr>
              <a:t>-</a:t>
            </a:r>
            <a:r>
              <a:rPr kumimoji="0" sz="900" b="0" i="0" u="none" strike="noStrike" kern="0" cap="none" spc="-50" normalizeH="0" baseline="0" noProof="0" dirty="0">
                <a:ln>
                  <a:noFill/>
                </a:ln>
                <a:solidFill>
                  <a:sysClr val="windowText" lastClr="000000"/>
                </a:solidFill>
                <a:effectLst/>
                <a:uLnTx/>
                <a:uFillTx/>
                <a:latin typeface="Calibri"/>
                <a:ea typeface="+mn-ea"/>
                <a:cs typeface="Calibri"/>
              </a:rPr>
              <a:t>2</a:t>
            </a:r>
            <a:endParaRPr kumimoji="0" sz="900" b="0" i="0" u="none" strike="noStrike" kern="0" cap="none" spc="0" normalizeH="0" baseline="0" noProof="0">
              <a:ln>
                <a:noFill/>
              </a:ln>
              <a:solidFill>
                <a:sysClr val="windowText" lastClr="000000"/>
              </a:solidFill>
              <a:effectLst/>
              <a:uLnTx/>
              <a:uFillTx/>
              <a:latin typeface="Calibri"/>
              <a:ea typeface="+mn-ea"/>
              <a:cs typeface="Calibri"/>
            </a:endParaRPr>
          </a:p>
        </p:txBody>
      </p:sp>
      <p:grpSp>
        <p:nvGrpSpPr>
          <p:cNvPr id="53" name="object 53"/>
          <p:cNvGrpSpPr/>
          <p:nvPr/>
        </p:nvGrpSpPr>
        <p:grpSpPr>
          <a:xfrm>
            <a:off x="1438994" y="5797755"/>
            <a:ext cx="7266940" cy="979169"/>
            <a:chOff x="1438994" y="5797755"/>
            <a:chExt cx="7266940" cy="979169"/>
          </a:xfrm>
        </p:grpSpPr>
        <p:sp>
          <p:nvSpPr>
            <p:cNvPr id="54" name="object 54"/>
            <p:cNvSpPr/>
            <p:nvPr/>
          </p:nvSpPr>
          <p:spPr>
            <a:xfrm>
              <a:off x="1438994" y="5797755"/>
              <a:ext cx="2032635" cy="979169"/>
            </a:xfrm>
            <a:custGeom>
              <a:avLst/>
              <a:gdLst/>
              <a:ahLst/>
              <a:cxnLst/>
              <a:rect l="l" t="t" r="r" b="b"/>
              <a:pathLst>
                <a:path w="2032635" h="979170">
                  <a:moveTo>
                    <a:pt x="2032253" y="0"/>
                  </a:moveTo>
                  <a:lnTo>
                    <a:pt x="0" y="0"/>
                  </a:lnTo>
                  <a:lnTo>
                    <a:pt x="0" y="978569"/>
                  </a:lnTo>
                  <a:lnTo>
                    <a:pt x="2032253" y="978569"/>
                  </a:lnTo>
                  <a:lnTo>
                    <a:pt x="2032253"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5" name="object 55"/>
            <p:cNvSpPr/>
            <p:nvPr/>
          </p:nvSpPr>
          <p:spPr>
            <a:xfrm>
              <a:off x="1636202" y="5921751"/>
              <a:ext cx="1711960" cy="730885"/>
            </a:xfrm>
            <a:custGeom>
              <a:avLst/>
              <a:gdLst/>
              <a:ahLst/>
              <a:cxnLst/>
              <a:rect l="l" t="t" r="r" b="b"/>
              <a:pathLst>
                <a:path w="1711960" h="730884">
                  <a:moveTo>
                    <a:pt x="33425" y="0"/>
                  </a:moveTo>
                  <a:lnTo>
                    <a:pt x="1711371" y="0"/>
                  </a:lnTo>
                </a:path>
                <a:path w="1711960" h="730884">
                  <a:moveTo>
                    <a:pt x="33425" y="730576"/>
                  </a:moveTo>
                  <a:lnTo>
                    <a:pt x="33425" y="0"/>
                  </a:lnTo>
                </a:path>
                <a:path w="1711960" h="730884">
                  <a:moveTo>
                    <a:pt x="0" y="730576"/>
                  </a:moveTo>
                  <a:lnTo>
                    <a:pt x="33425" y="730576"/>
                  </a:lnTo>
                </a:path>
                <a:path w="1711960" h="730884">
                  <a:moveTo>
                    <a:pt x="0" y="0"/>
                  </a:moveTo>
                  <a:lnTo>
                    <a:pt x="33425" y="0"/>
                  </a:lnTo>
                </a:path>
                <a:path w="1711960" h="730884">
                  <a:moveTo>
                    <a:pt x="33425" y="730576"/>
                  </a:moveTo>
                  <a:lnTo>
                    <a:pt x="1711371" y="730576"/>
                  </a:lnTo>
                </a:path>
              </a:pathLst>
            </a:custGeom>
            <a:ln w="6700">
              <a:solidFill>
                <a:srgbClr val="85858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6" name="object 56"/>
            <p:cNvSpPr/>
            <p:nvPr/>
          </p:nvSpPr>
          <p:spPr>
            <a:xfrm>
              <a:off x="1666278" y="5905004"/>
              <a:ext cx="1290320" cy="757555"/>
            </a:xfrm>
            <a:custGeom>
              <a:avLst/>
              <a:gdLst/>
              <a:ahLst/>
              <a:cxnLst/>
              <a:rect l="l" t="t" r="r" b="b"/>
              <a:pathLst>
                <a:path w="1290320" h="757554">
                  <a:moveTo>
                    <a:pt x="33426" y="7505"/>
                  </a:moveTo>
                  <a:lnTo>
                    <a:pt x="25933" y="0"/>
                  </a:lnTo>
                  <a:lnTo>
                    <a:pt x="7493" y="0"/>
                  </a:lnTo>
                  <a:lnTo>
                    <a:pt x="0" y="7505"/>
                  </a:lnTo>
                  <a:lnTo>
                    <a:pt x="0" y="26009"/>
                  </a:lnTo>
                  <a:lnTo>
                    <a:pt x="7493" y="33515"/>
                  </a:lnTo>
                  <a:lnTo>
                    <a:pt x="25933" y="33515"/>
                  </a:lnTo>
                  <a:lnTo>
                    <a:pt x="33426" y="26009"/>
                  </a:lnTo>
                  <a:lnTo>
                    <a:pt x="33426" y="16751"/>
                  </a:lnTo>
                  <a:lnTo>
                    <a:pt x="33426" y="7505"/>
                  </a:lnTo>
                  <a:close/>
                </a:path>
                <a:path w="1290320" h="757554">
                  <a:moveTo>
                    <a:pt x="53479" y="369443"/>
                  </a:moveTo>
                  <a:lnTo>
                    <a:pt x="45999" y="361937"/>
                  </a:lnTo>
                  <a:lnTo>
                    <a:pt x="27546" y="361937"/>
                  </a:lnTo>
                  <a:lnTo>
                    <a:pt x="20053" y="369443"/>
                  </a:lnTo>
                  <a:lnTo>
                    <a:pt x="20053" y="387946"/>
                  </a:lnTo>
                  <a:lnTo>
                    <a:pt x="27546" y="395452"/>
                  </a:lnTo>
                  <a:lnTo>
                    <a:pt x="45999" y="395452"/>
                  </a:lnTo>
                  <a:lnTo>
                    <a:pt x="53479" y="387946"/>
                  </a:lnTo>
                  <a:lnTo>
                    <a:pt x="53479" y="378688"/>
                  </a:lnTo>
                  <a:lnTo>
                    <a:pt x="53479" y="369443"/>
                  </a:lnTo>
                  <a:close/>
                </a:path>
                <a:path w="1290320" h="757554">
                  <a:moveTo>
                    <a:pt x="66852" y="731380"/>
                  </a:moveTo>
                  <a:lnTo>
                    <a:pt x="59359" y="723874"/>
                  </a:lnTo>
                  <a:lnTo>
                    <a:pt x="40919" y="723874"/>
                  </a:lnTo>
                  <a:lnTo>
                    <a:pt x="33426" y="731380"/>
                  </a:lnTo>
                  <a:lnTo>
                    <a:pt x="33426" y="749884"/>
                  </a:lnTo>
                  <a:lnTo>
                    <a:pt x="40919" y="757377"/>
                  </a:lnTo>
                  <a:lnTo>
                    <a:pt x="59359" y="757377"/>
                  </a:lnTo>
                  <a:lnTo>
                    <a:pt x="66852" y="749884"/>
                  </a:lnTo>
                  <a:lnTo>
                    <a:pt x="66852" y="740625"/>
                  </a:lnTo>
                  <a:lnTo>
                    <a:pt x="66852" y="731380"/>
                  </a:lnTo>
                  <a:close/>
                </a:path>
                <a:path w="1290320" h="757554">
                  <a:moveTo>
                    <a:pt x="86906" y="7505"/>
                  </a:moveTo>
                  <a:lnTo>
                    <a:pt x="79413" y="0"/>
                  </a:lnTo>
                  <a:lnTo>
                    <a:pt x="60972" y="0"/>
                  </a:lnTo>
                  <a:lnTo>
                    <a:pt x="53479" y="7505"/>
                  </a:lnTo>
                  <a:lnTo>
                    <a:pt x="53479" y="26009"/>
                  </a:lnTo>
                  <a:lnTo>
                    <a:pt x="60972" y="33515"/>
                  </a:lnTo>
                  <a:lnTo>
                    <a:pt x="79413" y="33515"/>
                  </a:lnTo>
                  <a:lnTo>
                    <a:pt x="86906" y="26009"/>
                  </a:lnTo>
                  <a:lnTo>
                    <a:pt x="86906" y="16751"/>
                  </a:lnTo>
                  <a:lnTo>
                    <a:pt x="86906" y="7505"/>
                  </a:lnTo>
                  <a:close/>
                </a:path>
                <a:path w="1290320" h="757554">
                  <a:moveTo>
                    <a:pt x="100279" y="369443"/>
                  </a:moveTo>
                  <a:lnTo>
                    <a:pt x="92786" y="361937"/>
                  </a:lnTo>
                  <a:lnTo>
                    <a:pt x="74333" y="361937"/>
                  </a:lnTo>
                  <a:lnTo>
                    <a:pt x="66852" y="369443"/>
                  </a:lnTo>
                  <a:lnTo>
                    <a:pt x="66852" y="387946"/>
                  </a:lnTo>
                  <a:lnTo>
                    <a:pt x="74333" y="395452"/>
                  </a:lnTo>
                  <a:lnTo>
                    <a:pt x="92786" y="395452"/>
                  </a:lnTo>
                  <a:lnTo>
                    <a:pt x="100279" y="387946"/>
                  </a:lnTo>
                  <a:lnTo>
                    <a:pt x="100279" y="378688"/>
                  </a:lnTo>
                  <a:lnTo>
                    <a:pt x="100279" y="369443"/>
                  </a:lnTo>
                  <a:close/>
                </a:path>
                <a:path w="1290320" h="757554">
                  <a:moveTo>
                    <a:pt x="120332" y="731380"/>
                  </a:moveTo>
                  <a:lnTo>
                    <a:pt x="112864" y="723874"/>
                  </a:lnTo>
                  <a:lnTo>
                    <a:pt x="94399" y="723874"/>
                  </a:lnTo>
                  <a:lnTo>
                    <a:pt x="86906" y="731380"/>
                  </a:lnTo>
                  <a:lnTo>
                    <a:pt x="86906" y="749884"/>
                  </a:lnTo>
                  <a:lnTo>
                    <a:pt x="94399" y="757377"/>
                  </a:lnTo>
                  <a:lnTo>
                    <a:pt x="112864" y="757377"/>
                  </a:lnTo>
                  <a:lnTo>
                    <a:pt x="120332" y="749884"/>
                  </a:lnTo>
                  <a:lnTo>
                    <a:pt x="120332" y="740625"/>
                  </a:lnTo>
                  <a:lnTo>
                    <a:pt x="120332" y="731380"/>
                  </a:lnTo>
                  <a:close/>
                </a:path>
                <a:path w="1290320" h="757554">
                  <a:moveTo>
                    <a:pt x="133705" y="7505"/>
                  </a:moveTo>
                  <a:lnTo>
                    <a:pt x="126238" y="0"/>
                  </a:lnTo>
                  <a:lnTo>
                    <a:pt x="107746" y="0"/>
                  </a:lnTo>
                  <a:lnTo>
                    <a:pt x="100279" y="7505"/>
                  </a:lnTo>
                  <a:lnTo>
                    <a:pt x="100279" y="26009"/>
                  </a:lnTo>
                  <a:lnTo>
                    <a:pt x="107746" y="33515"/>
                  </a:lnTo>
                  <a:lnTo>
                    <a:pt x="126238" y="33515"/>
                  </a:lnTo>
                  <a:lnTo>
                    <a:pt x="133705" y="26009"/>
                  </a:lnTo>
                  <a:lnTo>
                    <a:pt x="133705" y="16751"/>
                  </a:lnTo>
                  <a:lnTo>
                    <a:pt x="133705" y="7505"/>
                  </a:lnTo>
                  <a:close/>
                </a:path>
                <a:path w="1290320" h="757554">
                  <a:moveTo>
                    <a:pt x="153758" y="369443"/>
                  </a:moveTo>
                  <a:lnTo>
                    <a:pt x="146291" y="361937"/>
                  </a:lnTo>
                  <a:lnTo>
                    <a:pt x="127800" y="361937"/>
                  </a:lnTo>
                  <a:lnTo>
                    <a:pt x="120332" y="369443"/>
                  </a:lnTo>
                  <a:lnTo>
                    <a:pt x="120332" y="387946"/>
                  </a:lnTo>
                  <a:lnTo>
                    <a:pt x="127800" y="395452"/>
                  </a:lnTo>
                  <a:lnTo>
                    <a:pt x="146291" y="395452"/>
                  </a:lnTo>
                  <a:lnTo>
                    <a:pt x="153758" y="387946"/>
                  </a:lnTo>
                  <a:lnTo>
                    <a:pt x="153758" y="378688"/>
                  </a:lnTo>
                  <a:lnTo>
                    <a:pt x="153758" y="369443"/>
                  </a:lnTo>
                  <a:close/>
                </a:path>
                <a:path w="1290320" h="757554">
                  <a:moveTo>
                    <a:pt x="167132" y="731380"/>
                  </a:moveTo>
                  <a:lnTo>
                    <a:pt x="159664" y="723874"/>
                  </a:lnTo>
                  <a:lnTo>
                    <a:pt x="141173" y="723874"/>
                  </a:lnTo>
                  <a:lnTo>
                    <a:pt x="133705" y="731380"/>
                  </a:lnTo>
                  <a:lnTo>
                    <a:pt x="133705" y="749884"/>
                  </a:lnTo>
                  <a:lnTo>
                    <a:pt x="141173" y="757377"/>
                  </a:lnTo>
                  <a:lnTo>
                    <a:pt x="159664" y="757377"/>
                  </a:lnTo>
                  <a:lnTo>
                    <a:pt x="167132" y="749884"/>
                  </a:lnTo>
                  <a:lnTo>
                    <a:pt x="167132" y="740625"/>
                  </a:lnTo>
                  <a:lnTo>
                    <a:pt x="167132" y="731380"/>
                  </a:lnTo>
                  <a:close/>
                </a:path>
                <a:path w="1290320" h="757554">
                  <a:moveTo>
                    <a:pt x="187185" y="7505"/>
                  </a:moveTo>
                  <a:lnTo>
                    <a:pt x="179717" y="0"/>
                  </a:lnTo>
                  <a:lnTo>
                    <a:pt x="161226" y="0"/>
                  </a:lnTo>
                  <a:lnTo>
                    <a:pt x="153758" y="7505"/>
                  </a:lnTo>
                  <a:lnTo>
                    <a:pt x="153758" y="26009"/>
                  </a:lnTo>
                  <a:lnTo>
                    <a:pt x="161226" y="33515"/>
                  </a:lnTo>
                  <a:lnTo>
                    <a:pt x="179717" y="33515"/>
                  </a:lnTo>
                  <a:lnTo>
                    <a:pt x="187185" y="26009"/>
                  </a:lnTo>
                  <a:lnTo>
                    <a:pt x="187185" y="16751"/>
                  </a:lnTo>
                  <a:lnTo>
                    <a:pt x="187185" y="7505"/>
                  </a:lnTo>
                  <a:close/>
                </a:path>
                <a:path w="1290320" h="757554">
                  <a:moveTo>
                    <a:pt x="200558" y="369443"/>
                  </a:moveTo>
                  <a:lnTo>
                    <a:pt x="193090" y="361937"/>
                  </a:lnTo>
                  <a:lnTo>
                    <a:pt x="174586" y="361937"/>
                  </a:lnTo>
                  <a:lnTo>
                    <a:pt x="167132" y="369443"/>
                  </a:lnTo>
                  <a:lnTo>
                    <a:pt x="167132" y="387946"/>
                  </a:lnTo>
                  <a:lnTo>
                    <a:pt x="174586" y="395452"/>
                  </a:lnTo>
                  <a:lnTo>
                    <a:pt x="193090" y="395452"/>
                  </a:lnTo>
                  <a:lnTo>
                    <a:pt x="200558" y="387946"/>
                  </a:lnTo>
                  <a:lnTo>
                    <a:pt x="200558" y="378688"/>
                  </a:lnTo>
                  <a:lnTo>
                    <a:pt x="200558" y="369443"/>
                  </a:lnTo>
                  <a:close/>
                </a:path>
                <a:path w="1290320" h="757554">
                  <a:moveTo>
                    <a:pt x="220611" y="731380"/>
                  </a:moveTo>
                  <a:lnTo>
                    <a:pt x="213144" y="723874"/>
                  </a:lnTo>
                  <a:lnTo>
                    <a:pt x="194652" y="723874"/>
                  </a:lnTo>
                  <a:lnTo>
                    <a:pt x="187185" y="731380"/>
                  </a:lnTo>
                  <a:lnTo>
                    <a:pt x="187185" y="749884"/>
                  </a:lnTo>
                  <a:lnTo>
                    <a:pt x="194652" y="757377"/>
                  </a:lnTo>
                  <a:lnTo>
                    <a:pt x="213144" y="757377"/>
                  </a:lnTo>
                  <a:lnTo>
                    <a:pt x="220611" y="749884"/>
                  </a:lnTo>
                  <a:lnTo>
                    <a:pt x="220611" y="740625"/>
                  </a:lnTo>
                  <a:lnTo>
                    <a:pt x="220611" y="731380"/>
                  </a:lnTo>
                  <a:close/>
                </a:path>
                <a:path w="1290320" h="757554">
                  <a:moveTo>
                    <a:pt x="233972" y="7505"/>
                  </a:moveTo>
                  <a:lnTo>
                    <a:pt x="226517" y="0"/>
                  </a:lnTo>
                  <a:lnTo>
                    <a:pt x="208013" y="0"/>
                  </a:lnTo>
                  <a:lnTo>
                    <a:pt x="200558" y="7505"/>
                  </a:lnTo>
                  <a:lnTo>
                    <a:pt x="200558" y="26009"/>
                  </a:lnTo>
                  <a:lnTo>
                    <a:pt x="208013" y="33515"/>
                  </a:lnTo>
                  <a:lnTo>
                    <a:pt x="226517" y="33515"/>
                  </a:lnTo>
                  <a:lnTo>
                    <a:pt x="233972" y="26009"/>
                  </a:lnTo>
                  <a:lnTo>
                    <a:pt x="233972" y="16751"/>
                  </a:lnTo>
                  <a:lnTo>
                    <a:pt x="233972" y="7505"/>
                  </a:lnTo>
                  <a:close/>
                </a:path>
                <a:path w="1290320" h="757554">
                  <a:moveTo>
                    <a:pt x="254038" y="369443"/>
                  </a:moveTo>
                  <a:lnTo>
                    <a:pt x="246570" y="361937"/>
                  </a:lnTo>
                  <a:lnTo>
                    <a:pt x="228066" y="361937"/>
                  </a:lnTo>
                  <a:lnTo>
                    <a:pt x="220611" y="369443"/>
                  </a:lnTo>
                  <a:lnTo>
                    <a:pt x="220611" y="387946"/>
                  </a:lnTo>
                  <a:lnTo>
                    <a:pt x="228066" y="395452"/>
                  </a:lnTo>
                  <a:lnTo>
                    <a:pt x="246570" y="395452"/>
                  </a:lnTo>
                  <a:lnTo>
                    <a:pt x="254038" y="387946"/>
                  </a:lnTo>
                  <a:lnTo>
                    <a:pt x="254038" y="378688"/>
                  </a:lnTo>
                  <a:lnTo>
                    <a:pt x="254038" y="369443"/>
                  </a:lnTo>
                  <a:close/>
                </a:path>
                <a:path w="1290320" h="757554">
                  <a:moveTo>
                    <a:pt x="267398" y="731380"/>
                  </a:moveTo>
                  <a:lnTo>
                    <a:pt x="259943" y="723874"/>
                  </a:lnTo>
                  <a:lnTo>
                    <a:pt x="241439" y="723874"/>
                  </a:lnTo>
                  <a:lnTo>
                    <a:pt x="233972" y="731380"/>
                  </a:lnTo>
                  <a:lnTo>
                    <a:pt x="233972" y="749884"/>
                  </a:lnTo>
                  <a:lnTo>
                    <a:pt x="241439" y="757377"/>
                  </a:lnTo>
                  <a:lnTo>
                    <a:pt x="259943" y="757377"/>
                  </a:lnTo>
                  <a:lnTo>
                    <a:pt x="267398" y="749884"/>
                  </a:lnTo>
                  <a:lnTo>
                    <a:pt x="267398" y="740625"/>
                  </a:lnTo>
                  <a:lnTo>
                    <a:pt x="267398" y="731380"/>
                  </a:lnTo>
                  <a:close/>
                </a:path>
                <a:path w="1290320" h="757554">
                  <a:moveTo>
                    <a:pt x="287451" y="7505"/>
                  </a:moveTo>
                  <a:lnTo>
                    <a:pt x="279996" y="0"/>
                  </a:lnTo>
                  <a:lnTo>
                    <a:pt x="261493" y="0"/>
                  </a:lnTo>
                  <a:lnTo>
                    <a:pt x="254038" y="7505"/>
                  </a:lnTo>
                  <a:lnTo>
                    <a:pt x="254038" y="26009"/>
                  </a:lnTo>
                  <a:lnTo>
                    <a:pt x="261493" y="33515"/>
                  </a:lnTo>
                  <a:lnTo>
                    <a:pt x="279996" y="33515"/>
                  </a:lnTo>
                  <a:lnTo>
                    <a:pt x="287451" y="26009"/>
                  </a:lnTo>
                  <a:lnTo>
                    <a:pt x="287451" y="16751"/>
                  </a:lnTo>
                  <a:lnTo>
                    <a:pt x="287451" y="7505"/>
                  </a:lnTo>
                  <a:close/>
                </a:path>
                <a:path w="1290320" h="757554">
                  <a:moveTo>
                    <a:pt x="300824" y="369443"/>
                  </a:moveTo>
                  <a:lnTo>
                    <a:pt x="293357" y="361937"/>
                  </a:lnTo>
                  <a:lnTo>
                    <a:pt x="274866" y="361937"/>
                  </a:lnTo>
                  <a:lnTo>
                    <a:pt x="267398" y="369443"/>
                  </a:lnTo>
                  <a:lnTo>
                    <a:pt x="267398" y="387946"/>
                  </a:lnTo>
                  <a:lnTo>
                    <a:pt x="274866" y="395452"/>
                  </a:lnTo>
                  <a:lnTo>
                    <a:pt x="293357" y="395452"/>
                  </a:lnTo>
                  <a:lnTo>
                    <a:pt x="300824" y="387946"/>
                  </a:lnTo>
                  <a:lnTo>
                    <a:pt x="300824" y="378688"/>
                  </a:lnTo>
                  <a:lnTo>
                    <a:pt x="300824" y="369443"/>
                  </a:lnTo>
                  <a:close/>
                </a:path>
                <a:path w="1290320" h="757554">
                  <a:moveTo>
                    <a:pt x="320878" y="731380"/>
                  </a:moveTo>
                  <a:lnTo>
                    <a:pt x="313423" y="723874"/>
                  </a:lnTo>
                  <a:lnTo>
                    <a:pt x="294919" y="723874"/>
                  </a:lnTo>
                  <a:lnTo>
                    <a:pt x="287451" y="731380"/>
                  </a:lnTo>
                  <a:lnTo>
                    <a:pt x="287451" y="749884"/>
                  </a:lnTo>
                  <a:lnTo>
                    <a:pt x="294919" y="757377"/>
                  </a:lnTo>
                  <a:lnTo>
                    <a:pt x="313423" y="757377"/>
                  </a:lnTo>
                  <a:lnTo>
                    <a:pt x="320878" y="749884"/>
                  </a:lnTo>
                  <a:lnTo>
                    <a:pt x="320878" y="740625"/>
                  </a:lnTo>
                  <a:lnTo>
                    <a:pt x="320878" y="731380"/>
                  </a:lnTo>
                  <a:close/>
                </a:path>
                <a:path w="1290320" h="757554">
                  <a:moveTo>
                    <a:pt x="334251" y="7505"/>
                  </a:moveTo>
                  <a:lnTo>
                    <a:pt x="326783" y="0"/>
                  </a:lnTo>
                  <a:lnTo>
                    <a:pt x="308292" y="0"/>
                  </a:lnTo>
                  <a:lnTo>
                    <a:pt x="300824" y="7505"/>
                  </a:lnTo>
                  <a:lnTo>
                    <a:pt x="300824" y="26009"/>
                  </a:lnTo>
                  <a:lnTo>
                    <a:pt x="308292" y="33515"/>
                  </a:lnTo>
                  <a:lnTo>
                    <a:pt x="326783" y="33515"/>
                  </a:lnTo>
                  <a:lnTo>
                    <a:pt x="334251" y="26009"/>
                  </a:lnTo>
                  <a:lnTo>
                    <a:pt x="334251" y="16751"/>
                  </a:lnTo>
                  <a:lnTo>
                    <a:pt x="334251" y="7505"/>
                  </a:lnTo>
                  <a:close/>
                </a:path>
                <a:path w="1290320" h="757554">
                  <a:moveTo>
                    <a:pt x="354304" y="369443"/>
                  </a:moveTo>
                  <a:lnTo>
                    <a:pt x="346849" y="361937"/>
                  </a:lnTo>
                  <a:lnTo>
                    <a:pt x="328345" y="361937"/>
                  </a:lnTo>
                  <a:lnTo>
                    <a:pt x="320878" y="369443"/>
                  </a:lnTo>
                  <a:lnTo>
                    <a:pt x="320878" y="387946"/>
                  </a:lnTo>
                  <a:lnTo>
                    <a:pt x="328345" y="395452"/>
                  </a:lnTo>
                  <a:lnTo>
                    <a:pt x="346849" y="395452"/>
                  </a:lnTo>
                  <a:lnTo>
                    <a:pt x="354304" y="387946"/>
                  </a:lnTo>
                  <a:lnTo>
                    <a:pt x="354304" y="378688"/>
                  </a:lnTo>
                  <a:lnTo>
                    <a:pt x="354304" y="369443"/>
                  </a:lnTo>
                  <a:close/>
                </a:path>
                <a:path w="1290320" h="757554">
                  <a:moveTo>
                    <a:pt x="367677" y="731380"/>
                  </a:moveTo>
                  <a:lnTo>
                    <a:pt x="360210" y="723874"/>
                  </a:lnTo>
                  <a:lnTo>
                    <a:pt x="341718" y="723874"/>
                  </a:lnTo>
                  <a:lnTo>
                    <a:pt x="334251" y="731380"/>
                  </a:lnTo>
                  <a:lnTo>
                    <a:pt x="334251" y="749884"/>
                  </a:lnTo>
                  <a:lnTo>
                    <a:pt x="341718" y="757377"/>
                  </a:lnTo>
                  <a:lnTo>
                    <a:pt x="360210" y="757377"/>
                  </a:lnTo>
                  <a:lnTo>
                    <a:pt x="367677" y="749884"/>
                  </a:lnTo>
                  <a:lnTo>
                    <a:pt x="367677" y="740625"/>
                  </a:lnTo>
                  <a:lnTo>
                    <a:pt x="367677" y="731380"/>
                  </a:lnTo>
                  <a:close/>
                </a:path>
                <a:path w="1290320" h="757554">
                  <a:moveTo>
                    <a:pt x="387731" y="7505"/>
                  </a:moveTo>
                  <a:lnTo>
                    <a:pt x="380263" y="0"/>
                  </a:lnTo>
                  <a:lnTo>
                    <a:pt x="361772" y="0"/>
                  </a:lnTo>
                  <a:lnTo>
                    <a:pt x="354304" y="7505"/>
                  </a:lnTo>
                  <a:lnTo>
                    <a:pt x="354304" y="26009"/>
                  </a:lnTo>
                  <a:lnTo>
                    <a:pt x="361772" y="33515"/>
                  </a:lnTo>
                  <a:lnTo>
                    <a:pt x="380263" y="33515"/>
                  </a:lnTo>
                  <a:lnTo>
                    <a:pt x="387731" y="26009"/>
                  </a:lnTo>
                  <a:lnTo>
                    <a:pt x="387731" y="16751"/>
                  </a:lnTo>
                  <a:lnTo>
                    <a:pt x="387731" y="7505"/>
                  </a:lnTo>
                  <a:close/>
                </a:path>
                <a:path w="1290320" h="757554">
                  <a:moveTo>
                    <a:pt x="401104" y="369443"/>
                  </a:moveTo>
                  <a:lnTo>
                    <a:pt x="393636" y="361937"/>
                  </a:lnTo>
                  <a:lnTo>
                    <a:pt x="375145" y="361937"/>
                  </a:lnTo>
                  <a:lnTo>
                    <a:pt x="367677" y="369443"/>
                  </a:lnTo>
                  <a:lnTo>
                    <a:pt x="367677" y="387946"/>
                  </a:lnTo>
                  <a:lnTo>
                    <a:pt x="375145" y="395452"/>
                  </a:lnTo>
                  <a:lnTo>
                    <a:pt x="393636" y="395452"/>
                  </a:lnTo>
                  <a:lnTo>
                    <a:pt x="401104" y="387946"/>
                  </a:lnTo>
                  <a:lnTo>
                    <a:pt x="401104" y="378688"/>
                  </a:lnTo>
                  <a:lnTo>
                    <a:pt x="401104" y="369443"/>
                  </a:lnTo>
                  <a:close/>
                </a:path>
                <a:path w="1290320" h="757554">
                  <a:moveTo>
                    <a:pt x="421157" y="731380"/>
                  </a:moveTo>
                  <a:lnTo>
                    <a:pt x="413689" y="723874"/>
                  </a:lnTo>
                  <a:lnTo>
                    <a:pt x="395198" y="723874"/>
                  </a:lnTo>
                  <a:lnTo>
                    <a:pt x="387731" y="731380"/>
                  </a:lnTo>
                  <a:lnTo>
                    <a:pt x="387731" y="749884"/>
                  </a:lnTo>
                  <a:lnTo>
                    <a:pt x="395198" y="757377"/>
                  </a:lnTo>
                  <a:lnTo>
                    <a:pt x="413689" y="757377"/>
                  </a:lnTo>
                  <a:lnTo>
                    <a:pt x="421157" y="749884"/>
                  </a:lnTo>
                  <a:lnTo>
                    <a:pt x="421157" y="740625"/>
                  </a:lnTo>
                  <a:lnTo>
                    <a:pt x="421157" y="731380"/>
                  </a:lnTo>
                  <a:close/>
                </a:path>
                <a:path w="1290320" h="757554">
                  <a:moveTo>
                    <a:pt x="434530" y="7505"/>
                  </a:moveTo>
                  <a:lnTo>
                    <a:pt x="427062" y="0"/>
                  </a:lnTo>
                  <a:lnTo>
                    <a:pt x="408571" y="0"/>
                  </a:lnTo>
                  <a:lnTo>
                    <a:pt x="401104" y="7505"/>
                  </a:lnTo>
                  <a:lnTo>
                    <a:pt x="401104" y="26009"/>
                  </a:lnTo>
                  <a:lnTo>
                    <a:pt x="408571" y="33515"/>
                  </a:lnTo>
                  <a:lnTo>
                    <a:pt x="427062" y="33515"/>
                  </a:lnTo>
                  <a:lnTo>
                    <a:pt x="434530" y="26009"/>
                  </a:lnTo>
                  <a:lnTo>
                    <a:pt x="434530" y="16751"/>
                  </a:lnTo>
                  <a:lnTo>
                    <a:pt x="434530" y="7505"/>
                  </a:lnTo>
                  <a:close/>
                </a:path>
                <a:path w="1290320" h="757554">
                  <a:moveTo>
                    <a:pt x="454583" y="369443"/>
                  </a:moveTo>
                  <a:lnTo>
                    <a:pt x="447116" y="361937"/>
                  </a:lnTo>
                  <a:lnTo>
                    <a:pt x="428625" y="361937"/>
                  </a:lnTo>
                  <a:lnTo>
                    <a:pt x="421157" y="369443"/>
                  </a:lnTo>
                  <a:lnTo>
                    <a:pt x="421157" y="387946"/>
                  </a:lnTo>
                  <a:lnTo>
                    <a:pt x="428625" y="395452"/>
                  </a:lnTo>
                  <a:lnTo>
                    <a:pt x="447116" y="395452"/>
                  </a:lnTo>
                  <a:lnTo>
                    <a:pt x="454583" y="387946"/>
                  </a:lnTo>
                  <a:lnTo>
                    <a:pt x="454583" y="378688"/>
                  </a:lnTo>
                  <a:lnTo>
                    <a:pt x="454583" y="369443"/>
                  </a:lnTo>
                  <a:close/>
                </a:path>
                <a:path w="1290320" h="757554">
                  <a:moveTo>
                    <a:pt x="467956" y="731380"/>
                  </a:moveTo>
                  <a:lnTo>
                    <a:pt x="460489" y="723874"/>
                  </a:lnTo>
                  <a:lnTo>
                    <a:pt x="441998" y="723874"/>
                  </a:lnTo>
                  <a:lnTo>
                    <a:pt x="434530" y="731380"/>
                  </a:lnTo>
                  <a:lnTo>
                    <a:pt x="434530" y="749884"/>
                  </a:lnTo>
                  <a:lnTo>
                    <a:pt x="441998" y="757377"/>
                  </a:lnTo>
                  <a:lnTo>
                    <a:pt x="460489" y="757377"/>
                  </a:lnTo>
                  <a:lnTo>
                    <a:pt x="467956" y="749884"/>
                  </a:lnTo>
                  <a:lnTo>
                    <a:pt x="467956" y="740625"/>
                  </a:lnTo>
                  <a:lnTo>
                    <a:pt x="467956" y="731380"/>
                  </a:lnTo>
                  <a:close/>
                </a:path>
                <a:path w="1290320" h="757554">
                  <a:moveTo>
                    <a:pt x="488010" y="7505"/>
                  </a:moveTo>
                  <a:lnTo>
                    <a:pt x="480542" y="0"/>
                  </a:lnTo>
                  <a:lnTo>
                    <a:pt x="462051" y="0"/>
                  </a:lnTo>
                  <a:lnTo>
                    <a:pt x="454583" y="7505"/>
                  </a:lnTo>
                  <a:lnTo>
                    <a:pt x="454583" y="26009"/>
                  </a:lnTo>
                  <a:lnTo>
                    <a:pt x="462051" y="33515"/>
                  </a:lnTo>
                  <a:lnTo>
                    <a:pt x="480542" y="33515"/>
                  </a:lnTo>
                  <a:lnTo>
                    <a:pt x="488010" y="26009"/>
                  </a:lnTo>
                  <a:lnTo>
                    <a:pt x="488010" y="16751"/>
                  </a:lnTo>
                  <a:lnTo>
                    <a:pt x="488010" y="7505"/>
                  </a:lnTo>
                  <a:close/>
                </a:path>
                <a:path w="1290320" h="757554">
                  <a:moveTo>
                    <a:pt x="508063" y="369443"/>
                  </a:moveTo>
                  <a:lnTo>
                    <a:pt x="500595" y="361937"/>
                  </a:lnTo>
                  <a:lnTo>
                    <a:pt x="482104" y="361937"/>
                  </a:lnTo>
                  <a:lnTo>
                    <a:pt x="474637" y="369443"/>
                  </a:lnTo>
                  <a:lnTo>
                    <a:pt x="474637" y="387946"/>
                  </a:lnTo>
                  <a:lnTo>
                    <a:pt x="482104" y="395452"/>
                  </a:lnTo>
                  <a:lnTo>
                    <a:pt x="500595" y="395452"/>
                  </a:lnTo>
                  <a:lnTo>
                    <a:pt x="508063" y="387946"/>
                  </a:lnTo>
                  <a:lnTo>
                    <a:pt x="508063" y="378688"/>
                  </a:lnTo>
                  <a:lnTo>
                    <a:pt x="508063" y="369443"/>
                  </a:lnTo>
                  <a:close/>
                </a:path>
                <a:path w="1290320" h="757554">
                  <a:moveTo>
                    <a:pt x="608342" y="7505"/>
                  </a:moveTo>
                  <a:lnTo>
                    <a:pt x="600875" y="0"/>
                  </a:lnTo>
                  <a:lnTo>
                    <a:pt x="582383" y="0"/>
                  </a:lnTo>
                  <a:lnTo>
                    <a:pt x="574916" y="7505"/>
                  </a:lnTo>
                  <a:lnTo>
                    <a:pt x="574916" y="26009"/>
                  </a:lnTo>
                  <a:lnTo>
                    <a:pt x="582383" y="33515"/>
                  </a:lnTo>
                  <a:lnTo>
                    <a:pt x="600875" y="33515"/>
                  </a:lnTo>
                  <a:lnTo>
                    <a:pt x="608342" y="26009"/>
                  </a:lnTo>
                  <a:lnTo>
                    <a:pt x="608342" y="16751"/>
                  </a:lnTo>
                  <a:lnTo>
                    <a:pt x="608342" y="7505"/>
                  </a:lnTo>
                  <a:close/>
                </a:path>
                <a:path w="1290320" h="757554">
                  <a:moveTo>
                    <a:pt x="621715" y="369443"/>
                  </a:moveTo>
                  <a:lnTo>
                    <a:pt x="614248" y="361937"/>
                  </a:lnTo>
                  <a:lnTo>
                    <a:pt x="595744" y="361937"/>
                  </a:lnTo>
                  <a:lnTo>
                    <a:pt x="588289" y="369443"/>
                  </a:lnTo>
                  <a:lnTo>
                    <a:pt x="588289" y="387946"/>
                  </a:lnTo>
                  <a:lnTo>
                    <a:pt x="595744" y="395452"/>
                  </a:lnTo>
                  <a:lnTo>
                    <a:pt x="614248" y="395452"/>
                  </a:lnTo>
                  <a:lnTo>
                    <a:pt x="621715" y="387946"/>
                  </a:lnTo>
                  <a:lnTo>
                    <a:pt x="621715" y="378688"/>
                  </a:lnTo>
                  <a:lnTo>
                    <a:pt x="621715" y="369443"/>
                  </a:lnTo>
                  <a:close/>
                </a:path>
                <a:path w="1290320" h="757554">
                  <a:moveTo>
                    <a:pt x="641769" y="731380"/>
                  </a:moveTo>
                  <a:lnTo>
                    <a:pt x="634301" y="723874"/>
                  </a:lnTo>
                  <a:lnTo>
                    <a:pt x="615810" y="723874"/>
                  </a:lnTo>
                  <a:lnTo>
                    <a:pt x="608342" y="731380"/>
                  </a:lnTo>
                  <a:lnTo>
                    <a:pt x="608342" y="749884"/>
                  </a:lnTo>
                  <a:lnTo>
                    <a:pt x="615810" y="757377"/>
                  </a:lnTo>
                  <a:lnTo>
                    <a:pt x="634301" y="757377"/>
                  </a:lnTo>
                  <a:lnTo>
                    <a:pt x="641769" y="749884"/>
                  </a:lnTo>
                  <a:lnTo>
                    <a:pt x="641769" y="740625"/>
                  </a:lnTo>
                  <a:lnTo>
                    <a:pt x="641769" y="731380"/>
                  </a:lnTo>
                  <a:close/>
                </a:path>
                <a:path w="1290320" h="757554">
                  <a:moveTo>
                    <a:pt x="655129" y="7505"/>
                  </a:moveTo>
                  <a:lnTo>
                    <a:pt x="647674" y="0"/>
                  </a:lnTo>
                  <a:lnTo>
                    <a:pt x="629170" y="0"/>
                  </a:lnTo>
                  <a:lnTo>
                    <a:pt x="621715" y="7505"/>
                  </a:lnTo>
                  <a:lnTo>
                    <a:pt x="621715" y="26009"/>
                  </a:lnTo>
                  <a:lnTo>
                    <a:pt x="629170" y="33515"/>
                  </a:lnTo>
                  <a:lnTo>
                    <a:pt x="647674" y="33515"/>
                  </a:lnTo>
                  <a:lnTo>
                    <a:pt x="655129" y="26009"/>
                  </a:lnTo>
                  <a:lnTo>
                    <a:pt x="655129" y="16751"/>
                  </a:lnTo>
                  <a:lnTo>
                    <a:pt x="655129" y="7505"/>
                  </a:lnTo>
                  <a:close/>
                </a:path>
                <a:path w="1290320" h="757554">
                  <a:moveTo>
                    <a:pt x="675195" y="369443"/>
                  </a:moveTo>
                  <a:lnTo>
                    <a:pt x="667727" y="361937"/>
                  </a:lnTo>
                  <a:lnTo>
                    <a:pt x="649224" y="361937"/>
                  </a:lnTo>
                  <a:lnTo>
                    <a:pt x="641769" y="369443"/>
                  </a:lnTo>
                  <a:lnTo>
                    <a:pt x="641769" y="387946"/>
                  </a:lnTo>
                  <a:lnTo>
                    <a:pt x="649224" y="395452"/>
                  </a:lnTo>
                  <a:lnTo>
                    <a:pt x="667727" y="395452"/>
                  </a:lnTo>
                  <a:lnTo>
                    <a:pt x="675195" y="387946"/>
                  </a:lnTo>
                  <a:lnTo>
                    <a:pt x="675195" y="378688"/>
                  </a:lnTo>
                  <a:lnTo>
                    <a:pt x="675195" y="369443"/>
                  </a:lnTo>
                  <a:close/>
                </a:path>
                <a:path w="1290320" h="757554">
                  <a:moveTo>
                    <a:pt x="688555" y="731380"/>
                  </a:moveTo>
                  <a:lnTo>
                    <a:pt x="681101" y="723874"/>
                  </a:lnTo>
                  <a:lnTo>
                    <a:pt x="662597" y="723874"/>
                  </a:lnTo>
                  <a:lnTo>
                    <a:pt x="655129" y="731380"/>
                  </a:lnTo>
                  <a:lnTo>
                    <a:pt x="655129" y="749884"/>
                  </a:lnTo>
                  <a:lnTo>
                    <a:pt x="662597" y="757377"/>
                  </a:lnTo>
                  <a:lnTo>
                    <a:pt x="681101" y="757377"/>
                  </a:lnTo>
                  <a:lnTo>
                    <a:pt x="688555" y="749884"/>
                  </a:lnTo>
                  <a:lnTo>
                    <a:pt x="688555" y="740625"/>
                  </a:lnTo>
                  <a:lnTo>
                    <a:pt x="688555" y="731380"/>
                  </a:lnTo>
                  <a:close/>
                </a:path>
                <a:path w="1290320" h="757554">
                  <a:moveTo>
                    <a:pt x="708621" y="7505"/>
                  </a:moveTo>
                  <a:lnTo>
                    <a:pt x="701154" y="0"/>
                  </a:lnTo>
                  <a:lnTo>
                    <a:pt x="682650" y="0"/>
                  </a:lnTo>
                  <a:lnTo>
                    <a:pt x="675195" y="7505"/>
                  </a:lnTo>
                  <a:lnTo>
                    <a:pt x="675195" y="26009"/>
                  </a:lnTo>
                  <a:lnTo>
                    <a:pt x="682650" y="33515"/>
                  </a:lnTo>
                  <a:lnTo>
                    <a:pt x="701154" y="33515"/>
                  </a:lnTo>
                  <a:lnTo>
                    <a:pt x="708621" y="26009"/>
                  </a:lnTo>
                  <a:lnTo>
                    <a:pt x="708621" y="16751"/>
                  </a:lnTo>
                  <a:lnTo>
                    <a:pt x="708621" y="7505"/>
                  </a:lnTo>
                  <a:close/>
                </a:path>
                <a:path w="1290320" h="757554">
                  <a:moveTo>
                    <a:pt x="721982" y="369443"/>
                  </a:moveTo>
                  <a:lnTo>
                    <a:pt x="714514" y="361937"/>
                  </a:lnTo>
                  <a:lnTo>
                    <a:pt x="696023" y="361937"/>
                  </a:lnTo>
                  <a:lnTo>
                    <a:pt x="688555" y="369443"/>
                  </a:lnTo>
                  <a:lnTo>
                    <a:pt x="688555" y="387946"/>
                  </a:lnTo>
                  <a:lnTo>
                    <a:pt x="696023" y="395452"/>
                  </a:lnTo>
                  <a:lnTo>
                    <a:pt x="714514" y="395452"/>
                  </a:lnTo>
                  <a:lnTo>
                    <a:pt x="721982" y="387946"/>
                  </a:lnTo>
                  <a:lnTo>
                    <a:pt x="721982" y="378688"/>
                  </a:lnTo>
                  <a:lnTo>
                    <a:pt x="721982" y="369443"/>
                  </a:lnTo>
                  <a:close/>
                </a:path>
                <a:path w="1290320" h="757554">
                  <a:moveTo>
                    <a:pt x="742035" y="731380"/>
                  </a:moveTo>
                  <a:lnTo>
                    <a:pt x="734580" y="723874"/>
                  </a:lnTo>
                  <a:lnTo>
                    <a:pt x="716076" y="723874"/>
                  </a:lnTo>
                  <a:lnTo>
                    <a:pt x="708621" y="731380"/>
                  </a:lnTo>
                  <a:lnTo>
                    <a:pt x="708621" y="749884"/>
                  </a:lnTo>
                  <a:lnTo>
                    <a:pt x="716076" y="757377"/>
                  </a:lnTo>
                  <a:lnTo>
                    <a:pt x="734580" y="757377"/>
                  </a:lnTo>
                  <a:lnTo>
                    <a:pt x="742035" y="749884"/>
                  </a:lnTo>
                  <a:lnTo>
                    <a:pt x="742035" y="740625"/>
                  </a:lnTo>
                  <a:lnTo>
                    <a:pt x="742035" y="731380"/>
                  </a:lnTo>
                  <a:close/>
                </a:path>
                <a:path w="1290320" h="757554">
                  <a:moveTo>
                    <a:pt x="755408" y="7505"/>
                  </a:moveTo>
                  <a:lnTo>
                    <a:pt x="747941" y="0"/>
                  </a:lnTo>
                  <a:lnTo>
                    <a:pt x="729449" y="0"/>
                  </a:lnTo>
                  <a:lnTo>
                    <a:pt x="721982" y="7505"/>
                  </a:lnTo>
                  <a:lnTo>
                    <a:pt x="721982" y="26009"/>
                  </a:lnTo>
                  <a:lnTo>
                    <a:pt x="729449" y="33515"/>
                  </a:lnTo>
                  <a:lnTo>
                    <a:pt x="747941" y="33515"/>
                  </a:lnTo>
                  <a:lnTo>
                    <a:pt x="755408" y="26009"/>
                  </a:lnTo>
                  <a:lnTo>
                    <a:pt x="755408" y="16751"/>
                  </a:lnTo>
                  <a:lnTo>
                    <a:pt x="755408" y="7505"/>
                  </a:lnTo>
                  <a:close/>
                </a:path>
                <a:path w="1290320" h="757554">
                  <a:moveTo>
                    <a:pt x="775462" y="369443"/>
                  </a:moveTo>
                  <a:lnTo>
                    <a:pt x="768007" y="361937"/>
                  </a:lnTo>
                  <a:lnTo>
                    <a:pt x="749503" y="361937"/>
                  </a:lnTo>
                  <a:lnTo>
                    <a:pt x="742035" y="369443"/>
                  </a:lnTo>
                  <a:lnTo>
                    <a:pt x="742035" y="387946"/>
                  </a:lnTo>
                  <a:lnTo>
                    <a:pt x="749503" y="395452"/>
                  </a:lnTo>
                  <a:lnTo>
                    <a:pt x="768007" y="395452"/>
                  </a:lnTo>
                  <a:lnTo>
                    <a:pt x="775462" y="387946"/>
                  </a:lnTo>
                  <a:lnTo>
                    <a:pt x="775462" y="378688"/>
                  </a:lnTo>
                  <a:lnTo>
                    <a:pt x="775462" y="369443"/>
                  </a:lnTo>
                  <a:close/>
                </a:path>
                <a:path w="1290320" h="757554">
                  <a:moveTo>
                    <a:pt x="788835" y="731380"/>
                  </a:moveTo>
                  <a:lnTo>
                    <a:pt x="781367" y="723874"/>
                  </a:lnTo>
                  <a:lnTo>
                    <a:pt x="762876" y="723874"/>
                  </a:lnTo>
                  <a:lnTo>
                    <a:pt x="755408" y="731380"/>
                  </a:lnTo>
                  <a:lnTo>
                    <a:pt x="755408" y="749884"/>
                  </a:lnTo>
                  <a:lnTo>
                    <a:pt x="762876" y="757377"/>
                  </a:lnTo>
                  <a:lnTo>
                    <a:pt x="781367" y="757377"/>
                  </a:lnTo>
                  <a:lnTo>
                    <a:pt x="788835" y="749884"/>
                  </a:lnTo>
                  <a:lnTo>
                    <a:pt x="788835" y="740625"/>
                  </a:lnTo>
                  <a:lnTo>
                    <a:pt x="788835" y="731380"/>
                  </a:lnTo>
                  <a:close/>
                </a:path>
                <a:path w="1290320" h="757554">
                  <a:moveTo>
                    <a:pt x="808888" y="7505"/>
                  </a:moveTo>
                  <a:lnTo>
                    <a:pt x="801420" y="0"/>
                  </a:lnTo>
                  <a:lnTo>
                    <a:pt x="782929" y="0"/>
                  </a:lnTo>
                  <a:lnTo>
                    <a:pt x="775462" y="7505"/>
                  </a:lnTo>
                  <a:lnTo>
                    <a:pt x="775462" y="26009"/>
                  </a:lnTo>
                  <a:lnTo>
                    <a:pt x="782929" y="33515"/>
                  </a:lnTo>
                  <a:lnTo>
                    <a:pt x="801420" y="33515"/>
                  </a:lnTo>
                  <a:lnTo>
                    <a:pt x="808888" y="26009"/>
                  </a:lnTo>
                  <a:lnTo>
                    <a:pt x="808888" y="16751"/>
                  </a:lnTo>
                  <a:lnTo>
                    <a:pt x="808888" y="7505"/>
                  </a:lnTo>
                  <a:close/>
                </a:path>
                <a:path w="1290320" h="757554">
                  <a:moveTo>
                    <a:pt x="822261" y="369443"/>
                  </a:moveTo>
                  <a:lnTo>
                    <a:pt x="814793" y="361937"/>
                  </a:lnTo>
                  <a:lnTo>
                    <a:pt x="796302" y="361937"/>
                  </a:lnTo>
                  <a:lnTo>
                    <a:pt x="788835" y="369443"/>
                  </a:lnTo>
                  <a:lnTo>
                    <a:pt x="788835" y="387946"/>
                  </a:lnTo>
                  <a:lnTo>
                    <a:pt x="796302" y="395452"/>
                  </a:lnTo>
                  <a:lnTo>
                    <a:pt x="814793" y="395452"/>
                  </a:lnTo>
                  <a:lnTo>
                    <a:pt x="822261" y="387946"/>
                  </a:lnTo>
                  <a:lnTo>
                    <a:pt x="822261" y="378688"/>
                  </a:lnTo>
                  <a:lnTo>
                    <a:pt x="822261" y="369443"/>
                  </a:lnTo>
                  <a:close/>
                </a:path>
                <a:path w="1290320" h="757554">
                  <a:moveTo>
                    <a:pt x="842314" y="731380"/>
                  </a:moveTo>
                  <a:lnTo>
                    <a:pt x="834847" y="723874"/>
                  </a:lnTo>
                  <a:lnTo>
                    <a:pt x="816356" y="723874"/>
                  </a:lnTo>
                  <a:lnTo>
                    <a:pt x="808888" y="731380"/>
                  </a:lnTo>
                  <a:lnTo>
                    <a:pt x="808888" y="749884"/>
                  </a:lnTo>
                  <a:lnTo>
                    <a:pt x="816356" y="757377"/>
                  </a:lnTo>
                  <a:lnTo>
                    <a:pt x="834847" y="757377"/>
                  </a:lnTo>
                  <a:lnTo>
                    <a:pt x="842314" y="749884"/>
                  </a:lnTo>
                  <a:lnTo>
                    <a:pt x="842314" y="740625"/>
                  </a:lnTo>
                  <a:lnTo>
                    <a:pt x="842314" y="731380"/>
                  </a:lnTo>
                  <a:close/>
                </a:path>
                <a:path w="1290320" h="757554">
                  <a:moveTo>
                    <a:pt x="855687" y="7505"/>
                  </a:moveTo>
                  <a:lnTo>
                    <a:pt x="848220" y="0"/>
                  </a:lnTo>
                  <a:lnTo>
                    <a:pt x="829729" y="0"/>
                  </a:lnTo>
                  <a:lnTo>
                    <a:pt x="822261" y="7505"/>
                  </a:lnTo>
                  <a:lnTo>
                    <a:pt x="822261" y="26009"/>
                  </a:lnTo>
                  <a:lnTo>
                    <a:pt x="829729" y="33515"/>
                  </a:lnTo>
                  <a:lnTo>
                    <a:pt x="848220" y="33515"/>
                  </a:lnTo>
                  <a:lnTo>
                    <a:pt x="855687" y="26009"/>
                  </a:lnTo>
                  <a:lnTo>
                    <a:pt x="855687" y="16751"/>
                  </a:lnTo>
                  <a:lnTo>
                    <a:pt x="855687" y="7505"/>
                  </a:lnTo>
                  <a:close/>
                </a:path>
                <a:path w="1290320" h="757554">
                  <a:moveTo>
                    <a:pt x="875741" y="369443"/>
                  </a:moveTo>
                  <a:lnTo>
                    <a:pt x="868273" y="361937"/>
                  </a:lnTo>
                  <a:lnTo>
                    <a:pt x="849782" y="361937"/>
                  </a:lnTo>
                  <a:lnTo>
                    <a:pt x="842314" y="369443"/>
                  </a:lnTo>
                  <a:lnTo>
                    <a:pt x="842314" y="387946"/>
                  </a:lnTo>
                  <a:lnTo>
                    <a:pt x="849782" y="395452"/>
                  </a:lnTo>
                  <a:lnTo>
                    <a:pt x="868273" y="395452"/>
                  </a:lnTo>
                  <a:lnTo>
                    <a:pt x="875741" y="387946"/>
                  </a:lnTo>
                  <a:lnTo>
                    <a:pt x="875741" y="378688"/>
                  </a:lnTo>
                  <a:lnTo>
                    <a:pt x="875741" y="369443"/>
                  </a:lnTo>
                  <a:close/>
                </a:path>
                <a:path w="1290320" h="757554">
                  <a:moveTo>
                    <a:pt x="889114" y="731380"/>
                  </a:moveTo>
                  <a:lnTo>
                    <a:pt x="881646" y="723874"/>
                  </a:lnTo>
                  <a:lnTo>
                    <a:pt x="863155" y="723874"/>
                  </a:lnTo>
                  <a:lnTo>
                    <a:pt x="855687" y="731380"/>
                  </a:lnTo>
                  <a:lnTo>
                    <a:pt x="855687" y="749884"/>
                  </a:lnTo>
                  <a:lnTo>
                    <a:pt x="863155" y="757377"/>
                  </a:lnTo>
                  <a:lnTo>
                    <a:pt x="881646" y="757377"/>
                  </a:lnTo>
                  <a:lnTo>
                    <a:pt x="889114" y="749884"/>
                  </a:lnTo>
                  <a:lnTo>
                    <a:pt x="889114" y="740625"/>
                  </a:lnTo>
                  <a:lnTo>
                    <a:pt x="889114" y="731380"/>
                  </a:lnTo>
                  <a:close/>
                </a:path>
                <a:path w="1290320" h="757554">
                  <a:moveTo>
                    <a:pt x="909167" y="7505"/>
                  </a:moveTo>
                  <a:lnTo>
                    <a:pt x="901700" y="0"/>
                  </a:lnTo>
                  <a:lnTo>
                    <a:pt x="883208" y="0"/>
                  </a:lnTo>
                  <a:lnTo>
                    <a:pt x="875741" y="7505"/>
                  </a:lnTo>
                  <a:lnTo>
                    <a:pt x="875741" y="26009"/>
                  </a:lnTo>
                  <a:lnTo>
                    <a:pt x="883208" y="33515"/>
                  </a:lnTo>
                  <a:lnTo>
                    <a:pt x="901700" y="33515"/>
                  </a:lnTo>
                  <a:lnTo>
                    <a:pt x="909167" y="26009"/>
                  </a:lnTo>
                  <a:lnTo>
                    <a:pt x="909167" y="16751"/>
                  </a:lnTo>
                  <a:lnTo>
                    <a:pt x="909167" y="7505"/>
                  </a:lnTo>
                  <a:close/>
                </a:path>
                <a:path w="1290320" h="757554">
                  <a:moveTo>
                    <a:pt x="922540" y="369443"/>
                  </a:moveTo>
                  <a:lnTo>
                    <a:pt x="915073" y="361937"/>
                  </a:lnTo>
                  <a:lnTo>
                    <a:pt x="896581" y="361937"/>
                  </a:lnTo>
                  <a:lnTo>
                    <a:pt x="889114" y="369443"/>
                  </a:lnTo>
                  <a:lnTo>
                    <a:pt x="889114" y="387946"/>
                  </a:lnTo>
                  <a:lnTo>
                    <a:pt x="896581" y="395452"/>
                  </a:lnTo>
                  <a:lnTo>
                    <a:pt x="915073" y="395452"/>
                  </a:lnTo>
                  <a:lnTo>
                    <a:pt x="922540" y="387946"/>
                  </a:lnTo>
                  <a:lnTo>
                    <a:pt x="922540" y="378688"/>
                  </a:lnTo>
                  <a:lnTo>
                    <a:pt x="922540" y="369443"/>
                  </a:lnTo>
                  <a:close/>
                </a:path>
                <a:path w="1290320" h="757554">
                  <a:moveTo>
                    <a:pt x="942594" y="731380"/>
                  </a:moveTo>
                  <a:lnTo>
                    <a:pt x="935126" y="723874"/>
                  </a:lnTo>
                  <a:lnTo>
                    <a:pt x="916635" y="723874"/>
                  </a:lnTo>
                  <a:lnTo>
                    <a:pt x="909167" y="731380"/>
                  </a:lnTo>
                  <a:lnTo>
                    <a:pt x="909167" y="749884"/>
                  </a:lnTo>
                  <a:lnTo>
                    <a:pt x="916635" y="757377"/>
                  </a:lnTo>
                  <a:lnTo>
                    <a:pt x="935126" y="757377"/>
                  </a:lnTo>
                  <a:lnTo>
                    <a:pt x="942594" y="749884"/>
                  </a:lnTo>
                  <a:lnTo>
                    <a:pt x="942594" y="740625"/>
                  </a:lnTo>
                  <a:lnTo>
                    <a:pt x="942594" y="731380"/>
                  </a:lnTo>
                  <a:close/>
                </a:path>
                <a:path w="1290320" h="757554">
                  <a:moveTo>
                    <a:pt x="955967" y="7505"/>
                  </a:moveTo>
                  <a:lnTo>
                    <a:pt x="948499" y="0"/>
                  </a:lnTo>
                  <a:lnTo>
                    <a:pt x="930008" y="0"/>
                  </a:lnTo>
                  <a:lnTo>
                    <a:pt x="922540" y="7505"/>
                  </a:lnTo>
                  <a:lnTo>
                    <a:pt x="922540" y="26009"/>
                  </a:lnTo>
                  <a:lnTo>
                    <a:pt x="930008" y="33515"/>
                  </a:lnTo>
                  <a:lnTo>
                    <a:pt x="948499" y="33515"/>
                  </a:lnTo>
                  <a:lnTo>
                    <a:pt x="955967" y="26009"/>
                  </a:lnTo>
                  <a:lnTo>
                    <a:pt x="955967" y="16751"/>
                  </a:lnTo>
                  <a:lnTo>
                    <a:pt x="955967" y="7505"/>
                  </a:lnTo>
                  <a:close/>
                </a:path>
                <a:path w="1290320" h="757554">
                  <a:moveTo>
                    <a:pt x="976020" y="369443"/>
                  </a:moveTo>
                  <a:lnTo>
                    <a:pt x="968552" y="361937"/>
                  </a:lnTo>
                  <a:lnTo>
                    <a:pt x="950061" y="361937"/>
                  </a:lnTo>
                  <a:lnTo>
                    <a:pt x="942594" y="369443"/>
                  </a:lnTo>
                  <a:lnTo>
                    <a:pt x="942594" y="387946"/>
                  </a:lnTo>
                  <a:lnTo>
                    <a:pt x="950061" y="395452"/>
                  </a:lnTo>
                  <a:lnTo>
                    <a:pt x="968552" y="395452"/>
                  </a:lnTo>
                  <a:lnTo>
                    <a:pt x="976020" y="387946"/>
                  </a:lnTo>
                  <a:lnTo>
                    <a:pt x="976020" y="378688"/>
                  </a:lnTo>
                  <a:lnTo>
                    <a:pt x="976020" y="369443"/>
                  </a:lnTo>
                  <a:close/>
                </a:path>
                <a:path w="1290320" h="757554">
                  <a:moveTo>
                    <a:pt x="989393" y="731380"/>
                  </a:moveTo>
                  <a:lnTo>
                    <a:pt x="981925" y="723874"/>
                  </a:lnTo>
                  <a:lnTo>
                    <a:pt x="963422" y="723874"/>
                  </a:lnTo>
                  <a:lnTo>
                    <a:pt x="955967" y="731380"/>
                  </a:lnTo>
                  <a:lnTo>
                    <a:pt x="955967" y="749884"/>
                  </a:lnTo>
                  <a:lnTo>
                    <a:pt x="963422" y="757377"/>
                  </a:lnTo>
                  <a:lnTo>
                    <a:pt x="981925" y="757377"/>
                  </a:lnTo>
                  <a:lnTo>
                    <a:pt x="989393" y="749884"/>
                  </a:lnTo>
                  <a:lnTo>
                    <a:pt x="989393" y="740625"/>
                  </a:lnTo>
                  <a:lnTo>
                    <a:pt x="989393" y="731380"/>
                  </a:lnTo>
                  <a:close/>
                </a:path>
                <a:path w="1290320" h="757554">
                  <a:moveTo>
                    <a:pt x="1009446" y="7505"/>
                  </a:moveTo>
                  <a:lnTo>
                    <a:pt x="1001979" y="0"/>
                  </a:lnTo>
                  <a:lnTo>
                    <a:pt x="983488" y="0"/>
                  </a:lnTo>
                  <a:lnTo>
                    <a:pt x="976020" y="7505"/>
                  </a:lnTo>
                  <a:lnTo>
                    <a:pt x="976020" y="26009"/>
                  </a:lnTo>
                  <a:lnTo>
                    <a:pt x="983488" y="33515"/>
                  </a:lnTo>
                  <a:lnTo>
                    <a:pt x="1001979" y="33515"/>
                  </a:lnTo>
                  <a:lnTo>
                    <a:pt x="1009446" y="26009"/>
                  </a:lnTo>
                  <a:lnTo>
                    <a:pt x="1009446" y="16751"/>
                  </a:lnTo>
                  <a:lnTo>
                    <a:pt x="1009446" y="7505"/>
                  </a:lnTo>
                  <a:close/>
                </a:path>
                <a:path w="1290320" h="757554">
                  <a:moveTo>
                    <a:pt x="1022807" y="369443"/>
                  </a:moveTo>
                  <a:lnTo>
                    <a:pt x="1015352" y="361937"/>
                  </a:lnTo>
                  <a:lnTo>
                    <a:pt x="996848" y="361937"/>
                  </a:lnTo>
                  <a:lnTo>
                    <a:pt x="989393" y="369443"/>
                  </a:lnTo>
                  <a:lnTo>
                    <a:pt x="989393" y="387946"/>
                  </a:lnTo>
                  <a:lnTo>
                    <a:pt x="996848" y="395452"/>
                  </a:lnTo>
                  <a:lnTo>
                    <a:pt x="1015352" y="395452"/>
                  </a:lnTo>
                  <a:lnTo>
                    <a:pt x="1022807" y="387946"/>
                  </a:lnTo>
                  <a:lnTo>
                    <a:pt x="1022807" y="378688"/>
                  </a:lnTo>
                  <a:lnTo>
                    <a:pt x="1022807" y="369443"/>
                  </a:lnTo>
                  <a:close/>
                </a:path>
                <a:path w="1290320" h="757554">
                  <a:moveTo>
                    <a:pt x="1042873" y="731380"/>
                  </a:moveTo>
                  <a:lnTo>
                    <a:pt x="1035405" y="723874"/>
                  </a:lnTo>
                  <a:lnTo>
                    <a:pt x="1016901" y="723874"/>
                  </a:lnTo>
                  <a:lnTo>
                    <a:pt x="1009446" y="731380"/>
                  </a:lnTo>
                  <a:lnTo>
                    <a:pt x="1009446" y="749884"/>
                  </a:lnTo>
                  <a:lnTo>
                    <a:pt x="1016901" y="757377"/>
                  </a:lnTo>
                  <a:lnTo>
                    <a:pt x="1035405" y="757377"/>
                  </a:lnTo>
                  <a:lnTo>
                    <a:pt x="1042873" y="749884"/>
                  </a:lnTo>
                  <a:lnTo>
                    <a:pt x="1042873" y="740625"/>
                  </a:lnTo>
                  <a:lnTo>
                    <a:pt x="1042873" y="731380"/>
                  </a:lnTo>
                  <a:close/>
                </a:path>
                <a:path w="1290320" h="757554">
                  <a:moveTo>
                    <a:pt x="1056233" y="7505"/>
                  </a:moveTo>
                  <a:lnTo>
                    <a:pt x="1048778" y="0"/>
                  </a:lnTo>
                  <a:lnTo>
                    <a:pt x="1030274" y="0"/>
                  </a:lnTo>
                  <a:lnTo>
                    <a:pt x="1022807" y="7505"/>
                  </a:lnTo>
                  <a:lnTo>
                    <a:pt x="1022807" y="26009"/>
                  </a:lnTo>
                  <a:lnTo>
                    <a:pt x="1030274" y="33515"/>
                  </a:lnTo>
                  <a:lnTo>
                    <a:pt x="1048778" y="33515"/>
                  </a:lnTo>
                  <a:lnTo>
                    <a:pt x="1056233" y="26009"/>
                  </a:lnTo>
                  <a:lnTo>
                    <a:pt x="1056233" y="16751"/>
                  </a:lnTo>
                  <a:lnTo>
                    <a:pt x="1056233" y="7505"/>
                  </a:lnTo>
                  <a:close/>
                </a:path>
                <a:path w="1290320" h="757554">
                  <a:moveTo>
                    <a:pt x="1076286" y="369443"/>
                  </a:moveTo>
                  <a:lnTo>
                    <a:pt x="1068832" y="361937"/>
                  </a:lnTo>
                  <a:lnTo>
                    <a:pt x="1050328" y="361937"/>
                  </a:lnTo>
                  <a:lnTo>
                    <a:pt x="1042873" y="369443"/>
                  </a:lnTo>
                  <a:lnTo>
                    <a:pt x="1042873" y="387946"/>
                  </a:lnTo>
                  <a:lnTo>
                    <a:pt x="1050328" y="395452"/>
                  </a:lnTo>
                  <a:lnTo>
                    <a:pt x="1068832" y="395452"/>
                  </a:lnTo>
                  <a:lnTo>
                    <a:pt x="1076286" y="387946"/>
                  </a:lnTo>
                  <a:lnTo>
                    <a:pt x="1076286" y="378688"/>
                  </a:lnTo>
                  <a:lnTo>
                    <a:pt x="1076286" y="369443"/>
                  </a:lnTo>
                  <a:close/>
                </a:path>
                <a:path w="1290320" h="757554">
                  <a:moveTo>
                    <a:pt x="1089660" y="731380"/>
                  </a:moveTo>
                  <a:lnTo>
                    <a:pt x="1082192" y="723874"/>
                  </a:lnTo>
                  <a:lnTo>
                    <a:pt x="1063701" y="723874"/>
                  </a:lnTo>
                  <a:lnTo>
                    <a:pt x="1056233" y="731380"/>
                  </a:lnTo>
                  <a:lnTo>
                    <a:pt x="1056233" y="749884"/>
                  </a:lnTo>
                  <a:lnTo>
                    <a:pt x="1063701" y="757377"/>
                  </a:lnTo>
                  <a:lnTo>
                    <a:pt x="1082192" y="757377"/>
                  </a:lnTo>
                  <a:lnTo>
                    <a:pt x="1089660" y="749884"/>
                  </a:lnTo>
                  <a:lnTo>
                    <a:pt x="1089660" y="740625"/>
                  </a:lnTo>
                  <a:lnTo>
                    <a:pt x="1089660" y="731380"/>
                  </a:lnTo>
                  <a:close/>
                </a:path>
                <a:path w="1290320" h="757554">
                  <a:moveTo>
                    <a:pt x="1109713" y="7505"/>
                  </a:moveTo>
                  <a:lnTo>
                    <a:pt x="1102258" y="0"/>
                  </a:lnTo>
                  <a:lnTo>
                    <a:pt x="1083754" y="0"/>
                  </a:lnTo>
                  <a:lnTo>
                    <a:pt x="1076286" y="7505"/>
                  </a:lnTo>
                  <a:lnTo>
                    <a:pt x="1076286" y="26009"/>
                  </a:lnTo>
                  <a:lnTo>
                    <a:pt x="1083754" y="33515"/>
                  </a:lnTo>
                  <a:lnTo>
                    <a:pt x="1102258" y="33515"/>
                  </a:lnTo>
                  <a:lnTo>
                    <a:pt x="1109713" y="26009"/>
                  </a:lnTo>
                  <a:lnTo>
                    <a:pt x="1109713" y="16751"/>
                  </a:lnTo>
                  <a:lnTo>
                    <a:pt x="1109713" y="7505"/>
                  </a:lnTo>
                  <a:close/>
                </a:path>
                <a:path w="1290320" h="757554">
                  <a:moveTo>
                    <a:pt x="1123086" y="369443"/>
                  </a:moveTo>
                  <a:lnTo>
                    <a:pt x="1115618" y="361937"/>
                  </a:lnTo>
                  <a:lnTo>
                    <a:pt x="1097127" y="361937"/>
                  </a:lnTo>
                  <a:lnTo>
                    <a:pt x="1089660" y="369443"/>
                  </a:lnTo>
                  <a:lnTo>
                    <a:pt x="1089660" y="387946"/>
                  </a:lnTo>
                  <a:lnTo>
                    <a:pt x="1097127" y="395452"/>
                  </a:lnTo>
                  <a:lnTo>
                    <a:pt x="1115618" y="395452"/>
                  </a:lnTo>
                  <a:lnTo>
                    <a:pt x="1123086" y="387946"/>
                  </a:lnTo>
                  <a:lnTo>
                    <a:pt x="1123086" y="378688"/>
                  </a:lnTo>
                  <a:lnTo>
                    <a:pt x="1123086" y="369443"/>
                  </a:lnTo>
                  <a:close/>
                </a:path>
                <a:path w="1290320" h="757554">
                  <a:moveTo>
                    <a:pt x="1143139" y="731380"/>
                  </a:moveTo>
                  <a:lnTo>
                    <a:pt x="1135684" y="723874"/>
                  </a:lnTo>
                  <a:lnTo>
                    <a:pt x="1117180" y="723874"/>
                  </a:lnTo>
                  <a:lnTo>
                    <a:pt x="1109713" y="731380"/>
                  </a:lnTo>
                  <a:lnTo>
                    <a:pt x="1109713" y="749884"/>
                  </a:lnTo>
                  <a:lnTo>
                    <a:pt x="1117180" y="757377"/>
                  </a:lnTo>
                  <a:lnTo>
                    <a:pt x="1135684" y="757377"/>
                  </a:lnTo>
                  <a:lnTo>
                    <a:pt x="1143139" y="749884"/>
                  </a:lnTo>
                  <a:lnTo>
                    <a:pt x="1143139" y="740625"/>
                  </a:lnTo>
                  <a:lnTo>
                    <a:pt x="1143139" y="731380"/>
                  </a:lnTo>
                  <a:close/>
                </a:path>
                <a:path w="1290320" h="757554">
                  <a:moveTo>
                    <a:pt x="1156512" y="7505"/>
                  </a:moveTo>
                  <a:lnTo>
                    <a:pt x="1149045" y="0"/>
                  </a:lnTo>
                  <a:lnTo>
                    <a:pt x="1130554" y="0"/>
                  </a:lnTo>
                  <a:lnTo>
                    <a:pt x="1123086" y="7505"/>
                  </a:lnTo>
                  <a:lnTo>
                    <a:pt x="1123086" y="26009"/>
                  </a:lnTo>
                  <a:lnTo>
                    <a:pt x="1130554" y="33515"/>
                  </a:lnTo>
                  <a:lnTo>
                    <a:pt x="1149045" y="33515"/>
                  </a:lnTo>
                  <a:lnTo>
                    <a:pt x="1156512" y="26009"/>
                  </a:lnTo>
                  <a:lnTo>
                    <a:pt x="1156512" y="16751"/>
                  </a:lnTo>
                  <a:lnTo>
                    <a:pt x="1156512" y="7505"/>
                  </a:lnTo>
                  <a:close/>
                </a:path>
                <a:path w="1290320" h="757554">
                  <a:moveTo>
                    <a:pt x="1176566" y="369443"/>
                  </a:moveTo>
                  <a:lnTo>
                    <a:pt x="1169098" y="361937"/>
                  </a:lnTo>
                  <a:lnTo>
                    <a:pt x="1150607" y="361937"/>
                  </a:lnTo>
                  <a:lnTo>
                    <a:pt x="1143139" y="369443"/>
                  </a:lnTo>
                  <a:lnTo>
                    <a:pt x="1143139" y="387946"/>
                  </a:lnTo>
                  <a:lnTo>
                    <a:pt x="1150607" y="395452"/>
                  </a:lnTo>
                  <a:lnTo>
                    <a:pt x="1169098" y="395452"/>
                  </a:lnTo>
                  <a:lnTo>
                    <a:pt x="1176566" y="387946"/>
                  </a:lnTo>
                  <a:lnTo>
                    <a:pt x="1176566" y="378688"/>
                  </a:lnTo>
                  <a:lnTo>
                    <a:pt x="1176566" y="369443"/>
                  </a:lnTo>
                  <a:close/>
                </a:path>
                <a:path w="1290320" h="757554">
                  <a:moveTo>
                    <a:pt x="1189939" y="731380"/>
                  </a:moveTo>
                  <a:lnTo>
                    <a:pt x="1182471" y="723874"/>
                  </a:lnTo>
                  <a:lnTo>
                    <a:pt x="1163980" y="723874"/>
                  </a:lnTo>
                  <a:lnTo>
                    <a:pt x="1156512" y="731380"/>
                  </a:lnTo>
                  <a:lnTo>
                    <a:pt x="1156512" y="749884"/>
                  </a:lnTo>
                  <a:lnTo>
                    <a:pt x="1163980" y="757377"/>
                  </a:lnTo>
                  <a:lnTo>
                    <a:pt x="1182471" y="757377"/>
                  </a:lnTo>
                  <a:lnTo>
                    <a:pt x="1189939" y="749884"/>
                  </a:lnTo>
                  <a:lnTo>
                    <a:pt x="1189939" y="740625"/>
                  </a:lnTo>
                  <a:lnTo>
                    <a:pt x="1189939" y="731380"/>
                  </a:lnTo>
                  <a:close/>
                </a:path>
                <a:path w="1290320" h="757554">
                  <a:moveTo>
                    <a:pt x="1209992" y="7505"/>
                  </a:moveTo>
                  <a:lnTo>
                    <a:pt x="1202524" y="0"/>
                  </a:lnTo>
                  <a:lnTo>
                    <a:pt x="1184033" y="0"/>
                  </a:lnTo>
                  <a:lnTo>
                    <a:pt x="1176566" y="7505"/>
                  </a:lnTo>
                  <a:lnTo>
                    <a:pt x="1176566" y="26009"/>
                  </a:lnTo>
                  <a:lnTo>
                    <a:pt x="1184033" y="33515"/>
                  </a:lnTo>
                  <a:lnTo>
                    <a:pt x="1202524" y="33515"/>
                  </a:lnTo>
                  <a:lnTo>
                    <a:pt x="1209992" y="26009"/>
                  </a:lnTo>
                  <a:lnTo>
                    <a:pt x="1209992" y="16751"/>
                  </a:lnTo>
                  <a:lnTo>
                    <a:pt x="1209992" y="7505"/>
                  </a:lnTo>
                  <a:close/>
                </a:path>
                <a:path w="1290320" h="757554">
                  <a:moveTo>
                    <a:pt x="1223365" y="369443"/>
                  </a:moveTo>
                  <a:lnTo>
                    <a:pt x="1215898" y="361937"/>
                  </a:lnTo>
                  <a:lnTo>
                    <a:pt x="1197406" y="361937"/>
                  </a:lnTo>
                  <a:lnTo>
                    <a:pt x="1189939" y="369443"/>
                  </a:lnTo>
                  <a:lnTo>
                    <a:pt x="1189939" y="387946"/>
                  </a:lnTo>
                  <a:lnTo>
                    <a:pt x="1197406" y="395452"/>
                  </a:lnTo>
                  <a:lnTo>
                    <a:pt x="1215898" y="395452"/>
                  </a:lnTo>
                  <a:lnTo>
                    <a:pt x="1223365" y="387946"/>
                  </a:lnTo>
                  <a:lnTo>
                    <a:pt x="1223365" y="378688"/>
                  </a:lnTo>
                  <a:lnTo>
                    <a:pt x="1223365" y="369443"/>
                  </a:lnTo>
                  <a:close/>
                </a:path>
                <a:path w="1290320" h="757554">
                  <a:moveTo>
                    <a:pt x="1243418" y="731380"/>
                  </a:moveTo>
                  <a:lnTo>
                    <a:pt x="1235951" y="723874"/>
                  </a:lnTo>
                  <a:lnTo>
                    <a:pt x="1217460" y="723874"/>
                  </a:lnTo>
                  <a:lnTo>
                    <a:pt x="1209992" y="731380"/>
                  </a:lnTo>
                  <a:lnTo>
                    <a:pt x="1209992" y="749884"/>
                  </a:lnTo>
                  <a:lnTo>
                    <a:pt x="1217460" y="757377"/>
                  </a:lnTo>
                  <a:lnTo>
                    <a:pt x="1235951" y="757377"/>
                  </a:lnTo>
                  <a:lnTo>
                    <a:pt x="1243418" y="749884"/>
                  </a:lnTo>
                  <a:lnTo>
                    <a:pt x="1243418" y="740625"/>
                  </a:lnTo>
                  <a:lnTo>
                    <a:pt x="1243418" y="731380"/>
                  </a:lnTo>
                  <a:close/>
                </a:path>
                <a:path w="1290320" h="757554">
                  <a:moveTo>
                    <a:pt x="1256792" y="7505"/>
                  </a:moveTo>
                  <a:lnTo>
                    <a:pt x="1249324" y="0"/>
                  </a:lnTo>
                  <a:lnTo>
                    <a:pt x="1230833" y="0"/>
                  </a:lnTo>
                  <a:lnTo>
                    <a:pt x="1223365" y="7505"/>
                  </a:lnTo>
                  <a:lnTo>
                    <a:pt x="1223365" y="26009"/>
                  </a:lnTo>
                  <a:lnTo>
                    <a:pt x="1230833" y="33515"/>
                  </a:lnTo>
                  <a:lnTo>
                    <a:pt x="1249324" y="33515"/>
                  </a:lnTo>
                  <a:lnTo>
                    <a:pt x="1256792" y="26009"/>
                  </a:lnTo>
                  <a:lnTo>
                    <a:pt x="1256792" y="16751"/>
                  </a:lnTo>
                  <a:lnTo>
                    <a:pt x="1256792" y="7505"/>
                  </a:lnTo>
                  <a:close/>
                </a:path>
                <a:path w="1290320" h="757554">
                  <a:moveTo>
                    <a:pt x="1276845" y="369443"/>
                  </a:moveTo>
                  <a:lnTo>
                    <a:pt x="1269377" y="361937"/>
                  </a:lnTo>
                  <a:lnTo>
                    <a:pt x="1250886" y="361937"/>
                  </a:lnTo>
                  <a:lnTo>
                    <a:pt x="1243418" y="369443"/>
                  </a:lnTo>
                  <a:lnTo>
                    <a:pt x="1243418" y="387946"/>
                  </a:lnTo>
                  <a:lnTo>
                    <a:pt x="1250886" y="395452"/>
                  </a:lnTo>
                  <a:lnTo>
                    <a:pt x="1269377" y="395452"/>
                  </a:lnTo>
                  <a:lnTo>
                    <a:pt x="1276845" y="387946"/>
                  </a:lnTo>
                  <a:lnTo>
                    <a:pt x="1276845" y="378688"/>
                  </a:lnTo>
                  <a:lnTo>
                    <a:pt x="1276845" y="369443"/>
                  </a:lnTo>
                  <a:close/>
                </a:path>
                <a:path w="1290320" h="757554">
                  <a:moveTo>
                    <a:pt x="1290218" y="731380"/>
                  </a:moveTo>
                  <a:lnTo>
                    <a:pt x="1282750" y="723874"/>
                  </a:lnTo>
                  <a:lnTo>
                    <a:pt x="1264259" y="723874"/>
                  </a:lnTo>
                  <a:lnTo>
                    <a:pt x="1256792" y="731380"/>
                  </a:lnTo>
                  <a:lnTo>
                    <a:pt x="1256792" y="749884"/>
                  </a:lnTo>
                  <a:lnTo>
                    <a:pt x="1264259" y="757377"/>
                  </a:lnTo>
                  <a:lnTo>
                    <a:pt x="1282750" y="757377"/>
                  </a:lnTo>
                  <a:lnTo>
                    <a:pt x="1290218" y="749884"/>
                  </a:lnTo>
                  <a:lnTo>
                    <a:pt x="1290218" y="740625"/>
                  </a:lnTo>
                  <a:lnTo>
                    <a:pt x="1290218" y="731380"/>
                  </a:lnTo>
                  <a:close/>
                </a:path>
              </a:pathLst>
            </a:custGeom>
            <a:solidFill>
              <a:srgbClr val="1F487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7" name="object 57"/>
            <p:cNvSpPr/>
            <p:nvPr/>
          </p:nvSpPr>
          <p:spPr>
            <a:xfrm>
              <a:off x="2923070" y="5905004"/>
              <a:ext cx="441325" cy="757555"/>
            </a:xfrm>
            <a:custGeom>
              <a:avLst/>
              <a:gdLst/>
              <a:ahLst/>
              <a:cxnLst/>
              <a:rect l="l" t="t" r="r" b="b"/>
              <a:pathLst>
                <a:path w="441325" h="757554">
                  <a:moveTo>
                    <a:pt x="33426" y="731380"/>
                  </a:moveTo>
                  <a:lnTo>
                    <a:pt x="25958" y="723874"/>
                  </a:lnTo>
                  <a:lnTo>
                    <a:pt x="7467" y="723874"/>
                  </a:lnTo>
                  <a:lnTo>
                    <a:pt x="0" y="731380"/>
                  </a:lnTo>
                  <a:lnTo>
                    <a:pt x="0" y="749884"/>
                  </a:lnTo>
                  <a:lnTo>
                    <a:pt x="7467" y="757377"/>
                  </a:lnTo>
                  <a:lnTo>
                    <a:pt x="25958" y="757377"/>
                  </a:lnTo>
                  <a:lnTo>
                    <a:pt x="33426" y="749884"/>
                  </a:lnTo>
                  <a:lnTo>
                    <a:pt x="33426" y="740625"/>
                  </a:lnTo>
                  <a:lnTo>
                    <a:pt x="33426" y="731380"/>
                  </a:lnTo>
                  <a:close/>
                </a:path>
                <a:path w="441325" h="757554">
                  <a:moveTo>
                    <a:pt x="53479" y="7505"/>
                  </a:moveTo>
                  <a:lnTo>
                    <a:pt x="46012" y="0"/>
                  </a:lnTo>
                  <a:lnTo>
                    <a:pt x="27520" y="0"/>
                  </a:lnTo>
                  <a:lnTo>
                    <a:pt x="20053" y="7505"/>
                  </a:lnTo>
                  <a:lnTo>
                    <a:pt x="20053" y="26009"/>
                  </a:lnTo>
                  <a:lnTo>
                    <a:pt x="27520" y="33515"/>
                  </a:lnTo>
                  <a:lnTo>
                    <a:pt x="46012" y="33515"/>
                  </a:lnTo>
                  <a:lnTo>
                    <a:pt x="53479" y="26009"/>
                  </a:lnTo>
                  <a:lnTo>
                    <a:pt x="53479" y="16751"/>
                  </a:lnTo>
                  <a:lnTo>
                    <a:pt x="53479" y="7505"/>
                  </a:lnTo>
                  <a:close/>
                </a:path>
                <a:path w="441325" h="757554">
                  <a:moveTo>
                    <a:pt x="66852" y="369443"/>
                  </a:moveTo>
                  <a:lnTo>
                    <a:pt x="59385" y="361937"/>
                  </a:lnTo>
                  <a:lnTo>
                    <a:pt x="40881" y="361937"/>
                  </a:lnTo>
                  <a:lnTo>
                    <a:pt x="33426" y="369443"/>
                  </a:lnTo>
                  <a:lnTo>
                    <a:pt x="33426" y="387946"/>
                  </a:lnTo>
                  <a:lnTo>
                    <a:pt x="40881" y="395452"/>
                  </a:lnTo>
                  <a:lnTo>
                    <a:pt x="59385" y="395452"/>
                  </a:lnTo>
                  <a:lnTo>
                    <a:pt x="66852" y="387946"/>
                  </a:lnTo>
                  <a:lnTo>
                    <a:pt x="66852" y="378688"/>
                  </a:lnTo>
                  <a:lnTo>
                    <a:pt x="66852" y="369443"/>
                  </a:lnTo>
                  <a:close/>
                </a:path>
                <a:path w="441325" h="757554">
                  <a:moveTo>
                    <a:pt x="86906" y="731380"/>
                  </a:moveTo>
                  <a:lnTo>
                    <a:pt x="79438" y="723874"/>
                  </a:lnTo>
                  <a:lnTo>
                    <a:pt x="60947" y="723874"/>
                  </a:lnTo>
                  <a:lnTo>
                    <a:pt x="53479" y="731380"/>
                  </a:lnTo>
                  <a:lnTo>
                    <a:pt x="53479" y="749884"/>
                  </a:lnTo>
                  <a:lnTo>
                    <a:pt x="60947" y="757377"/>
                  </a:lnTo>
                  <a:lnTo>
                    <a:pt x="79438" y="757377"/>
                  </a:lnTo>
                  <a:lnTo>
                    <a:pt x="86906" y="749884"/>
                  </a:lnTo>
                  <a:lnTo>
                    <a:pt x="86906" y="740625"/>
                  </a:lnTo>
                  <a:lnTo>
                    <a:pt x="86906" y="731380"/>
                  </a:lnTo>
                  <a:close/>
                </a:path>
                <a:path w="441325" h="757554">
                  <a:moveTo>
                    <a:pt x="100266" y="7505"/>
                  </a:moveTo>
                  <a:lnTo>
                    <a:pt x="92811" y="0"/>
                  </a:lnTo>
                  <a:lnTo>
                    <a:pt x="74307" y="0"/>
                  </a:lnTo>
                  <a:lnTo>
                    <a:pt x="66852" y="7505"/>
                  </a:lnTo>
                  <a:lnTo>
                    <a:pt x="66852" y="26009"/>
                  </a:lnTo>
                  <a:lnTo>
                    <a:pt x="74307" y="33515"/>
                  </a:lnTo>
                  <a:lnTo>
                    <a:pt x="92811" y="33515"/>
                  </a:lnTo>
                  <a:lnTo>
                    <a:pt x="100266" y="26009"/>
                  </a:lnTo>
                  <a:lnTo>
                    <a:pt x="100266" y="16751"/>
                  </a:lnTo>
                  <a:lnTo>
                    <a:pt x="100266" y="7505"/>
                  </a:lnTo>
                  <a:close/>
                </a:path>
                <a:path w="441325" h="757554">
                  <a:moveTo>
                    <a:pt x="120332" y="369443"/>
                  </a:moveTo>
                  <a:lnTo>
                    <a:pt x="112864" y="361937"/>
                  </a:lnTo>
                  <a:lnTo>
                    <a:pt x="94373" y="361937"/>
                  </a:lnTo>
                  <a:lnTo>
                    <a:pt x="86906" y="369443"/>
                  </a:lnTo>
                  <a:lnTo>
                    <a:pt x="86906" y="387946"/>
                  </a:lnTo>
                  <a:lnTo>
                    <a:pt x="94373" y="395452"/>
                  </a:lnTo>
                  <a:lnTo>
                    <a:pt x="112864" y="395452"/>
                  </a:lnTo>
                  <a:lnTo>
                    <a:pt x="120332" y="387946"/>
                  </a:lnTo>
                  <a:lnTo>
                    <a:pt x="120332" y="378688"/>
                  </a:lnTo>
                  <a:lnTo>
                    <a:pt x="120332" y="369443"/>
                  </a:lnTo>
                  <a:close/>
                </a:path>
                <a:path w="441325" h="757554">
                  <a:moveTo>
                    <a:pt x="140385" y="731380"/>
                  </a:moveTo>
                  <a:lnTo>
                    <a:pt x="132918" y="723874"/>
                  </a:lnTo>
                  <a:lnTo>
                    <a:pt x="114427" y="723874"/>
                  </a:lnTo>
                  <a:lnTo>
                    <a:pt x="106959" y="731380"/>
                  </a:lnTo>
                  <a:lnTo>
                    <a:pt x="106959" y="749884"/>
                  </a:lnTo>
                  <a:lnTo>
                    <a:pt x="114427" y="757377"/>
                  </a:lnTo>
                  <a:lnTo>
                    <a:pt x="132918" y="757377"/>
                  </a:lnTo>
                  <a:lnTo>
                    <a:pt x="140385" y="749884"/>
                  </a:lnTo>
                  <a:lnTo>
                    <a:pt x="140385" y="740625"/>
                  </a:lnTo>
                  <a:lnTo>
                    <a:pt x="140385" y="731380"/>
                  </a:lnTo>
                  <a:close/>
                </a:path>
                <a:path w="441325" h="757554">
                  <a:moveTo>
                    <a:pt x="153758" y="7505"/>
                  </a:moveTo>
                  <a:lnTo>
                    <a:pt x="146291" y="0"/>
                  </a:lnTo>
                  <a:lnTo>
                    <a:pt x="127787" y="0"/>
                  </a:lnTo>
                  <a:lnTo>
                    <a:pt x="120332" y="7505"/>
                  </a:lnTo>
                  <a:lnTo>
                    <a:pt x="120332" y="26009"/>
                  </a:lnTo>
                  <a:lnTo>
                    <a:pt x="127787" y="33515"/>
                  </a:lnTo>
                  <a:lnTo>
                    <a:pt x="146291" y="33515"/>
                  </a:lnTo>
                  <a:lnTo>
                    <a:pt x="153758" y="26009"/>
                  </a:lnTo>
                  <a:lnTo>
                    <a:pt x="153758" y="16751"/>
                  </a:lnTo>
                  <a:lnTo>
                    <a:pt x="153758" y="7505"/>
                  </a:lnTo>
                  <a:close/>
                </a:path>
                <a:path w="441325" h="757554">
                  <a:moveTo>
                    <a:pt x="173812" y="369443"/>
                  </a:moveTo>
                  <a:lnTo>
                    <a:pt x="166344" y="361937"/>
                  </a:lnTo>
                  <a:lnTo>
                    <a:pt x="147853" y="361937"/>
                  </a:lnTo>
                  <a:lnTo>
                    <a:pt x="140385" y="369443"/>
                  </a:lnTo>
                  <a:lnTo>
                    <a:pt x="140385" y="387946"/>
                  </a:lnTo>
                  <a:lnTo>
                    <a:pt x="147853" y="395452"/>
                  </a:lnTo>
                  <a:lnTo>
                    <a:pt x="166344" y="395452"/>
                  </a:lnTo>
                  <a:lnTo>
                    <a:pt x="173812" y="387946"/>
                  </a:lnTo>
                  <a:lnTo>
                    <a:pt x="173812" y="378688"/>
                  </a:lnTo>
                  <a:lnTo>
                    <a:pt x="173812" y="369443"/>
                  </a:lnTo>
                  <a:close/>
                </a:path>
                <a:path w="441325" h="757554">
                  <a:moveTo>
                    <a:pt x="187172" y="731380"/>
                  </a:moveTo>
                  <a:lnTo>
                    <a:pt x="179717" y="723874"/>
                  </a:lnTo>
                  <a:lnTo>
                    <a:pt x="161213" y="723874"/>
                  </a:lnTo>
                  <a:lnTo>
                    <a:pt x="153758" y="731380"/>
                  </a:lnTo>
                  <a:lnTo>
                    <a:pt x="153758" y="749884"/>
                  </a:lnTo>
                  <a:lnTo>
                    <a:pt x="161213" y="757377"/>
                  </a:lnTo>
                  <a:lnTo>
                    <a:pt x="179717" y="757377"/>
                  </a:lnTo>
                  <a:lnTo>
                    <a:pt x="187172" y="749884"/>
                  </a:lnTo>
                  <a:lnTo>
                    <a:pt x="187172" y="740625"/>
                  </a:lnTo>
                  <a:lnTo>
                    <a:pt x="187172" y="731380"/>
                  </a:lnTo>
                  <a:close/>
                </a:path>
                <a:path w="441325" h="757554">
                  <a:moveTo>
                    <a:pt x="207238" y="7505"/>
                  </a:moveTo>
                  <a:lnTo>
                    <a:pt x="199771" y="0"/>
                  </a:lnTo>
                  <a:lnTo>
                    <a:pt x="181267" y="0"/>
                  </a:lnTo>
                  <a:lnTo>
                    <a:pt x="173812" y="7505"/>
                  </a:lnTo>
                  <a:lnTo>
                    <a:pt x="173812" y="26009"/>
                  </a:lnTo>
                  <a:lnTo>
                    <a:pt x="181267" y="33515"/>
                  </a:lnTo>
                  <a:lnTo>
                    <a:pt x="199771" y="33515"/>
                  </a:lnTo>
                  <a:lnTo>
                    <a:pt x="207238" y="26009"/>
                  </a:lnTo>
                  <a:lnTo>
                    <a:pt x="207238" y="16751"/>
                  </a:lnTo>
                  <a:lnTo>
                    <a:pt x="207238" y="7505"/>
                  </a:lnTo>
                  <a:close/>
                </a:path>
                <a:path w="441325" h="757554">
                  <a:moveTo>
                    <a:pt x="220599" y="369443"/>
                  </a:moveTo>
                  <a:lnTo>
                    <a:pt x="213144" y="361937"/>
                  </a:lnTo>
                  <a:lnTo>
                    <a:pt x="194640" y="361937"/>
                  </a:lnTo>
                  <a:lnTo>
                    <a:pt x="187172" y="369443"/>
                  </a:lnTo>
                  <a:lnTo>
                    <a:pt x="187172" y="387946"/>
                  </a:lnTo>
                  <a:lnTo>
                    <a:pt x="194640" y="395452"/>
                  </a:lnTo>
                  <a:lnTo>
                    <a:pt x="213144" y="395452"/>
                  </a:lnTo>
                  <a:lnTo>
                    <a:pt x="220599" y="387946"/>
                  </a:lnTo>
                  <a:lnTo>
                    <a:pt x="220599" y="378688"/>
                  </a:lnTo>
                  <a:lnTo>
                    <a:pt x="220599" y="369443"/>
                  </a:lnTo>
                  <a:close/>
                </a:path>
                <a:path w="441325" h="757554">
                  <a:moveTo>
                    <a:pt x="240665" y="731380"/>
                  </a:moveTo>
                  <a:lnTo>
                    <a:pt x="233197" y="723874"/>
                  </a:lnTo>
                  <a:lnTo>
                    <a:pt x="214693" y="723874"/>
                  </a:lnTo>
                  <a:lnTo>
                    <a:pt x="207238" y="731380"/>
                  </a:lnTo>
                  <a:lnTo>
                    <a:pt x="207238" y="749884"/>
                  </a:lnTo>
                  <a:lnTo>
                    <a:pt x="214693" y="757377"/>
                  </a:lnTo>
                  <a:lnTo>
                    <a:pt x="233197" y="757377"/>
                  </a:lnTo>
                  <a:lnTo>
                    <a:pt x="240665" y="749884"/>
                  </a:lnTo>
                  <a:lnTo>
                    <a:pt x="240665" y="740625"/>
                  </a:lnTo>
                  <a:lnTo>
                    <a:pt x="240665" y="731380"/>
                  </a:lnTo>
                  <a:close/>
                </a:path>
                <a:path w="441325" h="757554">
                  <a:moveTo>
                    <a:pt x="254025" y="7505"/>
                  </a:moveTo>
                  <a:lnTo>
                    <a:pt x="246557" y="0"/>
                  </a:lnTo>
                  <a:lnTo>
                    <a:pt x="228066" y="0"/>
                  </a:lnTo>
                  <a:lnTo>
                    <a:pt x="220599" y="7505"/>
                  </a:lnTo>
                  <a:lnTo>
                    <a:pt x="220599" y="26009"/>
                  </a:lnTo>
                  <a:lnTo>
                    <a:pt x="228066" y="33515"/>
                  </a:lnTo>
                  <a:lnTo>
                    <a:pt x="246557" y="33515"/>
                  </a:lnTo>
                  <a:lnTo>
                    <a:pt x="254025" y="26009"/>
                  </a:lnTo>
                  <a:lnTo>
                    <a:pt x="254025" y="16751"/>
                  </a:lnTo>
                  <a:lnTo>
                    <a:pt x="254025" y="7505"/>
                  </a:lnTo>
                  <a:close/>
                </a:path>
                <a:path w="441325" h="757554">
                  <a:moveTo>
                    <a:pt x="274078" y="369443"/>
                  </a:moveTo>
                  <a:lnTo>
                    <a:pt x="266623" y="361937"/>
                  </a:lnTo>
                  <a:lnTo>
                    <a:pt x="248119" y="361937"/>
                  </a:lnTo>
                  <a:lnTo>
                    <a:pt x="240665" y="369443"/>
                  </a:lnTo>
                  <a:lnTo>
                    <a:pt x="240665" y="387946"/>
                  </a:lnTo>
                  <a:lnTo>
                    <a:pt x="248119" y="395452"/>
                  </a:lnTo>
                  <a:lnTo>
                    <a:pt x="266623" y="395452"/>
                  </a:lnTo>
                  <a:lnTo>
                    <a:pt x="274078" y="387946"/>
                  </a:lnTo>
                  <a:lnTo>
                    <a:pt x="274078" y="378688"/>
                  </a:lnTo>
                  <a:lnTo>
                    <a:pt x="274078" y="369443"/>
                  </a:lnTo>
                  <a:close/>
                </a:path>
                <a:path w="441325" h="757554">
                  <a:moveTo>
                    <a:pt x="287451" y="731380"/>
                  </a:moveTo>
                  <a:lnTo>
                    <a:pt x="279984" y="723874"/>
                  </a:lnTo>
                  <a:lnTo>
                    <a:pt x="261493" y="723874"/>
                  </a:lnTo>
                  <a:lnTo>
                    <a:pt x="254025" y="731380"/>
                  </a:lnTo>
                  <a:lnTo>
                    <a:pt x="254025" y="749884"/>
                  </a:lnTo>
                  <a:lnTo>
                    <a:pt x="261493" y="757377"/>
                  </a:lnTo>
                  <a:lnTo>
                    <a:pt x="279984" y="757377"/>
                  </a:lnTo>
                  <a:lnTo>
                    <a:pt x="287451" y="749884"/>
                  </a:lnTo>
                  <a:lnTo>
                    <a:pt x="287451" y="740625"/>
                  </a:lnTo>
                  <a:lnTo>
                    <a:pt x="287451" y="731380"/>
                  </a:lnTo>
                  <a:close/>
                </a:path>
                <a:path w="441325" h="757554">
                  <a:moveTo>
                    <a:pt x="307505" y="7505"/>
                  </a:moveTo>
                  <a:lnTo>
                    <a:pt x="300050" y="0"/>
                  </a:lnTo>
                  <a:lnTo>
                    <a:pt x="281546" y="0"/>
                  </a:lnTo>
                  <a:lnTo>
                    <a:pt x="274078" y="7505"/>
                  </a:lnTo>
                  <a:lnTo>
                    <a:pt x="274078" y="26009"/>
                  </a:lnTo>
                  <a:lnTo>
                    <a:pt x="281546" y="33515"/>
                  </a:lnTo>
                  <a:lnTo>
                    <a:pt x="300050" y="33515"/>
                  </a:lnTo>
                  <a:lnTo>
                    <a:pt x="307505" y="26009"/>
                  </a:lnTo>
                  <a:lnTo>
                    <a:pt x="307505" y="16751"/>
                  </a:lnTo>
                  <a:lnTo>
                    <a:pt x="307505" y="7505"/>
                  </a:lnTo>
                  <a:close/>
                </a:path>
                <a:path w="441325" h="757554">
                  <a:moveTo>
                    <a:pt x="320878" y="369443"/>
                  </a:moveTo>
                  <a:lnTo>
                    <a:pt x="313410" y="361937"/>
                  </a:lnTo>
                  <a:lnTo>
                    <a:pt x="294919" y="361937"/>
                  </a:lnTo>
                  <a:lnTo>
                    <a:pt x="287451" y="369443"/>
                  </a:lnTo>
                  <a:lnTo>
                    <a:pt x="287451" y="387946"/>
                  </a:lnTo>
                  <a:lnTo>
                    <a:pt x="294919" y="395452"/>
                  </a:lnTo>
                  <a:lnTo>
                    <a:pt x="313410" y="395452"/>
                  </a:lnTo>
                  <a:lnTo>
                    <a:pt x="320878" y="387946"/>
                  </a:lnTo>
                  <a:lnTo>
                    <a:pt x="320878" y="378688"/>
                  </a:lnTo>
                  <a:lnTo>
                    <a:pt x="320878" y="369443"/>
                  </a:lnTo>
                  <a:close/>
                </a:path>
                <a:path w="441325" h="757554">
                  <a:moveTo>
                    <a:pt x="340931" y="731380"/>
                  </a:moveTo>
                  <a:lnTo>
                    <a:pt x="333463" y="723874"/>
                  </a:lnTo>
                  <a:lnTo>
                    <a:pt x="314972" y="723874"/>
                  </a:lnTo>
                  <a:lnTo>
                    <a:pt x="307505" y="731380"/>
                  </a:lnTo>
                  <a:lnTo>
                    <a:pt x="307505" y="749884"/>
                  </a:lnTo>
                  <a:lnTo>
                    <a:pt x="314972" y="757377"/>
                  </a:lnTo>
                  <a:lnTo>
                    <a:pt x="333463" y="757377"/>
                  </a:lnTo>
                  <a:lnTo>
                    <a:pt x="340931" y="749884"/>
                  </a:lnTo>
                  <a:lnTo>
                    <a:pt x="340931" y="740625"/>
                  </a:lnTo>
                  <a:lnTo>
                    <a:pt x="340931" y="731380"/>
                  </a:lnTo>
                  <a:close/>
                </a:path>
                <a:path w="441325" h="757554">
                  <a:moveTo>
                    <a:pt x="354304" y="7505"/>
                  </a:moveTo>
                  <a:lnTo>
                    <a:pt x="346837" y="0"/>
                  </a:lnTo>
                  <a:lnTo>
                    <a:pt x="328345" y="0"/>
                  </a:lnTo>
                  <a:lnTo>
                    <a:pt x="320878" y="7505"/>
                  </a:lnTo>
                  <a:lnTo>
                    <a:pt x="320878" y="26009"/>
                  </a:lnTo>
                  <a:lnTo>
                    <a:pt x="328345" y="33515"/>
                  </a:lnTo>
                  <a:lnTo>
                    <a:pt x="346837" y="33515"/>
                  </a:lnTo>
                  <a:lnTo>
                    <a:pt x="354304" y="26009"/>
                  </a:lnTo>
                  <a:lnTo>
                    <a:pt x="354304" y="16751"/>
                  </a:lnTo>
                  <a:lnTo>
                    <a:pt x="354304" y="7505"/>
                  </a:lnTo>
                  <a:close/>
                </a:path>
                <a:path w="441325" h="757554">
                  <a:moveTo>
                    <a:pt x="374357" y="369443"/>
                  </a:moveTo>
                  <a:lnTo>
                    <a:pt x="366890" y="361937"/>
                  </a:lnTo>
                  <a:lnTo>
                    <a:pt x="348399" y="361937"/>
                  </a:lnTo>
                  <a:lnTo>
                    <a:pt x="340931" y="369443"/>
                  </a:lnTo>
                  <a:lnTo>
                    <a:pt x="340931" y="387946"/>
                  </a:lnTo>
                  <a:lnTo>
                    <a:pt x="348399" y="395452"/>
                  </a:lnTo>
                  <a:lnTo>
                    <a:pt x="366890" y="395452"/>
                  </a:lnTo>
                  <a:lnTo>
                    <a:pt x="374357" y="387946"/>
                  </a:lnTo>
                  <a:lnTo>
                    <a:pt x="374357" y="378688"/>
                  </a:lnTo>
                  <a:lnTo>
                    <a:pt x="374357" y="369443"/>
                  </a:lnTo>
                  <a:close/>
                </a:path>
                <a:path w="441325" h="757554">
                  <a:moveTo>
                    <a:pt x="387731" y="731380"/>
                  </a:moveTo>
                  <a:lnTo>
                    <a:pt x="380263" y="723874"/>
                  </a:lnTo>
                  <a:lnTo>
                    <a:pt x="361772" y="723874"/>
                  </a:lnTo>
                  <a:lnTo>
                    <a:pt x="354304" y="731380"/>
                  </a:lnTo>
                  <a:lnTo>
                    <a:pt x="354304" y="749884"/>
                  </a:lnTo>
                  <a:lnTo>
                    <a:pt x="361772" y="757377"/>
                  </a:lnTo>
                  <a:lnTo>
                    <a:pt x="380263" y="757377"/>
                  </a:lnTo>
                  <a:lnTo>
                    <a:pt x="387731" y="749884"/>
                  </a:lnTo>
                  <a:lnTo>
                    <a:pt x="387731" y="740625"/>
                  </a:lnTo>
                  <a:lnTo>
                    <a:pt x="387731" y="731380"/>
                  </a:lnTo>
                  <a:close/>
                </a:path>
                <a:path w="441325" h="757554">
                  <a:moveTo>
                    <a:pt x="407784" y="7505"/>
                  </a:moveTo>
                  <a:lnTo>
                    <a:pt x="400316" y="0"/>
                  </a:lnTo>
                  <a:lnTo>
                    <a:pt x="381825" y="0"/>
                  </a:lnTo>
                  <a:lnTo>
                    <a:pt x="374357" y="7505"/>
                  </a:lnTo>
                  <a:lnTo>
                    <a:pt x="374357" y="26009"/>
                  </a:lnTo>
                  <a:lnTo>
                    <a:pt x="381825" y="33515"/>
                  </a:lnTo>
                  <a:lnTo>
                    <a:pt x="400316" y="33515"/>
                  </a:lnTo>
                  <a:lnTo>
                    <a:pt x="407784" y="26009"/>
                  </a:lnTo>
                  <a:lnTo>
                    <a:pt x="407784" y="16751"/>
                  </a:lnTo>
                  <a:lnTo>
                    <a:pt x="407784" y="7505"/>
                  </a:lnTo>
                  <a:close/>
                </a:path>
                <a:path w="441325" h="757554">
                  <a:moveTo>
                    <a:pt x="421157" y="369443"/>
                  </a:moveTo>
                  <a:lnTo>
                    <a:pt x="413689" y="361937"/>
                  </a:lnTo>
                  <a:lnTo>
                    <a:pt x="395198" y="361937"/>
                  </a:lnTo>
                  <a:lnTo>
                    <a:pt x="387731" y="369443"/>
                  </a:lnTo>
                  <a:lnTo>
                    <a:pt x="387731" y="387946"/>
                  </a:lnTo>
                  <a:lnTo>
                    <a:pt x="395198" y="395452"/>
                  </a:lnTo>
                  <a:lnTo>
                    <a:pt x="413689" y="395452"/>
                  </a:lnTo>
                  <a:lnTo>
                    <a:pt x="421157" y="387946"/>
                  </a:lnTo>
                  <a:lnTo>
                    <a:pt x="421157" y="378688"/>
                  </a:lnTo>
                  <a:lnTo>
                    <a:pt x="421157" y="369443"/>
                  </a:lnTo>
                  <a:close/>
                </a:path>
                <a:path w="441325" h="757554">
                  <a:moveTo>
                    <a:pt x="441210" y="731380"/>
                  </a:moveTo>
                  <a:lnTo>
                    <a:pt x="433743" y="723874"/>
                  </a:lnTo>
                  <a:lnTo>
                    <a:pt x="415251" y="723874"/>
                  </a:lnTo>
                  <a:lnTo>
                    <a:pt x="407784" y="731380"/>
                  </a:lnTo>
                  <a:lnTo>
                    <a:pt x="407784" y="749884"/>
                  </a:lnTo>
                  <a:lnTo>
                    <a:pt x="415251" y="757377"/>
                  </a:lnTo>
                  <a:lnTo>
                    <a:pt x="433743" y="757377"/>
                  </a:lnTo>
                  <a:lnTo>
                    <a:pt x="441210" y="749884"/>
                  </a:lnTo>
                  <a:lnTo>
                    <a:pt x="441210" y="740625"/>
                  </a:lnTo>
                  <a:lnTo>
                    <a:pt x="441210" y="731380"/>
                  </a:lnTo>
                  <a:close/>
                </a:path>
              </a:pathLst>
            </a:custGeom>
            <a:solidFill>
              <a:srgbClr val="1F487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8" name="object 58"/>
            <p:cNvSpPr/>
            <p:nvPr/>
          </p:nvSpPr>
          <p:spPr>
            <a:xfrm>
              <a:off x="4059530" y="5797755"/>
              <a:ext cx="2032635" cy="979169"/>
            </a:xfrm>
            <a:custGeom>
              <a:avLst/>
              <a:gdLst/>
              <a:ahLst/>
              <a:cxnLst/>
              <a:rect l="l" t="t" r="r" b="b"/>
              <a:pathLst>
                <a:path w="2032635" h="979170">
                  <a:moveTo>
                    <a:pt x="2032253" y="0"/>
                  </a:moveTo>
                  <a:lnTo>
                    <a:pt x="0" y="0"/>
                  </a:lnTo>
                  <a:lnTo>
                    <a:pt x="0" y="978569"/>
                  </a:lnTo>
                  <a:lnTo>
                    <a:pt x="2032253" y="978569"/>
                  </a:lnTo>
                  <a:lnTo>
                    <a:pt x="2032253"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9" name="object 59"/>
            <p:cNvSpPr/>
            <p:nvPr/>
          </p:nvSpPr>
          <p:spPr>
            <a:xfrm>
              <a:off x="4256739" y="5921751"/>
              <a:ext cx="1711960" cy="730885"/>
            </a:xfrm>
            <a:custGeom>
              <a:avLst/>
              <a:gdLst/>
              <a:ahLst/>
              <a:cxnLst/>
              <a:rect l="l" t="t" r="r" b="b"/>
              <a:pathLst>
                <a:path w="1711960" h="730884">
                  <a:moveTo>
                    <a:pt x="33425" y="0"/>
                  </a:moveTo>
                  <a:lnTo>
                    <a:pt x="1711371" y="0"/>
                  </a:lnTo>
                </a:path>
                <a:path w="1711960" h="730884">
                  <a:moveTo>
                    <a:pt x="33425" y="730576"/>
                  </a:moveTo>
                  <a:lnTo>
                    <a:pt x="33425" y="0"/>
                  </a:lnTo>
                </a:path>
                <a:path w="1711960" h="730884">
                  <a:moveTo>
                    <a:pt x="0" y="730576"/>
                  </a:moveTo>
                  <a:lnTo>
                    <a:pt x="33425" y="730576"/>
                  </a:lnTo>
                </a:path>
                <a:path w="1711960" h="730884">
                  <a:moveTo>
                    <a:pt x="0" y="0"/>
                  </a:moveTo>
                  <a:lnTo>
                    <a:pt x="33425" y="0"/>
                  </a:lnTo>
                </a:path>
                <a:path w="1711960" h="730884">
                  <a:moveTo>
                    <a:pt x="33425" y="730576"/>
                  </a:moveTo>
                  <a:lnTo>
                    <a:pt x="1711371" y="730576"/>
                  </a:lnTo>
                </a:path>
              </a:pathLst>
            </a:custGeom>
            <a:ln w="6700">
              <a:solidFill>
                <a:srgbClr val="85858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0" name="object 60"/>
            <p:cNvSpPr/>
            <p:nvPr/>
          </p:nvSpPr>
          <p:spPr>
            <a:xfrm>
              <a:off x="4286821" y="5905004"/>
              <a:ext cx="1290320" cy="757555"/>
            </a:xfrm>
            <a:custGeom>
              <a:avLst/>
              <a:gdLst/>
              <a:ahLst/>
              <a:cxnLst/>
              <a:rect l="l" t="t" r="r" b="b"/>
              <a:pathLst>
                <a:path w="1290320" h="757554">
                  <a:moveTo>
                    <a:pt x="33413" y="7505"/>
                  </a:moveTo>
                  <a:lnTo>
                    <a:pt x="25958" y="0"/>
                  </a:lnTo>
                  <a:lnTo>
                    <a:pt x="7454" y="0"/>
                  </a:lnTo>
                  <a:lnTo>
                    <a:pt x="0" y="7505"/>
                  </a:lnTo>
                  <a:lnTo>
                    <a:pt x="0" y="26009"/>
                  </a:lnTo>
                  <a:lnTo>
                    <a:pt x="7454" y="33515"/>
                  </a:lnTo>
                  <a:lnTo>
                    <a:pt x="25958" y="33515"/>
                  </a:lnTo>
                  <a:lnTo>
                    <a:pt x="33413" y="26009"/>
                  </a:lnTo>
                  <a:lnTo>
                    <a:pt x="33413" y="16751"/>
                  </a:lnTo>
                  <a:lnTo>
                    <a:pt x="33413" y="7505"/>
                  </a:lnTo>
                  <a:close/>
                </a:path>
                <a:path w="1290320" h="757554">
                  <a:moveTo>
                    <a:pt x="53479" y="369443"/>
                  </a:moveTo>
                  <a:lnTo>
                    <a:pt x="46012" y="361937"/>
                  </a:lnTo>
                  <a:lnTo>
                    <a:pt x="27520" y="361937"/>
                  </a:lnTo>
                  <a:lnTo>
                    <a:pt x="20053" y="369443"/>
                  </a:lnTo>
                  <a:lnTo>
                    <a:pt x="20053" y="387946"/>
                  </a:lnTo>
                  <a:lnTo>
                    <a:pt x="27520" y="395452"/>
                  </a:lnTo>
                  <a:lnTo>
                    <a:pt x="46012" y="395452"/>
                  </a:lnTo>
                  <a:lnTo>
                    <a:pt x="53479" y="387946"/>
                  </a:lnTo>
                  <a:lnTo>
                    <a:pt x="53479" y="378688"/>
                  </a:lnTo>
                  <a:lnTo>
                    <a:pt x="53479" y="369443"/>
                  </a:lnTo>
                  <a:close/>
                </a:path>
                <a:path w="1290320" h="757554">
                  <a:moveTo>
                    <a:pt x="66840" y="731380"/>
                  </a:moveTo>
                  <a:lnTo>
                    <a:pt x="59385" y="723874"/>
                  </a:lnTo>
                  <a:lnTo>
                    <a:pt x="40881" y="723874"/>
                  </a:lnTo>
                  <a:lnTo>
                    <a:pt x="33413" y="731380"/>
                  </a:lnTo>
                  <a:lnTo>
                    <a:pt x="33413" y="749884"/>
                  </a:lnTo>
                  <a:lnTo>
                    <a:pt x="40881" y="757377"/>
                  </a:lnTo>
                  <a:lnTo>
                    <a:pt x="59385" y="757377"/>
                  </a:lnTo>
                  <a:lnTo>
                    <a:pt x="66840" y="749884"/>
                  </a:lnTo>
                  <a:lnTo>
                    <a:pt x="66840" y="740625"/>
                  </a:lnTo>
                  <a:lnTo>
                    <a:pt x="66840" y="731380"/>
                  </a:lnTo>
                  <a:close/>
                </a:path>
                <a:path w="1290320" h="757554">
                  <a:moveTo>
                    <a:pt x="86906" y="7505"/>
                  </a:moveTo>
                  <a:lnTo>
                    <a:pt x="79438" y="0"/>
                  </a:lnTo>
                  <a:lnTo>
                    <a:pt x="60934" y="0"/>
                  </a:lnTo>
                  <a:lnTo>
                    <a:pt x="53479" y="7505"/>
                  </a:lnTo>
                  <a:lnTo>
                    <a:pt x="53479" y="26009"/>
                  </a:lnTo>
                  <a:lnTo>
                    <a:pt x="60934" y="33515"/>
                  </a:lnTo>
                  <a:lnTo>
                    <a:pt x="79438" y="33515"/>
                  </a:lnTo>
                  <a:lnTo>
                    <a:pt x="86906" y="26009"/>
                  </a:lnTo>
                  <a:lnTo>
                    <a:pt x="86906" y="16751"/>
                  </a:lnTo>
                  <a:lnTo>
                    <a:pt x="86906" y="7505"/>
                  </a:lnTo>
                  <a:close/>
                </a:path>
                <a:path w="1290320" h="757554">
                  <a:moveTo>
                    <a:pt x="100266" y="369443"/>
                  </a:moveTo>
                  <a:lnTo>
                    <a:pt x="92798" y="361937"/>
                  </a:lnTo>
                  <a:lnTo>
                    <a:pt x="74307" y="361937"/>
                  </a:lnTo>
                  <a:lnTo>
                    <a:pt x="66840" y="369443"/>
                  </a:lnTo>
                  <a:lnTo>
                    <a:pt x="66840" y="387946"/>
                  </a:lnTo>
                  <a:lnTo>
                    <a:pt x="74307" y="395452"/>
                  </a:lnTo>
                  <a:lnTo>
                    <a:pt x="92798" y="395452"/>
                  </a:lnTo>
                  <a:lnTo>
                    <a:pt x="100266" y="387946"/>
                  </a:lnTo>
                  <a:lnTo>
                    <a:pt x="100266" y="378688"/>
                  </a:lnTo>
                  <a:lnTo>
                    <a:pt x="100266" y="369443"/>
                  </a:lnTo>
                  <a:close/>
                </a:path>
                <a:path w="1290320" h="757554">
                  <a:moveTo>
                    <a:pt x="120319" y="731380"/>
                  </a:moveTo>
                  <a:lnTo>
                    <a:pt x="112864" y="723874"/>
                  </a:lnTo>
                  <a:lnTo>
                    <a:pt x="94361" y="723874"/>
                  </a:lnTo>
                  <a:lnTo>
                    <a:pt x="86906" y="731380"/>
                  </a:lnTo>
                  <a:lnTo>
                    <a:pt x="86906" y="749884"/>
                  </a:lnTo>
                  <a:lnTo>
                    <a:pt x="94361" y="757377"/>
                  </a:lnTo>
                  <a:lnTo>
                    <a:pt x="112864" y="757377"/>
                  </a:lnTo>
                  <a:lnTo>
                    <a:pt x="120319" y="749884"/>
                  </a:lnTo>
                  <a:lnTo>
                    <a:pt x="120319" y="740625"/>
                  </a:lnTo>
                  <a:lnTo>
                    <a:pt x="120319" y="731380"/>
                  </a:lnTo>
                  <a:close/>
                </a:path>
                <a:path w="1290320" h="757554">
                  <a:moveTo>
                    <a:pt x="133692" y="7505"/>
                  </a:moveTo>
                  <a:lnTo>
                    <a:pt x="126225" y="0"/>
                  </a:lnTo>
                  <a:lnTo>
                    <a:pt x="107734" y="0"/>
                  </a:lnTo>
                  <a:lnTo>
                    <a:pt x="100266" y="7505"/>
                  </a:lnTo>
                  <a:lnTo>
                    <a:pt x="100266" y="26009"/>
                  </a:lnTo>
                  <a:lnTo>
                    <a:pt x="107734" y="33515"/>
                  </a:lnTo>
                  <a:lnTo>
                    <a:pt x="126225" y="33515"/>
                  </a:lnTo>
                  <a:lnTo>
                    <a:pt x="133692" y="26009"/>
                  </a:lnTo>
                  <a:lnTo>
                    <a:pt x="133692" y="16751"/>
                  </a:lnTo>
                  <a:lnTo>
                    <a:pt x="133692" y="7505"/>
                  </a:lnTo>
                  <a:close/>
                </a:path>
                <a:path w="1290320" h="757554">
                  <a:moveTo>
                    <a:pt x="153746" y="369443"/>
                  </a:moveTo>
                  <a:lnTo>
                    <a:pt x="146291" y="361937"/>
                  </a:lnTo>
                  <a:lnTo>
                    <a:pt x="127787" y="361937"/>
                  </a:lnTo>
                  <a:lnTo>
                    <a:pt x="120319" y="369443"/>
                  </a:lnTo>
                  <a:lnTo>
                    <a:pt x="120319" y="387946"/>
                  </a:lnTo>
                  <a:lnTo>
                    <a:pt x="127787" y="395452"/>
                  </a:lnTo>
                  <a:lnTo>
                    <a:pt x="146291" y="395452"/>
                  </a:lnTo>
                  <a:lnTo>
                    <a:pt x="153746" y="387946"/>
                  </a:lnTo>
                  <a:lnTo>
                    <a:pt x="153746" y="378688"/>
                  </a:lnTo>
                  <a:lnTo>
                    <a:pt x="153746" y="369443"/>
                  </a:lnTo>
                  <a:close/>
                </a:path>
                <a:path w="1290320" h="757554">
                  <a:moveTo>
                    <a:pt x="167119" y="731380"/>
                  </a:moveTo>
                  <a:lnTo>
                    <a:pt x="159651" y="723874"/>
                  </a:lnTo>
                  <a:lnTo>
                    <a:pt x="141160" y="723874"/>
                  </a:lnTo>
                  <a:lnTo>
                    <a:pt x="133692" y="731380"/>
                  </a:lnTo>
                  <a:lnTo>
                    <a:pt x="133692" y="749884"/>
                  </a:lnTo>
                  <a:lnTo>
                    <a:pt x="141160" y="757377"/>
                  </a:lnTo>
                  <a:lnTo>
                    <a:pt x="159651" y="757377"/>
                  </a:lnTo>
                  <a:lnTo>
                    <a:pt x="167119" y="749884"/>
                  </a:lnTo>
                  <a:lnTo>
                    <a:pt x="167119" y="740625"/>
                  </a:lnTo>
                  <a:lnTo>
                    <a:pt x="167119" y="731380"/>
                  </a:lnTo>
                  <a:close/>
                </a:path>
                <a:path w="1290320" h="757554">
                  <a:moveTo>
                    <a:pt x="187172" y="7505"/>
                  </a:moveTo>
                  <a:lnTo>
                    <a:pt x="179705" y="0"/>
                  </a:lnTo>
                  <a:lnTo>
                    <a:pt x="161213" y="0"/>
                  </a:lnTo>
                  <a:lnTo>
                    <a:pt x="153746" y="7505"/>
                  </a:lnTo>
                  <a:lnTo>
                    <a:pt x="153746" y="26009"/>
                  </a:lnTo>
                  <a:lnTo>
                    <a:pt x="161213" y="33515"/>
                  </a:lnTo>
                  <a:lnTo>
                    <a:pt x="179705" y="33515"/>
                  </a:lnTo>
                  <a:lnTo>
                    <a:pt x="187172" y="26009"/>
                  </a:lnTo>
                  <a:lnTo>
                    <a:pt x="187172" y="16751"/>
                  </a:lnTo>
                  <a:lnTo>
                    <a:pt x="187172" y="7505"/>
                  </a:lnTo>
                  <a:close/>
                </a:path>
                <a:path w="1290320" h="757554">
                  <a:moveTo>
                    <a:pt x="200545" y="369443"/>
                  </a:moveTo>
                  <a:lnTo>
                    <a:pt x="193078" y="361937"/>
                  </a:lnTo>
                  <a:lnTo>
                    <a:pt x="174586" y="361937"/>
                  </a:lnTo>
                  <a:lnTo>
                    <a:pt x="167119" y="369443"/>
                  </a:lnTo>
                  <a:lnTo>
                    <a:pt x="167119" y="387946"/>
                  </a:lnTo>
                  <a:lnTo>
                    <a:pt x="174586" y="395452"/>
                  </a:lnTo>
                  <a:lnTo>
                    <a:pt x="193078" y="395452"/>
                  </a:lnTo>
                  <a:lnTo>
                    <a:pt x="200545" y="387946"/>
                  </a:lnTo>
                  <a:lnTo>
                    <a:pt x="200545" y="378688"/>
                  </a:lnTo>
                  <a:lnTo>
                    <a:pt x="200545" y="369443"/>
                  </a:lnTo>
                  <a:close/>
                </a:path>
                <a:path w="1290320" h="757554">
                  <a:moveTo>
                    <a:pt x="220599" y="731380"/>
                  </a:moveTo>
                  <a:lnTo>
                    <a:pt x="213131" y="723874"/>
                  </a:lnTo>
                  <a:lnTo>
                    <a:pt x="194640" y="723874"/>
                  </a:lnTo>
                  <a:lnTo>
                    <a:pt x="187172" y="731380"/>
                  </a:lnTo>
                  <a:lnTo>
                    <a:pt x="187172" y="749884"/>
                  </a:lnTo>
                  <a:lnTo>
                    <a:pt x="194640" y="757377"/>
                  </a:lnTo>
                  <a:lnTo>
                    <a:pt x="213131" y="757377"/>
                  </a:lnTo>
                  <a:lnTo>
                    <a:pt x="220599" y="749884"/>
                  </a:lnTo>
                  <a:lnTo>
                    <a:pt x="220599" y="740625"/>
                  </a:lnTo>
                  <a:lnTo>
                    <a:pt x="220599" y="731380"/>
                  </a:lnTo>
                  <a:close/>
                </a:path>
                <a:path w="1290320" h="757554">
                  <a:moveTo>
                    <a:pt x="233972" y="7505"/>
                  </a:moveTo>
                  <a:lnTo>
                    <a:pt x="226504" y="0"/>
                  </a:lnTo>
                  <a:lnTo>
                    <a:pt x="208013" y="0"/>
                  </a:lnTo>
                  <a:lnTo>
                    <a:pt x="200545" y="7505"/>
                  </a:lnTo>
                  <a:lnTo>
                    <a:pt x="200545" y="26009"/>
                  </a:lnTo>
                  <a:lnTo>
                    <a:pt x="208013" y="33515"/>
                  </a:lnTo>
                  <a:lnTo>
                    <a:pt x="226504" y="33515"/>
                  </a:lnTo>
                  <a:lnTo>
                    <a:pt x="233972" y="26009"/>
                  </a:lnTo>
                  <a:lnTo>
                    <a:pt x="233972" y="16751"/>
                  </a:lnTo>
                  <a:lnTo>
                    <a:pt x="233972" y="7505"/>
                  </a:lnTo>
                  <a:close/>
                </a:path>
                <a:path w="1290320" h="757554">
                  <a:moveTo>
                    <a:pt x="254025" y="369443"/>
                  </a:moveTo>
                  <a:lnTo>
                    <a:pt x="246557" y="361937"/>
                  </a:lnTo>
                  <a:lnTo>
                    <a:pt x="228066" y="361937"/>
                  </a:lnTo>
                  <a:lnTo>
                    <a:pt x="220599" y="369443"/>
                  </a:lnTo>
                  <a:lnTo>
                    <a:pt x="220599" y="387946"/>
                  </a:lnTo>
                  <a:lnTo>
                    <a:pt x="228066" y="395452"/>
                  </a:lnTo>
                  <a:lnTo>
                    <a:pt x="246557" y="395452"/>
                  </a:lnTo>
                  <a:lnTo>
                    <a:pt x="254025" y="387946"/>
                  </a:lnTo>
                  <a:lnTo>
                    <a:pt x="254025" y="378688"/>
                  </a:lnTo>
                  <a:lnTo>
                    <a:pt x="254025" y="369443"/>
                  </a:lnTo>
                  <a:close/>
                </a:path>
                <a:path w="1290320" h="757554">
                  <a:moveTo>
                    <a:pt x="267398" y="731380"/>
                  </a:moveTo>
                  <a:lnTo>
                    <a:pt x="259930" y="723874"/>
                  </a:lnTo>
                  <a:lnTo>
                    <a:pt x="241439" y="723874"/>
                  </a:lnTo>
                  <a:lnTo>
                    <a:pt x="233972" y="731380"/>
                  </a:lnTo>
                  <a:lnTo>
                    <a:pt x="233972" y="749884"/>
                  </a:lnTo>
                  <a:lnTo>
                    <a:pt x="241439" y="757377"/>
                  </a:lnTo>
                  <a:lnTo>
                    <a:pt x="259930" y="757377"/>
                  </a:lnTo>
                  <a:lnTo>
                    <a:pt x="267398" y="749884"/>
                  </a:lnTo>
                  <a:lnTo>
                    <a:pt x="267398" y="740625"/>
                  </a:lnTo>
                  <a:lnTo>
                    <a:pt x="267398" y="731380"/>
                  </a:lnTo>
                  <a:close/>
                </a:path>
                <a:path w="1290320" h="757554">
                  <a:moveTo>
                    <a:pt x="287451" y="7505"/>
                  </a:moveTo>
                  <a:lnTo>
                    <a:pt x="279984" y="0"/>
                  </a:lnTo>
                  <a:lnTo>
                    <a:pt x="261493" y="0"/>
                  </a:lnTo>
                  <a:lnTo>
                    <a:pt x="254025" y="7505"/>
                  </a:lnTo>
                  <a:lnTo>
                    <a:pt x="254025" y="26009"/>
                  </a:lnTo>
                  <a:lnTo>
                    <a:pt x="261493" y="33515"/>
                  </a:lnTo>
                  <a:lnTo>
                    <a:pt x="279984" y="33515"/>
                  </a:lnTo>
                  <a:lnTo>
                    <a:pt x="287451" y="26009"/>
                  </a:lnTo>
                  <a:lnTo>
                    <a:pt x="287451" y="16751"/>
                  </a:lnTo>
                  <a:lnTo>
                    <a:pt x="287451" y="7505"/>
                  </a:lnTo>
                  <a:close/>
                </a:path>
                <a:path w="1290320" h="757554">
                  <a:moveTo>
                    <a:pt x="300824" y="369443"/>
                  </a:moveTo>
                  <a:lnTo>
                    <a:pt x="293357" y="361937"/>
                  </a:lnTo>
                  <a:lnTo>
                    <a:pt x="274866" y="361937"/>
                  </a:lnTo>
                  <a:lnTo>
                    <a:pt x="267398" y="369443"/>
                  </a:lnTo>
                  <a:lnTo>
                    <a:pt x="267398" y="387946"/>
                  </a:lnTo>
                  <a:lnTo>
                    <a:pt x="274866" y="395452"/>
                  </a:lnTo>
                  <a:lnTo>
                    <a:pt x="293357" y="395452"/>
                  </a:lnTo>
                  <a:lnTo>
                    <a:pt x="300824" y="387946"/>
                  </a:lnTo>
                  <a:lnTo>
                    <a:pt x="300824" y="378688"/>
                  </a:lnTo>
                  <a:lnTo>
                    <a:pt x="300824" y="369443"/>
                  </a:lnTo>
                  <a:close/>
                </a:path>
                <a:path w="1290320" h="757554">
                  <a:moveTo>
                    <a:pt x="320878" y="731380"/>
                  </a:moveTo>
                  <a:lnTo>
                    <a:pt x="313410" y="723874"/>
                  </a:lnTo>
                  <a:lnTo>
                    <a:pt x="294919" y="723874"/>
                  </a:lnTo>
                  <a:lnTo>
                    <a:pt x="287451" y="731380"/>
                  </a:lnTo>
                  <a:lnTo>
                    <a:pt x="287451" y="749884"/>
                  </a:lnTo>
                  <a:lnTo>
                    <a:pt x="294919" y="757377"/>
                  </a:lnTo>
                  <a:lnTo>
                    <a:pt x="313410" y="757377"/>
                  </a:lnTo>
                  <a:lnTo>
                    <a:pt x="320878" y="749884"/>
                  </a:lnTo>
                  <a:lnTo>
                    <a:pt x="320878" y="740625"/>
                  </a:lnTo>
                  <a:lnTo>
                    <a:pt x="320878" y="731380"/>
                  </a:lnTo>
                  <a:close/>
                </a:path>
                <a:path w="1290320" h="757554">
                  <a:moveTo>
                    <a:pt x="334251" y="7505"/>
                  </a:moveTo>
                  <a:lnTo>
                    <a:pt x="326783" y="0"/>
                  </a:lnTo>
                  <a:lnTo>
                    <a:pt x="308292" y="0"/>
                  </a:lnTo>
                  <a:lnTo>
                    <a:pt x="300824" y="7505"/>
                  </a:lnTo>
                  <a:lnTo>
                    <a:pt x="300824" y="26009"/>
                  </a:lnTo>
                  <a:lnTo>
                    <a:pt x="308292" y="33515"/>
                  </a:lnTo>
                  <a:lnTo>
                    <a:pt x="326783" y="33515"/>
                  </a:lnTo>
                  <a:lnTo>
                    <a:pt x="334251" y="26009"/>
                  </a:lnTo>
                  <a:lnTo>
                    <a:pt x="334251" y="16751"/>
                  </a:lnTo>
                  <a:lnTo>
                    <a:pt x="334251" y="7505"/>
                  </a:lnTo>
                  <a:close/>
                </a:path>
                <a:path w="1290320" h="757554">
                  <a:moveTo>
                    <a:pt x="354304" y="369443"/>
                  </a:moveTo>
                  <a:lnTo>
                    <a:pt x="346837" y="361937"/>
                  </a:lnTo>
                  <a:lnTo>
                    <a:pt x="328345" y="361937"/>
                  </a:lnTo>
                  <a:lnTo>
                    <a:pt x="320878" y="369443"/>
                  </a:lnTo>
                  <a:lnTo>
                    <a:pt x="320878" y="387946"/>
                  </a:lnTo>
                  <a:lnTo>
                    <a:pt x="328345" y="395452"/>
                  </a:lnTo>
                  <a:lnTo>
                    <a:pt x="346837" y="395452"/>
                  </a:lnTo>
                  <a:lnTo>
                    <a:pt x="354304" y="387946"/>
                  </a:lnTo>
                  <a:lnTo>
                    <a:pt x="354304" y="378688"/>
                  </a:lnTo>
                  <a:lnTo>
                    <a:pt x="354304" y="369443"/>
                  </a:lnTo>
                  <a:close/>
                </a:path>
                <a:path w="1290320" h="757554">
                  <a:moveTo>
                    <a:pt x="367677" y="731380"/>
                  </a:moveTo>
                  <a:lnTo>
                    <a:pt x="360210" y="723874"/>
                  </a:lnTo>
                  <a:lnTo>
                    <a:pt x="341706" y="723874"/>
                  </a:lnTo>
                  <a:lnTo>
                    <a:pt x="334251" y="731380"/>
                  </a:lnTo>
                  <a:lnTo>
                    <a:pt x="334251" y="749884"/>
                  </a:lnTo>
                  <a:lnTo>
                    <a:pt x="341706" y="757377"/>
                  </a:lnTo>
                  <a:lnTo>
                    <a:pt x="360210" y="757377"/>
                  </a:lnTo>
                  <a:lnTo>
                    <a:pt x="367677" y="749884"/>
                  </a:lnTo>
                  <a:lnTo>
                    <a:pt x="367677" y="740625"/>
                  </a:lnTo>
                  <a:lnTo>
                    <a:pt x="367677" y="731380"/>
                  </a:lnTo>
                  <a:close/>
                </a:path>
                <a:path w="1290320" h="757554">
                  <a:moveTo>
                    <a:pt x="387731" y="7505"/>
                  </a:moveTo>
                  <a:lnTo>
                    <a:pt x="380263" y="0"/>
                  </a:lnTo>
                  <a:lnTo>
                    <a:pt x="361772" y="0"/>
                  </a:lnTo>
                  <a:lnTo>
                    <a:pt x="354304" y="7505"/>
                  </a:lnTo>
                  <a:lnTo>
                    <a:pt x="354304" y="26009"/>
                  </a:lnTo>
                  <a:lnTo>
                    <a:pt x="361772" y="33515"/>
                  </a:lnTo>
                  <a:lnTo>
                    <a:pt x="380263" y="33515"/>
                  </a:lnTo>
                  <a:lnTo>
                    <a:pt x="387731" y="26009"/>
                  </a:lnTo>
                  <a:lnTo>
                    <a:pt x="387731" y="16751"/>
                  </a:lnTo>
                  <a:lnTo>
                    <a:pt x="387731" y="7505"/>
                  </a:lnTo>
                  <a:close/>
                </a:path>
                <a:path w="1290320" h="757554">
                  <a:moveTo>
                    <a:pt x="401091" y="369443"/>
                  </a:moveTo>
                  <a:lnTo>
                    <a:pt x="393636" y="361937"/>
                  </a:lnTo>
                  <a:lnTo>
                    <a:pt x="375132" y="361937"/>
                  </a:lnTo>
                  <a:lnTo>
                    <a:pt x="367677" y="369443"/>
                  </a:lnTo>
                  <a:lnTo>
                    <a:pt x="367677" y="387946"/>
                  </a:lnTo>
                  <a:lnTo>
                    <a:pt x="375132" y="395452"/>
                  </a:lnTo>
                  <a:lnTo>
                    <a:pt x="393636" y="395452"/>
                  </a:lnTo>
                  <a:lnTo>
                    <a:pt x="401091" y="387946"/>
                  </a:lnTo>
                  <a:lnTo>
                    <a:pt x="401091" y="378688"/>
                  </a:lnTo>
                  <a:lnTo>
                    <a:pt x="401091" y="369443"/>
                  </a:lnTo>
                  <a:close/>
                </a:path>
                <a:path w="1290320" h="757554">
                  <a:moveTo>
                    <a:pt x="421157" y="731380"/>
                  </a:moveTo>
                  <a:lnTo>
                    <a:pt x="413689" y="723874"/>
                  </a:lnTo>
                  <a:lnTo>
                    <a:pt x="395185" y="723874"/>
                  </a:lnTo>
                  <a:lnTo>
                    <a:pt x="387731" y="731380"/>
                  </a:lnTo>
                  <a:lnTo>
                    <a:pt x="387731" y="749884"/>
                  </a:lnTo>
                  <a:lnTo>
                    <a:pt x="395185" y="757377"/>
                  </a:lnTo>
                  <a:lnTo>
                    <a:pt x="413689" y="757377"/>
                  </a:lnTo>
                  <a:lnTo>
                    <a:pt x="421157" y="749884"/>
                  </a:lnTo>
                  <a:lnTo>
                    <a:pt x="421157" y="740625"/>
                  </a:lnTo>
                  <a:lnTo>
                    <a:pt x="421157" y="731380"/>
                  </a:lnTo>
                  <a:close/>
                </a:path>
                <a:path w="1290320" h="757554">
                  <a:moveTo>
                    <a:pt x="434517" y="7505"/>
                  </a:moveTo>
                  <a:lnTo>
                    <a:pt x="427062" y="0"/>
                  </a:lnTo>
                  <a:lnTo>
                    <a:pt x="408559" y="0"/>
                  </a:lnTo>
                  <a:lnTo>
                    <a:pt x="401091" y="7505"/>
                  </a:lnTo>
                  <a:lnTo>
                    <a:pt x="401091" y="26009"/>
                  </a:lnTo>
                  <a:lnTo>
                    <a:pt x="408559" y="33515"/>
                  </a:lnTo>
                  <a:lnTo>
                    <a:pt x="427062" y="33515"/>
                  </a:lnTo>
                  <a:lnTo>
                    <a:pt x="434517" y="26009"/>
                  </a:lnTo>
                  <a:lnTo>
                    <a:pt x="434517" y="16751"/>
                  </a:lnTo>
                  <a:lnTo>
                    <a:pt x="434517" y="7505"/>
                  </a:lnTo>
                  <a:close/>
                </a:path>
                <a:path w="1290320" h="757554">
                  <a:moveTo>
                    <a:pt x="454583" y="369443"/>
                  </a:moveTo>
                  <a:lnTo>
                    <a:pt x="447116" y="361937"/>
                  </a:lnTo>
                  <a:lnTo>
                    <a:pt x="428612" y="361937"/>
                  </a:lnTo>
                  <a:lnTo>
                    <a:pt x="421157" y="369443"/>
                  </a:lnTo>
                  <a:lnTo>
                    <a:pt x="421157" y="387946"/>
                  </a:lnTo>
                  <a:lnTo>
                    <a:pt x="428612" y="395452"/>
                  </a:lnTo>
                  <a:lnTo>
                    <a:pt x="447116" y="395452"/>
                  </a:lnTo>
                  <a:lnTo>
                    <a:pt x="454583" y="387946"/>
                  </a:lnTo>
                  <a:lnTo>
                    <a:pt x="454583" y="378688"/>
                  </a:lnTo>
                  <a:lnTo>
                    <a:pt x="454583" y="369443"/>
                  </a:lnTo>
                  <a:close/>
                </a:path>
                <a:path w="1290320" h="757554">
                  <a:moveTo>
                    <a:pt x="467944" y="731380"/>
                  </a:moveTo>
                  <a:lnTo>
                    <a:pt x="460476" y="723874"/>
                  </a:lnTo>
                  <a:lnTo>
                    <a:pt x="441985" y="723874"/>
                  </a:lnTo>
                  <a:lnTo>
                    <a:pt x="434517" y="731380"/>
                  </a:lnTo>
                  <a:lnTo>
                    <a:pt x="434517" y="749884"/>
                  </a:lnTo>
                  <a:lnTo>
                    <a:pt x="441985" y="757377"/>
                  </a:lnTo>
                  <a:lnTo>
                    <a:pt x="460476" y="757377"/>
                  </a:lnTo>
                  <a:lnTo>
                    <a:pt x="467944" y="749884"/>
                  </a:lnTo>
                  <a:lnTo>
                    <a:pt x="467944" y="740625"/>
                  </a:lnTo>
                  <a:lnTo>
                    <a:pt x="467944" y="731380"/>
                  </a:lnTo>
                  <a:close/>
                </a:path>
                <a:path w="1290320" h="757554">
                  <a:moveTo>
                    <a:pt x="487997" y="7505"/>
                  </a:moveTo>
                  <a:lnTo>
                    <a:pt x="480542" y="0"/>
                  </a:lnTo>
                  <a:lnTo>
                    <a:pt x="462038" y="0"/>
                  </a:lnTo>
                  <a:lnTo>
                    <a:pt x="454583" y="7505"/>
                  </a:lnTo>
                  <a:lnTo>
                    <a:pt x="454583" y="26009"/>
                  </a:lnTo>
                  <a:lnTo>
                    <a:pt x="462038" y="33515"/>
                  </a:lnTo>
                  <a:lnTo>
                    <a:pt x="480542" y="33515"/>
                  </a:lnTo>
                  <a:lnTo>
                    <a:pt x="487997" y="26009"/>
                  </a:lnTo>
                  <a:lnTo>
                    <a:pt x="487997" y="16751"/>
                  </a:lnTo>
                  <a:lnTo>
                    <a:pt x="487997" y="7505"/>
                  </a:lnTo>
                  <a:close/>
                </a:path>
                <a:path w="1290320" h="757554">
                  <a:moveTo>
                    <a:pt x="508063" y="369443"/>
                  </a:moveTo>
                  <a:lnTo>
                    <a:pt x="500595" y="361937"/>
                  </a:lnTo>
                  <a:lnTo>
                    <a:pt x="482092" y="361937"/>
                  </a:lnTo>
                  <a:lnTo>
                    <a:pt x="474637" y="369443"/>
                  </a:lnTo>
                  <a:lnTo>
                    <a:pt x="474637" y="387946"/>
                  </a:lnTo>
                  <a:lnTo>
                    <a:pt x="482092" y="395452"/>
                  </a:lnTo>
                  <a:lnTo>
                    <a:pt x="500595" y="395452"/>
                  </a:lnTo>
                  <a:lnTo>
                    <a:pt x="508063" y="387946"/>
                  </a:lnTo>
                  <a:lnTo>
                    <a:pt x="508063" y="378688"/>
                  </a:lnTo>
                  <a:lnTo>
                    <a:pt x="508063" y="369443"/>
                  </a:lnTo>
                  <a:close/>
                </a:path>
                <a:path w="1290320" h="757554">
                  <a:moveTo>
                    <a:pt x="608330" y="7505"/>
                  </a:moveTo>
                  <a:lnTo>
                    <a:pt x="600862" y="0"/>
                  </a:lnTo>
                  <a:lnTo>
                    <a:pt x="582371" y="0"/>
                  </a:lnTo>
                  <a:lnTo>
                    <a:pt x="574903" y="7505"/>
                  </a:lnTo>
                  <a:lnTo>
                    <a:pt x="574903" y="26009"/>
                  </a:lnTo>
                  <a:lnTo>
                    <a:pt x="582371" y="33515"/>
                  </a:lnTo>
                  <a:lnTo>
                    <a:pt x="600862" y="33515"/>
                  </a:lnTo>
                  <a:lnTo>
                    <a:pt x="608330" y="26009"/>
                  </a:lnTo>
                  <a:lnTo>
                    <a:pt x="608330" y="16751"/>
                  </a:lnTo>
                  <a:lnTo>
                    <a:pt x="608330" y="7505"/>
                  </a:lnTo>
                  <a:close/>
                </a:path>
                <a:path w="1290320" h="757554">
                  <a:moveTo>
                    <a:pt x="621703" y="369443"/>
                  </a:moveTo>
                  <a:lnTo>
                    <a:pt x="614235" y="361937"/>
                  </a:lnTo>
                  <a:lnTo>
                    <a:pt x="595744" y="361937"/>
                  </a:lnTo>
                  <a:lnTo>
                    <a:pt x="588276" y="369443"/>
                  </a:lnTo>
                  <a:lnTo>
                    <a:pt x="588276" y="387946"/>
                  </a:lnTo>
                  <a:lnTo>
                    <a:pt x="595744" y="395452"/>
                  </a:lnTo>
                  <a:lnTo>
                    <a:pt x="614235" y="395452"/>
                  </a:lnTo>
                  <a:lnTo>
                    <a:pt x="621703" y="387946"/>
                  </a:lnTo>
                  <a:lnTo>
                    <a:pt x="621703" y="378688"/>
                  </a:lnTo>
                  <a:lnTo>
                    <a:pt x="621703" y="369443"/>
                  </a:lnTo>
                  <a:close/>
                </a:path>
                <a:path w="1290320" h="757554">
                  <a:moveTo>
                    <a:pt x="641756" y="731380"/>
                  </a:moveTo>
                  <a:lnTo>
                    <a:pt x="634288" y="723874"/>
                  </a:lnTo>
                  <a:lnTo>
                    <a:pt x="615797" y="723874"/>
                  </a:lnTo>
                  <a:lnTo>
                    <a:pt x="608330" y="731380"/>
                  </a:lnTo>
                  <a:lnTo>
                    <a:pt x="608330" y="749884"/>
                  </a:lnTo>
                  <a:lnTo>
                    <a:pt x="615797" y="757377"/>
                  </a:lnTo>
                  <a:lnTo>
                    <a:pt x="634288" y="757377"/>
                  </a:lnTo>
                  <a:lnTo>
                    <a:pt x="641756" y="749884"/>
                  </a:lnTo>
                  <a:lnTo>
                    <a:pt x="641756" y="740625"/>
                  </a:lnTo>
                  <a:lnTo>
                    <a:pt x="641756" y="731380"/>
                  </a:lnTo>
                  <a:close/>
                </a:path>
                <a:path w="1290320" h="757554">
                  <a:moveTo>
                    <a:pt x="655129" y="7505"/>
                  </a:moveTo>
                  <a:lnTo>
                    <a:pt x="647661" y="0"/>
                  </a:lnTo>
                  <a:lnTo>
                    <a:pt x="629170" y="0"/>
                  </a:lnTo>
                  <a:lnTo>
                    <a:pt x="621703" y="7505"/>
                  </a:lnTo>
                  <a:lnTo>
                    <a:pt x="621703" y="26009"/>
                  </a:lnTo>
                  <a:lnTo>
                    <a:pt x="629170" y="33515"/>
                  </a:lnTo>
                  <a:lnTo>
                    <a:pt x="647661" y="33515"/>
                  </a:lnTo>
                  <a:lnTo>
                    <a:pt x="655129" y="26009"/>
                  </a:lnTo>
                  <a:lnTo>
                    <a:pt x="655129" y="16751"/>
                  </a:lnTo>
                  <a:lnTo>
                    <a:pt x="655129" y="7505"/>
                  </a:lnTo>
                  <a:close/>
                </a:path>
                <a:path w="1290320" h="757554">
                  <a:moveTo>
                    <a:pt x="675182" y="369443"/>
                  </a:moveTo>
                  <a:lnTo>
                    <a:pt x="667715" y="361937"/>
                  </a:lnTo>
                  <a:lnTo>
                    <a:pt x="649224" y="361937"/>
                  </a:lnTo>
                  <a:lnTo>
                    <a:pt x="641756" y="369443"/>
                  </a:lnTo>
                  <a:lnTo>
                    <a:pt x="641756" y="387946"/>
                  </a:lnTo>
                  <a:lnTo>
                    <a:pt x="649224" y="395452"/>
                  </a:lnTo>
                  <a:lnTo>
                    <a:pt x="667715" y="395452"/>
                  </a:lnTo>
                  <a:lnTo>
                    <a:pt x="675182" y="387946"/>
                  </a:lnTo>
                  <a:lnTo>
                    <a:pt x="675182" y="378688"/>
                  </a:lnTo>
                  <a:lnTo>
                    <a:pt x="675182" y="369443"/>
                  </a:lnTo>
                  <a:close/>
                </a:path>
                <a:path w="1290320" h="757554">
                  <a:moveTo>
                    <a:pt x="688555" y="731380"/>
                  </a:moveTo>
                  <a:lnTo>
                    <a:pt x="681088" y="723874"/>
                  </a:lnTo>
                  <a:lnTo>
                    <a:pt x="662597" y="723874"/>
                  </a:lnTo>
                  <a:lnTo>
                    <a:pt x="655129" y="731380"/>
                  </a:lnTo>
                  <a:lnTo>
                    <a:pt x="655129" y="749884"/>
                  </a:lnTo>
                  <a:lnTo>
                    <a:pt x="662597" y="757377"/>
                  </a:lnTo>
                  <a:lnTo>
                    <a:pt x="681088" y="757377"/>
                  </a:lnTo>
                  <a:lnTo>
                    <a:pt x="688555" y="749884"/>
                  </a:lnTo>
                  <a:lnTo>
                    <a:pt x="688555" y="740625"/>
                  </a:lnTo>
                  <a:lnTo>
                    <a:pt x="688555" y="731380"/>
                  </a:lnTo>
                  <a:close/>
                </a:path>
                <a:path w="1290320" h="757554">
                  <a:moveTo>
                    <a:pt x="708609" y="7505"/>
                  </a:moveTo>
                  <a:lnTo>
                    <a:pt x="701141" y="0"/>
                  </a:lnTo>
                  <a:lnTo>
                    <a:pt x="682650" y="0"/>
                  </a:lnTo>
                  <a:lnTo>
                    <a:pt x="675182" y="7505"/>
                  </a:lnTo>
                  <a:lnTo>
                    <a:pt x="675182" y="26009"/>
                  </a:lnTo>
                  <a:lnTo>
                    <a:pt x="682650" y="33515"/>
                  </a:lnTo>
                  <a:lnTo>
                    <a:pt x="701141" y="33515"/>
                  </a:lnTo>
                  <a:lnTo>
                    <a:pt x="708609" y="26009"/>
                  </a:lnTo>
                  <a:lnTo>
                    <a:pt x="708609" y="16751"/>
                  </a:lnTo>
                  <a:lnTo>
                    <a:pt x="708609" y="7505"/>
                  </a:lnTo>
                  <a:close/>
                </a:path>
                <a:path w="1290320" h="757554">
                  <a:moveTo>
                    <a:pt x="721982" y="369443"/>
                  </a:moveTo>
                  <a:lnTo>
                    <a:pt x="714514" y="361937"/>
                  </a:lnTo>
                  <a:lnTo>
                    <a:pt x="696023" y="361937"/>
                  </a:lnTo>
                  <a:lnTo>
                    <a:pt x="688555" y="369443"/>
                  </a:lnTo>
                  <a:lnTo>
                    <a:pt x="688555" y="387946"/>
                  </a:lnTo>
                  <a:lnTo>
                    <a:pt x="696023" y="395452"/>
                  </a:lnTo>
                  <a:lnTo>
                    <a:pt x="714514" y="395452"/>
                  </a:lnTo>
                  <a:lnTo>
                    <a:pt x="721982" y="387946"/>
                  </a:lnTo>
                  <a:lnTo>
                    <a:pt x="721982" y="378688"/>
                  </a:lnTo>
                  <a:lnTo>
                    <a:pt x="721982" y="369443"/>
                  </a:lnTo>
                  <a:close/>
                </a:path>
                <a:path w="1290320" h="757554">
                  <a:moveTo>
                    <a:pt x="742035" y="731380"/>
                  </a:moveTo>
                  <a:lnTo>
                    <a:pt x="734568" y="723874"/>
                  </a:lnTo>
                  <a:lnTo>
                    <a:pt x="716076" y="723874"/>
                  </a:lnTo>
                  <a:lnTo>
                    <a:pt x="708609" y="731380"/>
                  </a:lnTo>
                  <a:lnTo>
                    <a:pt x="708609" y="749884"/>
                  </a:lnTo>
                  <a:lnTo>
                    <a:pt x="716076" y="757377"/>
                  </a:lnTo>
                  <a:lnTo>
                    <a:pt x="734568" y="757377"/>
                  </a:lnTo>
                  <a:lnTo>
                    <a:pt x="742035" y="749884"/>
                  </a:lnTo>
                  <a:lnTo>
                    <a:pt x="742035" y="740625"/>
                  </a:lnTo>
                  <a:lnTo>
                    <a:pt x="742035" y="731380"/>
                  </a:lnTo>
                  <a:close/>
                </a:path>
                <a:path w="1290320" h="757554">
                  <a:moveTo>
                    <a:pt x="755408" y="7505"/>
                  </a:moveTo>
                  <a:lnTo>
                    <a:pt x="747941" y="0"/>
                  </a:lnTo>
                  <a:lnTo>
                    <a:pt x="729449" y="0"/>
                  </a:lnTo>
                  <a:lnTo>
                    <a:pt x="721982" y="7505"/>
                  </a:lnTo>
                  <a:lnTo>
                    <a:pt x="721982" y="26009"/>
                  </a:lnTo>
                  <a:lnTo>
                    <a:pt x="729449" y="33515"/>
                  </a:lnTo>
                  <a:lnTo>
                    <a:pt x="747941" y="33515"/>
                  </a:lnTo>
                  <a:lnTo>
                    <a:pt x="755408" y="26009"/>
                  </a:lnTo>
                  <a:lnTo>
                    <a:pt x="755408" y="16751"/>
                  </a:lnTo>
                  <a:lnTo>
                    <a:pt x="755408" y="7505"/>
                  </a:lnTo>
                  <a:close/>
                </a:path>
                <a:path w="1290320" h="757554">
                  <a:moveTo>
                    <a:pt x="775462" y="369443"/>
                  </a:moveTo>
                  <a:lnTo>
                    <a:pt x="767994" y="361937"/>
                  </a:lnTo>
                  <a:lnTo>
                    <a:pt x="749503" y="361937"/>
                  </a:lnTo>
                  <a:lnTo>
                    <a:pt x="742035" y="369443"/>
                  </a:lnTo>
                  <a:lnTo>
                    <a:pt x="742035" y="387946"/>
                  </a:lnTo>
                  <a:lnTo>
                    <a:pt x="749503" y="395452"/>
                  </a:lnTo>
                  <a:lnTo>
                    <a:pt x="767994" y="395452"/>
                  </a:lnTo>
                  <a:lnTo>
                    <a:pt x="775462" y="387946"/>
                  </a:lnTo>
                  <a:lnTo>
                    <a:pt x="775462" y="378688"/>
                  </a:lnTo>
                  <a:lnTo>
                    <a:pt x="775462" y="369443"/>
                  </a:lnTo>
                  <a:close/>
                </a:path>
                <a:path w="1290320" h="757554">
                  <a:moveTo>
                    <a:pt x="788835" y="731380"/>
                  </a:moveTo>
                  <a:lnTo>
                    <a:pt x="781367" y="723874"/>
                  </a:lnTo>
                  <a:lnTo>
                    <a:pt x="762863" y="723874"/>
                  </a:lnTo>
                  <a:lnTo>
                    <a:pt x="755408" y="731380"/>
                  </a:lnTo>
                  <a:lnTo>
                    <a:pt x="755408" y="749884"/>
                  </a:lnTo>
                  <a:lnTo>
                    <a:pt x="762863" y="757377"/>
                  </a:lnTo>
                  <a:lnTo>
                    <a:pt x="781367" y="757377"/>
                  </a:lnTo>
                  <a:lnTo>
                    <a:pt x="788835" y="749884"/>
                  </a:lnTo>
                  <a:lnTo>
                    <a:pt x="788835" y="740625"/>
                  </a:lnTo>
                  <a:lnTo>
                    <a:pt x="788835" y="731380"/>
                  </a:lnTo>
                  <a:close/>
                </a:path>
                <a:path w="1290320" h="757554">
                  <a:moveTo>
                    <a:pt x="808888" y="7505"/>
                  </a:moveTo>
                  <a:lnTo>
                    <a:pt x="801420" y="0"/>
                  </a:lnTo>
                  <a:lnTo>
                    <a:pt x="782929" y="0"/>
                  </a:lnTo>
                  <a:lnTo>
                    <a:pt x="775462" y="7505"/>
                  </a:lnTo>
                  <a:lnTo>
                    <a:pt x="775462" y="26009"/>
                  </a:lnTo>
                  <a:lnTo>
                    <a:pt x="782929" y="33515"/>
                  </a:lnTo>
                  <a:lnTo>
                    <a:pt x="801420" y="33515"/>
                  </a:lnTo>
                  <a:lnTo>
                    <a:pt x="808888" y="26009"/>
                  </a:lnTo>
                  <a:lnTo>
                    <a:pt x="808888" y="16751"/>
                  </a:lnTo>
                  <a:lnTo>
                    <a:pt x="808888" y="7505"/>
                  </a:lnTo>
                  <a:close/>
                </a:path>
                <a:path w="1290320" h="757554">
                  <a:moveTo>
                    <a:pt x="822248" y="369443"/>
                  </a:moveTo>
                  <a:lnTo>
                    <a:pt x="814793" y="361937"/>
                  </a:lnTo>
                  <a:lnTo>
                    <a:pt x="796290" y="361937"/>
                  </a:lnTo>
                  <a:lnTo>
                    <a:pt x="788835" y="369443"/>
                  </a:lnTo>
                  <a:lnTo>
                    <a:pt x="788835" y="387946"/>
                  </a:lnTo>
                  <a:lnTo>
                    <a:pt x="796290" y="395452"/>
                  </a:lnTo>
                  <a:lnTo>
                    <a:pt x="814793" y="395452"/>
                  </a:lnTo>
                  <a:lnTo>
                    <a:pt x="822248" y="387946"/>
                  </a:lnTo>
                  <a:lnTo>
                    <a:pt x="822248" y="378688"/>
                  </a:lnTo>
                  <a:lnTo>
                    <a:pt x="822248" y="369443"/>
                  </a:lnTo>
                  <a:close/>
                </a:path>
                <a:path w="1290320" h="757554">
                  <a:moveTo>
                    <a:pt x="842314" y="731380"/>
                  </a:moveTo>
                  <a:lnTo>
                    <a:pt x="834847" y="723874"/>
                  </a:lnTo>
                  <a:lnTo>
                    <a:pt x="816356" y="723874"/>
                  </a:lnTo>
                  <a:lnTo>
                    <a:pt x="808888" y="731380"/>
                  </a:lnTo>
                  <a:lnTo>
                    <a:pt x="808888" y="749884"/>
                  </a:lnTo>
                  <a:lnTo>
                    <a:pt x="816356" y="757377"/>
                  </a:lnTo>
                  <a:lnTo>
                    <a:pt x="834847" y="757377"/>
                  </a:lnTo>
                  <a:lnTo>
                    <a:pt x="842314" y="749884"/>
                  </a:lnTo>
                  <a:lnTo>
                    <a:pt x="842314" y="740625"/>
                  </a:lnTo>
                  <a:lnTo>
                    <a:pt x="842314" y="731380"/>
                  </a:lnTo>
                  <a:close/>
                </a:path>
                <a:path w="1290320" h="757554">
                  <a:moveTo>
                    <a:pt x="855675" y="7505"/>
                  </a:moveTo>
                  <a:lnTo>
                    <a:pt x="848220" y="0"/>
                  </a:lnTo>
                  <a:lnTo>
                    <a:pt x="829716" y="0"/>
                  </a:lnTo>
                  <a:lnTo>
                    <a:pt x="822248" y="7505"/>
                  </a:lnTo>
                  <a:lnTo>
                    <a:pt x="822248" y="26009"/>
                  </a:lnTo>
                  <a:lnTo>
                    <a:pt x="829716" y="33515"/>
                  </a:lnTo>
                  <a:lnTo>
                    <a:pt x="848220" y="33515"/>
                  </a:lnTo>
                  <a:lnTo>
                    <a:pt x="855675" y="26009"/>
                  </a:lnTo>
                  <a:lnTo>
                    <a:pt x="855675" y="16751"/>
                  </a:lnTo>
                  <a:lnTo>
                    <a:pt x="855675" y="7505"/>
                  </a:lnTo>
                  <a:close/>
                </a:path>
                <a:path w="1290320" h="757554">
                  <a:moveTo>
                    <a:pt x="875741" y="369443"/>
                  </a:moveTo>
                  <a:lnTo>
                    <a:pt x="868273" y="361937"/>
                  </a:lnTo>
                  <a:lnTo>
                    <a:pt x="849769" y="361937"/>
                  </a:lnTo>
                  <a:lnTo>
                    <a:pt x="842314" y="369443"/>
                  </a:lnTo>
                  <a:lnTo>
                    <a:pt x="842314" y="387946"/>
                  </a:lnTo>
                  <a:lnTo>
                    <a:pt x="849769" y="395452"/>
                  </a:lnTo>
                  <a:lnTo>
                    <a:pt x="868273" y="395452"/>
                  </a:lnTo>
                  <a:lnTo>
                    <a:pt x="875741" y="387946"/>
                  </a:lnTo>
                  <a:lnTo>
                    <a:pt x="875741" y="378688"/>
                  </a:lnTo>
                  <a:lnTo>
                    <a:pt x="875741" y="369443"/>
                  </a:lnTo>
                  <a:close/>
                </a:path>
                <a:path w="1290320" h="757554">
                  <a:moveTo>
                    <a:pt x="889101" y="731380"/>
                  </a:moveTo>
                  <a:lnTo>
                    <a:pt x="881634" y="723874"/>
                  </a:lnTo>
                  <a:lnTo>
                    <a:pt x="863142" y="723874"/>
                  </a:lnTo>
                  <a:lnTo>
                    <a:pt x="855675" y="731380"/>
                  </a:lnTo>
                  <a:lnTo>
                    <a:pt x="855675" y="749884"/>
                  </a:lnTo>
                  <a:lnTo>
                    <a:pt x="863142" y="757377"/>
                  </a:lnTo>
                  <a:lnTo>
                    <a:pt x="881634" y="757377"/>
                  </a:lnTo>
                  <a:lnTo>
                    <a:pt x="889101" y="749884"/>
                  </a:lnTo>
                  <a:lnTo>
                    <a:pt x="889101" y="740625"/>
                  </a:lnTo>
                  <a:lnTo>
                    <a:pt x="889101" y="731380"/>
                  </a:lnTo>
                  <a:close/>
                </a:path>
                <a:path w="1290320" h="757554">
                  <a:moveTo>
                    <a:pt x="909154" y="7505"/>
                  </a:moveTo>
                  <a:lnTo>
                    <a:pt x="901700" y="0"/>
                  </a:lnTo>
                  <a:lnTo>
                    <a:pt x="883196" y="0"/>
                  </a:lnTo>
                  <a:lnTo>
                    <a:pt x="875741" y="7505"/>
                  </a:lnTo>
                  <a:lnTo>
                    <a:pt x="875741" y="26009"/>
                  </a:lnTo>
                  <a:lnTo>
                    <a:pt x="883196" y="33515"/>
                  </a:lnTo>
                  <a:lnTo>
                    <a:pt x="901700" y="33515"/>
                  </a:lnTo>
                  <a:lnTo>
                    <a:pt x="909154" y="26009"/>
                  </a:lnTo>
                  <a:lnTo>
                    <a:pt x="909154" y="16751"/>
                  </a:lnTo>
                  <a:lnTo>
                    <a:pt x="909154" y="7505"/>
                  </a:lnTo>
                  <a:close/>
                </a:path>
                <a:path w="1290320" h="757554">
                  <a:moveTo>
                    <a:pt x="922528" y="369443"/>
                  </a:moveTo>
                  <a:lnTo>
                    <a:pt x="915060" y="361937"/>
                  </a:lnTo>
                  <a:lnTo>
                    <a:pt x="896569" y="361937"/>
                  </a:lnTo>
                  <a:lnTo>
                    <a:pt x="889101" y="369443"/>
                  </a:lnTo>
                  <a:lnTo>
                    <a:pt x="889101" y="387946"/>
                  </a:lnTo>
                  <a:lnTo>
                    <a:pt x="896569" y="395452"/>
                  </a:lnTo>
                  <a:lnTo>
                    <a:pt x="915060" y="395452"/>
                  </a:lnTo>
                  <a:lnTo>
                    <a:pt x="922528" y="387946"/>
                  </a:lnTo>
                  <a:lnTo>
                    <a:pt x="922528" y="378688"/>
                  </a:lnTo>
                  <a:lnTo>
                    <a:pt x="922528" y="369443"/>
                  </a:lnTo>
                  <a:close/>
                </a:path>
                <a:path w="1290320" h="757554">
                  <a:moveTo>
                    <a:pt x="942581" y="731380"/>
                  </a:moveTo>
                  <a:lnTo>
                    <a:pt x="935126" y="723874"/>
                  </a:lnTo>
                  <a:lnTo>
                    <a:pt x="916622" y="723874"/>
                  </a:lnTo>
                  <a:lnTo>
                    <a:pt x="909154" y="731380"/>
                  </a:lnTo>
                  <a:lnTo>
                    <a:pt x="909154" y="749884"/>
                  </a:lnTo>
                  <a:lnTo>
                    <a:pt x="916622" y="757377"/>
                  </a:lnTo>
                  <a:lnTo>
                    <a:pt x="935126" y="757377"/>
                  </a:lnTo>
                  <a:lnTo>
                    <a:pt x="942581" y="749884"/>
                  </a:lnTo>
                  <a:lnTo>
                    <a:pt x="942581" y="740625"/>
                  </a:lnTo>
                  <a:lnTo>
                    <a:pt x="942581" y="731380"/>
                  </a:lnTo>
                  <a:close/>
                </a:path>
                <a:path w="1290320" h="757554">
                  <a:moveTo>
                    <a:pt x="955954" y="7505"/>
                  </a:moveTo>
                  <a:lnTo>
                    <a:pt x="948486" y="0"/>
                  </a:lnTo>
                  <a:lnTo>
                    <a:pt x="929995" y="0"/>
                  </a:lnTo>
                  <a:lnTo>
                    <a:pt x="922528" y="7505"/>
                  </a:lnTo>
                  <a:lnTo>
                    <a:pt x="922528" y="26009"/>
                  </a:lnTo>
                  <a:lnTo>
                    <a:pt x="929995" y="33515"/>
                  </a:lnTo>
                  <a:lnTo>
                    <a:pt x="948486" y="33515"/>
                  </a:lnTo>
                  <a:lnTo>
                    <a:pt x="955954" y="26009"/>
                  </a:lnTo>
                  <a:lnTo>
                    <a:pt x="955954" y="16751"/>
                  </a:lnTo>
                  <a:lnTo>
                    <a:pt x="955954" y="7505"/>
                  </a:lnTo>
                  <a:close/>
                </a:path>
                <a:path w="1290320" h="757554">
                  <a:moveTo>
                    <a:pt x="976007" y="369443"/>
                  </a:moveTo>
                  <a:lnTo>
                    <a:pt x="968540" y="361937"/>
                  </a:lnTo>
                  <a:lnTo>
                    <a:pt x="950048" y="361937"/>
                  </a:lnTo>
                  <a:lnTo>
                    <a:pt x="942581" y="369443"/>
                  </a:lnTo>
                  <a:lnTo>
                    <a:pt x="942581" y="387946"/>
                  </a:lnTo>
                  <a:lnTo>
                    <a:pt x="950048" y="395452"/>
                  </a:lnTo>
                  <a:lnTo>
                    <a:pt x="968540" y="395452"/>
                  </a:lnTo>
                  <a:lnTo>
                    <a:pt x="976007" y="387946"/>
                  </a:lnTo>
                  <a:lnTo>
                    <a:pt x="976007" y="378688"/>
                  </a:lnTo>
                  <a:lnTo>
                    <a:pt x="976007" y="369443"/>
                  </a:lnTo>
                  <a:close/>
                </a:path>
                <a:path w="1290320" h="757554">
                  <a:moveTo>
                    <a:pt x="989380" y="731380"/>
                  </a:moveTo>
                  <a:lnTo>
                    <a:pt x="981913" y="723874"/>
                  </a:lnTo>
                  <a:lnTo>
                    <a:pt x="963422" y="723874"/>
                  </a:lnTo>
                  <a:lnTo>
                    <a:pt x="955954" y="731380"/>
                  </a:lnTo>
                  <a:lnTo>
                    <a:pt x="955954" y="749884"/>
                  </a:lnTo>
                  <a:lnTo>
                    <a:pt x="963422" y="757377"/>
                  </a:lnTo>
                  <a:lnTo>
                    <a:pt x="981913" y="757377"/>
                  </a:lnTo>
                  <a:lnTo>
                    <a:pt x="989380" y="749884"/>
                  </a:lnTo>
                  <a:lnTo>
                    <a:pt x="989380" y="740625"/>
                  </a:lnTo>
                  <a:lnTo>
                    <a:pt x="989380" y="731380"/>
                  </a:lnTo>
                  <a:close/>
                </a:path>
                <a:path w="1290320" h="757554">
                  <a:moveTo>
                    <a:pt x="1009434" y="7505"/>
                  </a:moveTo>
                  <a:lnTo>
                    <a:pt x="1001966" y="0"/>
                  </a:lnTo>
                  <a:lnTo>
                    <a:pt x="983475" y="0"/>
                  </a:lnTo>
                  <a:lnTo>
                    <a:pt x="976007" y="7505"/>
                  </a:lnTo>
                  <a:lnTo>
                    <a:pt x="976007" y="26009"/>
                  </a:lnTo>
                  <a:lnTo>
                    <a:pt x="983475" y="33515"/>
                  </a:lnTo>
                  <a:lnTo>
                    <a:pt x="1001966" y="33515"/>
                  </a:lnTo>
                  <a:lnTo>
                    <a:pt x="1009434" y="26009"/>
                  </a:lnTo>
                  <a:lnTo>
                    <a:pt x="1009434" y="16751"/>
                  </a:lnTo>
                  <a:lnTo>
                    <a:pt x="1009434" y="7505"/>
                  </a:lnTo>
                  <a:close/>
                </a:path>
                <a:path w="1290320" h="757554">
                  <a:moveTo>
                    <a:pt x="1022807" y="369443"/>
                  </a:moveTo>
                  <a:lnTo>
                    <a:pt x="1015339" y="361937"/>
                  </a:lnTo>
                  <a:lnTo>
                    <a:pt x="996848" y="361937"/>
                  </a:lnTo>
                  <a:lnTo>
                    <a:pt x="989380" y="369443"/>
                  </a:lnTo>
                  <a:lnTo>
                    <a:pt x="989380" y="387946"/>
                  </a:lnTo>
                  <a:lnTo>
                    <a:pt x="996848" y="395452"/>
                  </a:lnTo>
                  <a:lnTo>
                    <a:pt x="1015339" y="395452"/>
                  </a:lnTo>
                  <a:lnTo>
                    <a:pt x="1022807" y="387946"/>
                  </a:lnTo>
                  <a:lnTo>
                    <a:pt x="1022807" y="378688"/>
                  </a:lnTo>
                  <a:lnTo>
                    <a:pt x="1022807" y="369443"/>
                  </a:lnTo>
                  <a:close/>
                </a:path>
                <a:path w="1290320" h="757554">
                  <a:moveTo>
                    <a:pt x="1042860" y="731380"/>
                  </a:moveTo>
                  <a:lnTo>
                    <a:pt x="1035392" y="723874"/>
                  </a:lnTo>
                  <a:lnTo>
                    <a:pt x="1016901" y="723874"/>
                  </a:lnTo>
                  <a:lnTo>
                    <a:pt x="1009434" y="731380"/>
                  </a:lnTo>
                  <a:lnTo>
                    <a:pt x="1009434" y="749884"/>
                  </a:lnTo>
                  <a:lnTo>
                    <a:pt x="1016901" y="757377"/>
                  </a:lnTo>
                  <a:lnTo>
                    <a:pt x="1035392" y="757377"/>
                  </a:lnTo>
                  <a:lnTo>
                    <a:pt x="1042860" y="749884"/>
                  </a:lnTo>
                  <a:lnTo>
                    <a:pt x="1042860" y="740625"/>
                  </a:lnTo>
                  <a:lnTo>
                    <a:pt x="1042860" y="731380"/>
                  </a:lnTo>
                  <a:close/>
                </a:path>
                <a:path w="1290320" h="757554">
                  <a:moveTo>
                    <a:pt x="1056233" y="7505"/>
                  </a:moveTo>
                  <a:lnTo>
                    <a:pt x="1048766" y="0"/>
                  </a:lnTo>
                  <a:lnTo>
                    <a:pt x="1030274" y="0"/>
                  </a:lnTo>
                  <a:lnTo>
                    <a:pt x="1022807" y="7505"/>
                  </a:lnTo>
                  <a:lnTo>
                    <a:pt x="1022807" y="26009"/>
                  </a:lnTo>
                  <a:lnTo>
                    <a:pt x="1030274" y="33515"/>
                  </a:lnTo>
                  <a:lnTo>
                    <a:pt x="1048766" y="33515"/>
                  </a:lnTo>
                  <a:lnTo>
                    <a:pt x="1056233" y="26009"/>
                  </a:lnTo>
                  <a:lnTo>
                    <a:pt x="1056233" y="16751"/>
                  </a:lnTo>
                  <a:lnTo>
                    <a:pt x="1056233" y="7505"/>
                  </a:lnTo>
                  <a:close/>
                </a:path>
                <a:path w="1290320" h="757554">
                  <a:moveTo>
                    <a:pt x="1076286" y="369443"/>
                  </a:moveTo>
                  <a:lnTo>
                    <a:pt x="1068819" y="361937"/>
                  </a:lnTo>
                  <a:lnTo>
                    <a:pt x="1050328" y="361937"/>
                  </a:lnTo>
                  <a:lnTo>
                    <a:pt x="1042860" y="369443"/>
                  </a:lnTo>
                  <a:lnTo>
                    <a:pt x="1042860" y="387946"/>
                  </a:lnTo>
                  <a:lnTo>
                    <a:pt x="1050328" y="395452"/>
                  </a:lnTo>
                  <a:lnTo>
                    <a:pt x="1068819" y="395452"/>
                  </a:lnTo>
                  <a:lnTo>
                    <a:pt x="1076286" y="387946"/>
                  </a:lnTo>
                  <a:lnTo>
                    <a:pt x="1076286" y="378688"/>
                  </a:lnTo>
                  <a:lnTo>
                    <a:pt x="1076286" y="369443"/>
                  </a:lnTo>
                  <a:close/>
                </a:path>
                <a:path w="1290320" h="757554">
                  <a:moveTo>
                    <a:pt x="1089660" y="731380"/>
                  </a:moveTo>
                  <a:lnTo>
                    <a:pt x="1082192" y="723874"/>
                  </a:lnTo>
                  <a:lnTo>
                    <a:pt x="1063701" y="723874"/>
                  </a:lnTo>
                  <a:lnTo>
                    <a:pt x="1056233" y="731380"/>
                  </a:lnTo>
                  <a:lnTo>
                    <a:pt x="1056233" y="749884"/>
                  </a:lnTo>
                  <a:lnTo>
                    <a:pt x="1063701" y="757377"/>
                  </a:lnTo>
                  <a:lnTo>
                    <a:pt x="1082192" y="757377"/>
                  </a:lnTo>
                  <a:lnTo>
                    <a:pt x="1089660" y="749884"/>
                  </a:lnTo>
                  <a:lnTo>
                    <a:pt x="1089660" y="740625"/>
                  </a:lnTo>
                  <a:lnTo>
                    <a:pt x="1089660" y="731380"/>
                  </a:lnTo>
                  <a:close/>
                </a:path>
                <a:path w="1290320" h="757554">
                  <a:moveTo>
                    <a:pt x="1109713" y="7505"/>
                  </a:moveTo>
                  <a:lnTo>
                    <a:pt x="1102245" y="0"/>
                  </a:lnTo>
                  <a:lnTo>
                    <a:pt x="1083754" y="0"/>
                  </a:lnTo>
                  <a:lnTo>
                    <a:pt x="1076286" y="7505"/>
                  </a:lnTo>
                  <a:lnTo>
                    <a:pt x="1076286" y="26009"/>
                  </a:lnTo>
                  <a:lnTo>
                    <a:pt x="1083754" y="33515"/>
                  </a:lnTo>
                  <a:lnTo>
                    <a:pt x="1102245" y="33515"/>
                  </a:lnTo>
                  <a:lnTo>
                    <a:pt x="1109713" y="26009"/>
                  </a:lnTo>
                  <a:lnTo>
                    <a:pt x="1109713" y="16751"/>
                  </a:lnTo>
                  <a:lnTo>
                    <a:pt x="1109713" y="7505"/>
                  </a:lnTo>
                  <a:close/>
                </a:path>
                <a:path w="1290320" h="757554">
                  <a:moveTo>
                    <a:pt x="1123086" y="369443"/>
                  </a:moveTo>
                  <a:lnTo>
                    <a:pt x="1115618" y="361937"/>
                  </a:lnTo>
                  <a:lnTo>
                    <a:pt x="1097127" y="361937"/>
                  </a:lnTo>
                  <a:lnTo>
                    <a:pt x="1089660" y="369443"/>
                  </a:lnTo>
                  <a:lnTo>
                    <a:pt x="1089660" y="387946"/>
                  </a:lnTo>
                  <a:lnTo>
                    <a:pt x="1097127" y="395452"/>
                  </a:lnTo>
                  <a:lnTo>
                    <a:pt x="1115618" y="395452"/>
                  </a:lnTo>
                  <a:lnTo>
                    <a:pt x="1123086" y="387946"/>
                  </a:lnTo>
                  <a:lnTo>
                    <a:pt x="1123086" y="378688"/>
                  </a:lnTo>
                  <a:lnTo>
                    <a:pt x="1123086" y="369443"/>
                  </a:lnTo>
                  <a:close/>
                </a:path>
                <a:path w="1290320" h="757554">
                  <a:moveTo>
                    <a:pt x="1143139" y="731380"/>
                  </a:moveTo>
                  <a:lnTo>
                    <a:pt x="1135672" y="723874"/>
                  </a:lnTo>
                  <a:lnTo>
                    <a:pt x="1117180" y="723874"/>
                  </a:lnTo>
                  <a:lnTo>
                    <a:pt x="1109713" y="731380"/>
                  </a:lnTo>
                  <a:lnTo>
                    <a:pt x="1109713" y="749884"/>
                  </a:lnTo>
                  <a:lnTo>
                    <a:pt x="1117180" y="757377"/>
                  </a:lnTo>
                  <a:lnTo>
                    <a:pt x="1135672" y="757377"/>
                  </a:lnTo>
                  <a:lnTo>
                    <a:pt x="1143139" y="749884"/>
                  </a:lnTo>
                  <a:lnTo>
                    <a:pt x="1143139" y="740625"/>
                  </a:lnTo>
                  <a:lnTo>
                    <a:pt x="1143139" y="731380"/>
                  </a:lnTo>
                  <a:close/>
                </a:path>
                <a:path w="1290320" h="757554">
                  <a:moveTo>
                    <a:pt x="1156512" y="7505"/>
                  </a:moveTo>
                  <a:lnTo>
                    <a:pt x="1149045" y="0"/>
                  </a:lnTo>
                  <a:lnTo>
                    <a:pt x="1130541" y="0"/>
                  </a:lnTo>
                  <a:lnTo>
                    <a:pt x="1123086" y="7505"/>
                  </a:lnTo>
                  <a:lnTo>
                    <a:pt x="1123086" y="26009"/>
                  </a:lnTo>
                  <a:lnTo>
                    <a:pt x="1130541" y="33515"/>
                  </a:lnTo>
                  <a:lnTo>
                    <a:pt x="1149045" y="33515"/>
                  </a:lnTo>
                  <a:lnTo>
                    <a:pt x="1156512" y="26009"/>
                  </a:lnTo>
                  <a:lnTo>
                    <a:pt x="1156512" y="16751"/>
                  </a:lnTo>
                  <a:lnTo>
                    <a:pt x="1156512" y="7505"/>
                  </a:lnTo>
                  <a:close/>
                </a:path>
                <a:path w="1290320" h="757554">
                  <a:moveTo>
                    <a:pt x="1176566" y="369443"/>
                  </a:moveTo>
                  <a:lnTo>
                    <a:pt x="1169098" y="361937"/>
                  </a:lnTo>
                  <a:lnTo>
                    <a:pt x="1150607" y="361937"/>
                  </a:lnTo>
                  <a:lnTo>
                    <a:pt x="1143139" y="369443"/>
                  </a:lnTo>
                  <a:lnTo>
                    <a:pt x="1143139" y="387946"/>
                  </a:lnTo>
                  <a:lnTo>
                    <a:pt x="1150607" y="395452"/>
                  </a:lnTo>
                  <a:lnTo>
                    <a:pt x="1169098" y="395452"/>
                  </a:lnTo>
                  <a:lnTo>
                    <a:pt x="1176566" y="387946"/>
                  </a:lnTo>
                  <a:lnTo>
                    <a:pt x="1176566" y="378688"/>
                  </a:lnTo>
                  <a:lnTo>
                    <a:pt x="1176566" y="369443"/>
                  </a:lnTo>
                  <a:close/>
                </a:path>
                <a:path w="1290320" h="757554">
                  <a:moveTo>
                    <a:pt x="1189926" y="731380"/>
                  </a:moveTo>
                  <a:lnTo>
                    <a:pt x="1182471" y="723874"/>
                  </a:lnTo>
                  <a:lnTo>
                    <a:pt x="1163967" y="723874"/>
                  </a:lnTo>
                  <a:lnTo>
                    <a:pt x="1156512" y="731380"/>
                  </a:lnTo>
                  <a:lnTo>
                    <a:pt x="1156512" y="749884"/>
                  </a:lnTo>
                  <a:lnTo>
                    <a:pt x="1163967" y="757377"/>
                  </a:lnTo>
                  <a:lnTo>
                    <a:pt x="1182471" y="757377"/>
                  </a:lnTo>
                  <a:lnTo>
                    <a:pt x="1189926" y="749884"/>
                  </a:lnTo>
                  <a:lnTo>
                    <a:pt x="1189926" y="740625"/>
                  </a:lnTo>
                  <a:lnTo>
                    <a:pt x="1189926" y="731380"/>
                  </a:lnTo>
                  <a:close/>
                </a:path>
                <a:path w="1290320" h="757554">
                  <a:moveTo>
                    <a:pt x="1209992" y="7505"/>
                  </a:moveTo>
                  <a:lnTo>
                    <a:pt x="1202524" y="0"/>
                  </a:lnTo>
                  <a:lnTo>
                    <a:pt x="1184021" y="0"/>
                  </a:lnTo>
                  <a:lnTo>
                    <a:pt x="1176566" y="7505"/>
                  </a:lnTo>
                  <a:lnTo>
                    <a:pt x="1176566" y="26009"/>
                  </a:lnTo>
                  <a:lnTo>
                    <a:pt x="1184021" y="33515"/>
                  </a:lnTo>
                  <a:lnTo>
                    <a:pt x="1202524" y="33515"/>
                  </a:lnTo>
                  <a:lnTo>
                    <a:pt x="1209992" y="26009"/>
                  </a:lnTo>
                  <a:lnTo>
                    <a:pt x="1209992" y="16751"/>
                  </a:lnTo>
                  <a:lnTo>
                    <a:pt x="1209992" y="7505"/>
                  </a:lnTo>
                  <a:close/>
                </a:path>
                <a:path w="1290320" h="757554">
                  <a:moveTo>
                    <a:pt x="1223352" y="423062"/>
                  </a:moveTo>
                  <a:lnTo>
                    <a:pt x="1215898" y="415556"/>
                  </a:lnTo>
                  <a:lnTo>
                    <a:pt x="1197394" y="415556"/>
                  </a:lnTo>
                  <a:lnTo>
                    <a:pt x="1189926" y="423062"/>
                  </a:lnTo>
                  <a:lnTo>
                    <a:pt x="1189926" y="441566"/>
                  </a:lnTo>
                  <a:lnTo>
                    <a:pt x="1197394" y="449072"/>
                  </a:lnTo>
                  <a:lnTo>
                    <a:pt x="1215898" y="449072"/>
                  </a:lnTo>
                  <a:lnTo>
                    <a:pt x="1223352" y="441566"/>
                  </a:lnTo>
                  <a:lnTo>
                    <a:pt x="1223352" y="432308"/>
                  </a:lnTo>
                  <a:lnTo>
                    <a:pt x="1223352" y="423062"/>
                  </a:lnTo>
                  <a:close/>
                </a:path>
                <a:path w="1290320" h="757554">
                  <a:moveTo>
                    <a:pt x="1243418" y="731380"/>
                  </a:moveTo>
                  <a:lnTo>
                    <a:pt x="1235951" y="723874"/>
                  </a:lnTo>
                  <a:lnTo>
                    <a:pt x="1217447" y="723874"/>
                  </a:lnTo>
                  <a:lnTo>
                    <a:pt x="1209992" y="731380"/>
                  </a:lnTo>
                  <a:lnTo>
                    <a:pt x="1209992" y="749884"/>
                  </a:lnTo>
                  <a:lnTo>
                    <a:pt x="1217447" y="757377"/>
                  </a:lnTo>
                  <a:lnTo>
                    <a:pt x="1235951" y="757377"/>
                  </a:lnTo>
                  <a:lnTo>
                    <a:pt x="1243418" y="749884"/>
                  </a:lnTo>
                  <a:lnTo>
                    <a:pt x="1243418" y="740625"/>
                  </a:lnTo>
                  <a:lnTo>
                    <a:pt x="1243418" y="731380"/>
                  </a:lnTo>
                  <a:close/>
                </a:path>
                <a:path w="1290320" h="757554">
                  <a:moveTo>
                    <a:pt x="1256779" y="315823"/>
                  </a:moveTo>
                  <a:lnTo>
                    <a:pt x="1249311" y="308317"/>
                  </a:lnTo>
                  <a:lnTo>
                    <a:pt x="1230820" y="308317"/>
                  </a:lnTo>
                  <a:lnTo>
                    <a:pt x="1223352" y="315823"/>
                  </a:lnTo>
                  <a:lnTo>
                    <a:pt x="1223352" y="334327"/>
                  </a:lnTo>
                  <a:lnTo>
                    <a:pt x="1230820" y="341820"/>
                  </a:lnTo>
                  <a:lnTo>
                    <a:pt x="1249311" y="341820"/>
                  </a:lnTo>
                  <a:lnTo>
                    <a:pt x="1256779" y="334327"/>
                  </a:lnTo>
                  <a:lnTo>
                    <a:pt x="1256779" y="325069"/>
                  </a:lnTo>
                  <a:lnTo>
                    <a:pt x="1256779" y="315823"/>
                  </a:lnTo>
                  <a:close/>
                </a:path>
                <a:path w="1290320" h="757554">
                  <a:moveTo>
                    <a:pt x="1276832" y="423062"/>
                  </a:moveTo>
                  <a:lnTo>
                    <a:pt x="1269377" y="415556"/>
                  </a:lnTo>
                  <a:lnTo>
                    <a:pt x="1250873" y="415556"/>
                  </a:lnTo>
                  <a:lnTo>
                    <a:pt x="1243418" y="423062"/>
                  </a:lnTo>
                  <a:lnTo>
                    <a:pt x="1243418" y="441566"/>
                  </a:lnTo>
                  <a:lnTo>
                    <a:pt x="1250873" y="449072"/>
                  </a:lnTo>
                  <a:lnTo>
                    <a:pt x="1269377" y="449072"/>
                  </a:lnTo>
                  <a:lnTo>
                    <a:pt x="1276832" y="441566"/>
                  </a:lnTo>
                  <a:lnTo>
                    <a:pt x="1276832" y="432308"/>
                  </a:lnTo>
                  <a:lnTo>
                    <a:pt x="1276832" y="423062"/>
                  </a:lnTo>
                  <a:close/>
                </a:path>
                <a:path w="1290320" h="757554">
                  <a:moveTo>
                    <a:pt x="1290205" y="731380"/>
                  </a:moveTo>
                  <a:lnTo>
                    <a:pt x="1282738" y="723874"/>
                  </a:lnTo>
                  <a:lnTo>
                    <a:pt x="1264246" y="723874"/>
                  </a:lnTo>
                  <a:lnTo>
                    <a:pt x="1256779" y="731380"/>
                  </a:lnTo>
                  <a:lnTo>
                    <a:pt x="1256779" y="749884"/>
                  </a:lnTo>
                  <a:lnTo>
                    <a:pt x="1264246" y="757377"/>
                  </a:lnTo>
                  <a:lnTo>
                    <a:pt x="1282738" y="757377"/>
                  </a:lnTo>
                  <a:lnTo>
                    <a:pt x="1290205" y="749884"/>
                  </a:lnTo>
                  <a:lnTo>
                    <a:pt x="1290205" y="740625"/>
                  </a:lnTo>
                  <a:lnTo>
                    <a:pt x="1290205" y="731380"/>
                  </a:lnTo>
                  <a:close/>
                </a:path>
              </a:pathLst>
            </a:custGeom>
            <a:solidFill>
              <a:srgbClr val="1F487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1" name="object 61"/>
            <p:cNvSpPr/>
            <p:nvPr/>
          </p:nvSpPr>
          <p:spPr>
            <a:xfrm>
              <a:off x="5543601" y="5905004"/>
              <a:ext cx="441325" cy="757555"/>
            </a:xfrm>
            <a:custGeom>
              <a:avLst/>
              <a:gdLst/>
              <a:ahLst/>
              <a:cxnLst/>
              <a:rect l="l" t="t" r="r" b="b"/>
              <a:pathLst>
                <a:path w="441325" h="757554">
                  <a:moveTo>
                    <a:pt x="33426" y="731380"/>
                  </a:moveTo>
                  <a:lnTo>
                    <a:pt x="25958" y="723874"/>
                  </a:lnTo>
                  <a:lnTo>
                    <a:pt x="7467" y="723874"/>
                  </a:lnTo>
                  <a:lnTo>
                    <a:pt x="0" y="731380"/>
                  </a:lnTo>
                  <a:lnTo>
                    <a:pt x="0" y="749884"/>
                  </a:lnTo>
                  <a:lnTo>
                    <a:pt x="7467" y="757377"/>
                  </a:lnTo>
                  <a:lnTo>
                    <a:pt x="25958" y="757377"/>
                  </a:lnTo>
                  <a:lnTo>
                    <a:pt x="33426" y="749884"/>
                  </a:lnTo>
                  <a:lnTo>
                    <a:pt x="33426" y="740625"/>
                  </a:lnTo>
                  <a:lnTo>
                    <a:pt x="33426" y="731380"/>
                  </a:lnTo>
                  <a:close/>
                </a:path>
                <a:path w="441325" h="757554">
                  <a:moveTo>
                    <a:pt x="53479" y="7505"/>
                  </a:moveTo>
                  <a:lnTo>
                    <a:pt x="46024" y="0"/>
                  </a:lnTo>
                  <a:lnTo>
                    <a:pt x="27520" y="0"/>
                  </a:lnTo>
                  <a:lnTo>
                    <a:pt x="20053" y="7505"/>
                  </a:lnTo>
                  <a:lnTo>
                    <a:pt x="20053" y="26009"/>
                  </a:lnTo>
                  <a:lnTo>
                    <a:pt x="27520" y="33515"/>
                  </a:lnTo>
                  <a:lnTo>
                    <a:pt x="46024" y="33515"/>
                  </a:lnTo>
                  <a:lnTo>
                    <a:pt x="53479" y="26009"/>
                  </a:lnTo>
                  <a:lnTo>
                    <a:pt x="53479" y="16751"/>
                  </a:lnTo>
                  <a:lnTo>
                    <a:pt x="53479" y="7505"/>
                  </a:lnTo>
                  <a:close/>
                </a:path>
                <a:path w="441325" h="757554">
                  <a:moveTo>
                    <a:pt x="66852" y="315823"/>
                  </a:moveTo>
                  <a:lnTo>
                    <a:pt x="59385" y="308317"/>
                  </a:lnTo>
                  <a:lnTo>
                    <a:pt x="40894" y="308317"/>
                  </a:lnTo>
                  <a:lnTo>
                    <a:pt x="33426" y="315823"/>
                  </a:lnTo>
                  <a:lnTo>
                    <a:pt x="33426" y="334327"/>
                  </a:lnTo>
                  <a:lnTo>
                    <a:pt x="40894" y="341820"/>
                  </a:lnTo>
                  <a:lnTo>
                    <a:pt x="59385" y="341820"/>
                  </a:lnTo>
                  <a:lnTo>
                    <a:pt x="66852" y="334327"/>
                  </a:lnTo>
                  <a:lnTo>
                    <a:pt x="66852" y="325069"/>
                  </a:lnTo>
                  <a:lnTo>
                    <a:pt x="66852" y="315823"/>
                  </a:lnTo>
                  <a:close/>
                </a:path>
                <a:path w="441325" h="757554">
                  <a:moveTo>
                    <a:pt x="86906" y="731380"/>
                  </a:moveTo>
                  <a:lnTo>
                    <a:pt x="79438" y="723874"/>
                  </a:lnTo>
                  <a:lnTo>
                    <a:pt x="60947" y="723874"/>
                  </a:lnTo>
                  <a:lnTo>
                    <a:pt x="53479" y="731380"/>
                  </a:lnTo>
                  <a:lnTo>
                    <a:pt x="53479" y="749884"/>
                  </a:lnTo>
                  <a:lnTo>
                    <a:pt x="60947" y="757377"/>
                  </a:lnTo>
                  <a:lnTo>
                    <a:pt x="79438" y="757377"/>
                  </a:lnTo>
                  <a:lnTo>
                    <a:pt x="86906" y="749884"/>
                  </a:lnTo>
                  <a:lnTo>
                    <a:pt x="86906" y="740625"/>
                  </a:lnTo>
                  <a:lnTo>
                    <a:pt x="86906" y="731380"/>
                  </a:lnTo>
                  <a:close/>
                </a:path>
                <a:path w="441325" h="757554">
                  <a:moveTo>
                    <a:pt x="100279" y="7505"/>
                  </a:moveTo>
                  <a:lnTo>
                    <a:pt x="92811" y="0"/>
                  </a:lnTo>
                  <a:lnTo>
                    <a:pt x="74320" y="0"/>
                  </a:lnTo>
                  <a:lnTo>
                    <a:pt x="66852" y="7505"/>
                  </a:lnTo>
                  <a:lnTo>
                    <a:pt x="66852" y="26009"/>
                  </a:lnTo>
                  <a:lnTo>
                    <a:pt x="74320" y="33515"/>
                  </a:lnTo>
                  <a:lnTo>
                    <a:pt x="92811" y="33515"/>
                  </a:lnTo>
                  <a:lnTo>
                    <a:pt x="100279" y="26009"/>
                  </a:lnTo>
                  <a:lnTo>
                    <a:pt x="100279" y="16751"/>
                  </a:lnTo>
                  <a:lnTo>
                    <a:pt x="100279" y="7505"/>
                  </a:lnTo>
                  <a:close/>
                </a:path>
                <a:path w="441325" h="757554">
                  <a:moveTo>
                    <a:pt x="120332" y="315823"/>
                  </a:moveTo>
                  <a:lnTo>
                    <a:pt x="112864" y="308317"/>
                  </a:lnTo>
                  <a:lnTo>
                    <a:pt x="94373" y="308317"/>
                  </a:lnTo>
                  <a:lnTo>
                    <a:pt x="86906" y="315823"/>
                  </a:lnTo>
                  <a:lnTo>
                    <a:pt x="86906" y="334327"/>
                  </a:lnTo>
                  <a:lnTo>
                    <a:pt x="94373" y="341820"/>
                  </a:lnTo>
                  <a:lnTo>
                    <a:pt x="112864" y="341820"/>
                  </a:lnTo>
                  <a:lnTo>
                    <a:pt x="120332" y="334327"/>
                  </a:lnTo>
                  <a:lnTo>
                    <a:pt x="120332" y="325069"/>
                  </a:lnTo>
                  <a:lnTo>
                    <a:pt x="120332" y="315823"/>
                  </a:lnTo>
                  <a:close/>
                </a:path>
                <a:path w="441325" h="757554">
                  <a:moveTo>
                    <a:pt x="140385" y="731380"/>
                  </a:moveTo>
                  <a:lnTo>
                    <a:pt x="132918" y="723874"/>
                  </a:lnTo>
                  <a:lnTo>
                    <a:pt x="114427" y="723874"/>
                  </a:lnTo>
                  <a:lnTo>
                    <a:pt x="106959" y="731380"/>
                  </a:lnTo>
                  <a:lnTo>
                    <a:pt x="106959" y="749884"/>
                  </a:lnTo>
                  <a:lnTo>
                    <a:pt x="114427" y="757377"/>
                  </a:lnTo>
                  <a:lnTo>
                    <a:pt x="132918" y="757377"/>
                  </a:lnTo>
                  <a:lnTo>
                    <a:pt x="140385" y="749884"/>
                  </a:lnTo>
                  <a:lnTo>
                    <a:pt x="140385" y="740625"/>
                  </a:lnTo>
                  <a:lnTo>
                    <a:pt x="140385" y="731380"/>
                  </a:lnTo>
                  <a:close/>
                </a:path>
                <a:path w="441325" h="757554">
                  <a:moveTo>
                    <a:pt x="153758" y="7505"/>
                  </a:moveTo>
                  <a:lnTo>
                    <a:pt x="146291" y="0"/>
                  </a:lnTo>
                  <a:lnTo>
                    <a:pt x="127800" y="0"/>
                  </a:lnTo>
                  <a:lnTo>
                    <a:pt x="120332" y="7505"/>
                  </a:lnTo>
                  <a:lnTo>
                    <a:pt x="120332" y="26009"/>
                  </a:lnTo>
                  <a:lnTo>
                    <a:pt x="127800" y="33515"/>
                  </a:lnTo>
                  <a:lnTo>
                    <a:pt x="146291" y="33515"/>
                  </a:lnTo>
                  <a:lnTo>
                    <a:pt x="153758" y="26009"/>
                  </a:lnTo>
                  <a:lnTo>
                    <a:pt x="153758" y="16751"/>
                  </a:lnTo>
                  <a:lnTo>
                    <a:pt x="153758" y="7505"/>
                  </a:lnTo>
                  <a:close/>
                </a:path>
                <a:path w="441325" h="757554">
                  <a:moveTo>
                    <a:pt x="173812" y="315823"/>
                  </a:moveTo>
                  <a:lnTo>
                    <a:pt x="166344" y="308317"/>
                  </a:lnTo>
                  <a:lnTo>
                    <a:pt x="147853" y="308317"/>
                  </a:lnTo>
                  <a:lnTo>
                    <a:pt x="140385" y="315823"/>
                  </a:lnTo>
                  <a:lnTo>
                    <a:pt x="140385" y="334327"/>
                  </a:lnTo>
                  <a:lnTo>
                    <a:pt x="147853" y="341820"/>
                  </a:lnTo>
                  <a:lnTo>
                    <a:pt x="166344" y="341820"/>
                  </a:lnTo>
                  <a:lnTo>
                    <a:pt x="173812" y="334327"/>
                  </a:lnTo>
                  <a:lnTo>
                    <a:pt x="173812" y="325069"/>
                  </a:lnTo>
                  <a:lnTo>
                    <a:pt x="173812" y="315823"/>
                  </a:lnTo>
                  <a:close/>
                </a:path>
                <a:path w="441325" h="757554">
                  <a:moveTo>
                    <a:pt x="187185" y="731380"/>
                  </a:moveTo>
                  <a:lnTo>
                    <a:pt x="179717" y="723874"/>
                  </a:lnTo>
                  <a:lnTo>
                    <a:pt x="161226" y="723874"/>
                  </a:lnTo>
                  <a:lnTo>
                    <a:pt x="153758" y="731380"/>
                  </a:lnTo>
                  <a:lnTo>
                    <a:pt x="153758" y="749884"/>
                  </a:lnTo>
                  <a:lnTo>
                    <a:pt x="161226" y="757377"/>
                  </a:lnTo>
                  <a:lnTo>
                    <a:pt x="179717" y="757377"/>
                  </a:lnTo>
                  <a:lnTo>
                    <a:pt x="187185" y="749884"/>
                  </a:lnTo>
                  <a:lnTo>
                    <a:pt x="187185" y="740625"/>
                  </a:lnTo>
                  <a:lnTo>
                    <a:pt x="187185" y="731380"/>
                  </a:lnTo>
                  <a:close/>
                </a:path>
                <a:path w="441325" h="757554">
                  <a:moveTo>
                    <a:pt x="207238" y="7505"/>
                  </a:moveTo>
                  <a:lnTo>
                    <a:pt x="199771" y="0"/>
                  </a:lnTo>
                  <a:lnTo>
                    <a:pt x="181279" y="0"/>
                  </a:lnTo>
                  <a:lnTo>
                    <a:pt x="173812" y="7505"/>
                  </a:lnTo>
                  <a:lnTo>
                    <a:pt x="173812" y="26009"/>
                  </a:lnTo>
                  <a:lnTo>
                    <a:pt x="181279" y="33515"/>
                  </a:lnTo>
                  <a:lnTo>
                    <a:pt x="199771" y="33515"/>
                  </a:lnTo>
                  <a:lnTo>
                    <a:pt x="207238" y="26009"/>
                  </a:lnTo>
                  <a:lnTo>
                    <a:pt x="207238" y="16751"/>
                  </a:lnTo>
                  <a:lnTo>
                    <a:pt x="207238" y="7505"/>
                  </a:lnTo>
                  <a:close/>
                </a:path>
                <a:path w="441325" h="757554">
                  <a:moveTo>
                    <a:pt x="220611" y="315823"/>
                  </a:moveTo>
                  <a:lnTo>
                    <a:pt x="213144" y="308317"/>
                  </a:lnTo>
                  <a:lnTo>
                    <a:pt x="194652" y="308317"/>
                  </a:lnTo>
                  <a:lnTo>
                    <a:pt x="187185" y="315823"/>
                  </a:lnTo>
                  <a:lnTo>
                    <a:pt x="187185" y="334327"/>
                  </a:lnTo>
                  <a:lnTo>
                    <a:pt x="194652" y="341820"/>
                  </a:lnTo>
                  <a:lnTo>
                    <a:pt x="213144" y="341820"/>
                  </a:lnTo>
                  <a:lnTo>
                    <a:pt x="220611" y="334327"/>
                  </a:lnTo>
                  <a:lnTo>
                    <a:pt x="220611" y="325069"/>
                  </a:lnTo>
                  <a:lnTo>
                    <a:pt x="220611" y="315823"/>
                  </a:lnTo>
                  <a:close/>
                </a:path>
                <a:path w="441325" h="757554">
                  <a:moveTo>
                    <a:pt x="240665" y="731380"/>
                  </a:moveTo>
                  <a:lnTo>
                    <a:pt x="233197" y="723874"/>
                  </a:lnTo>
                  <a:lnTo>
                    <a:pt x="214706" y="723874"/>
                  </a:lnTo>
                  <a:lnTo>
                    <a:pt x="207238" y="731380"/>
                  </a:lnTo>
                  <a:lnTo>
                    <a:pt x="207238" y="749884"/>
                  </a:lnTo>
                  <a:lnTo>
                    <a:pt x="214706" y="757377"/>
                  </a:lnTo>
                  <a:lnTo>
                    <a:pt x="233197" y="757377"/>
                  </a:lnTo>
                  <a:lnTo>
                    <a:pt x="240665" y="749884"/>
                  </a:lnTo>
                  <a:lnTo>
                    <a:pt x="240665" y="740625"/>
                  </a:lnTo>
                  <a:lnTo>
                    <a:pt x="240665" y="731380"/>
                  </a:lnTo>
                  <a:close/>
                </a:path>
                <a:path w="441325" h="757554">
                  <a:moveTo>
                    <a:pt x="254038" y="7505"/>
                  </a:moveTo>
                  <a:lnTo>
                    <a:pt x="246570" y="0"/>
                  </a:lnTo>
                  <a:lnTo>
                    <a:pt x="228079" y="0"/>
                  </a:lnTo>
                  <a:lnTo>
                    <a:pt x="220611" y="7505"/>
                  </a:lnTo>
                  <a:lnTo>
                    <a:pt x="220611" y="26009"/>
                  </a:lnTo>
                  <a:lnTo>
                    <a:pt x="228079" y="33515"/>
                  </a:lnTo>
                  <a:lnTo>
                    <a:pt x="246570" y="33515"/>
                  </a:lnTo>
                  <a:lnTo>
                    <a:pt x="254038" y="26009"/>
                  </a:lnTo>
                  <a:lnTo>
                    <a:pt x="254038" y="16751"/>
                  </a:lnTo>
                  <a:lnTo>
                    <a:pt x="254038" y="7505"/>
                  </a:lnTo>
                  <a:close/>
                </a:path>
                <a:path w="441325" h="757554">
                  <a:moveTo>
                    <a:pt x="274091" y="315823"/>
                  </a:moveTo>
                  <a:lnTo>
                    <a:pt x="266623" y="308317"/>
                  </a:lnTo>
                  <a:lnTo>
                    <a:pt x="248132" y="308317"/>
                  </a:lnTo>
                  <a:lnTo>
                    <a:pt x="240665" y="315823"/>
                  </a:lnTo>
                  <a:lnTo>
                    <a:pt x="240665" y="334327"/>
                  </a:lnTo>
                  <a:lnTo>
                    <a:pt x="248132" y="341820"/>
                  </a:lnTo>
                  <a:lnTo>
                    <a:pt x="266623" y="341820"/>
                  </a:lnTo>
                  <a:lnTo>
                    <a:pt x="274091" y="334327"/>
                  </a:lnTo>
                  <a:lnTo>
                    <a:pt x="274091" y="325069"/>
                  </a:lnTo>
                  <a:lnTo>
                    <a:pt x="274091" y="315823"/>
                  </a:lnTo>
                  <a:close/>
                </a:path>
                <a:path w="441325" h="757554">
                  <a:moveTo>
                    <a:pt x="287464" y="731380"/>
                  </a:moveTo>
                  <a:lnTo>
                    <a:pt x="279996" y="723874"/>
                  </a:lnTo>
                  <a:lnTo>
                    <a:pt x="261505" y="723874"/>
                  </a:lnTo>
                  <a:lnTo>
                    <a:pt x="254038" y="731380"/>
                  </a:lnTo>
                  <a:lnTo>
                    <a:pt x="254038" y="749884"/>
                  </a:lnTo>
                  <a:lnTo>
                    <a:pt x="261505" y="757377"/>
                  </a:lnTo>
                  <a:lnTo>
                    <a:pt x="279996" y="757377"/>
                  </a:lnTo>
                  <a:lnTo>
                    <a:pt x="287464" y="749884"/>
                  </a:lnTo>
                  <a:lnTo>
                    <a:pt x="287464" y="740625"/>
                  </a:lnTo>
                  <a:lnTo>
                    <a:pt x="287464" y="731380"/>
                  </a:lnTo>
                  <a:close/>
                </a:path>
                <a:path w="441325" h="757554">
                  <a:moveTo>
                    <a:pt x="307517" y="7505"/>
                  </a:moveTo>
                  <a:lnTo>
                    <a:pt x="300050" y="0"/>
                  </a:lnTo>
                  <a:lnTo>
                    <a:pt x="281559" y="0"/>
                  </a:lnTo>
                  <a:lnTo>
                    <a:pt x="274091" y="7505"/>
                  </a:lnTo>
                  <a:lnTo>
                    <a:pt x="274091" y="26009"/>
                  </a:lnTo>
                  <a:lnTo>
                    <a:pt x="281559" y="33515"/>
                  </a:lnTo>
                  <a:lnTo>
                    <a:pt x="300050" y="33515"/>
                  </a:lnTo>
                  <a:lnTo>
                    <a:pt x="307517" y="26009"/>
                  </a:lnTo>
                  <a:lnTo>
                    <a:pt x="307517" y="16751"/>
                  </a:lnTo>
                  <a:lnTo>
                    <a:pt x="307517" y="7505"/>
                  </a:lnTo>
                  <a:close/>
                </a:path>
                <a:path w="441325" h="757554">
                  <a:moveTo>
                    <a:pt x="320890" y="369443"/>
                  </a:moveTo>
                  <a:lnTo>
                    <a:pt x="313423" y="361937"/>
                  </a:lnTo>
                  <a:lnTo>
                    <a:pt x="294919" y="361937"/>
                  </a:lnTo>
                  <a:lnTo>
                    <a:pt x="287464" y="369443"/>
                  </a:lnTo>
                  <a:lnTo>
                    <a:pt x="287464" y="387946"/>
                  </a:lnTo>
                  <a:lnTo>
                    <a:pt x="294919" y="395452"/>
                  </a:lnTo>
                  <a:lnTo>
                    <a:pt x="313423" y="395452"/>
                  </a:lnTo>
                  <a:lnTo>
                    <a:pt x="320890" y="387946"/>
                  </a:lnTo>
                  <a:lnTo>
                    <a:pt x="320890" y="378688"/>
                  </a:lnTo>
                  <a:lnTo>
                    <a:pt x="320890" y="369443"/>
                  </a:lnTo>
                  <a:close/>
                </a:path>
                <a:path w="441325" h="757554">
                  <a:moveTo>
                    <a:pt x="340944" y="731380"/>
                  </a:moveTo>
                  <a:lnTo>
                    <a:pt x="333476" y="723874"/>
                  </a:lnTo>
                  <a:lnTo>
                    <a:pt x="314985" y="723874"/>
                  </a:lnTo>
                  <a:lnTo>
                    <a:pt x="307517" y="731380"/>
                  </a:lnTo>
                  <a:lnTo>
                    <a:pt x="307517" y="749884"/>
                  </a:lnTo>
                  <a:lnTo>
                    <a:pt x="314985" y="757377"/>
                  </a:lnTo>
                  <a:lnTo>
                    <a:pt x="333476" y="757377"/>
                  </a:lnTo>
                  <a:lnTo>
                    <a:pt x="340944" y="749884"/>
                  </a:lnTo>
                  <a:lnTo>
                    <a:pt x="340944" y="740625"/>
                  </a:lnTo>
                  <a:lnTo>
                    <a:pt x="340944" y="731380"/>
                  </a:lnTo>
                  <a:close/>
                </a:path>
                <a:path w="441325" h="757554">
                  <a:moveTo>
                    <a:pt x="354304" y="7505"/>
                  </a:moveTo>
                  <a:lnTo>
                    <a:pt x="346849" y="0"/>
                  </a:lnTo>
                  <a:lnTo>
                    <a:pt x="328345" y="0"/>
                  </a:lnTo>
                  <a:lnTo>
                    <a:pt x="320890" y="7505"/>
                  </a:lnTo>
                  <a:lnTo>
                    <a:pt x="320890" y="26009"/>
                  </a:lnTo>
                  <a:lnTo>
                    <a:pt x="328345" y="33515"/>
                  </a:lnTo>
                  <a:lnTo>
                    <a:pt x="346849" y="33515"/>
                  </a:lnTo>
                  <a:lnTo>
                    <a:pt x="354304" y="26009"/>
                  </a:lnTo>
                  <a:lnTo>
                    <a:pt x="354304" y="16751"/>
                  </a:lnTo>
                  <a:lnTo>
                    <a:pt x="354304" y="7505"/>
                  </a:lnTo>
                  <a:close/>
                </a:path>
                <a:path w="441325" h="757554">
                  <a:moveTo>
                    <a:pt x="374370" y="369443"/>
                  </a:moveTo>
                  <a:lnTo>
                    <a:pt x="366903" y="361937"/>
                  </a:lnTo>
                  <a:lnTo>
                    <a:pt x="348411" y="361937"/>
                  </a:lnTo>
                  <a:lnTo>
                    <a:pt x="340944" y="369443"/>
                  </a:lnTo>
                  <a:lnTo>
                    <a:pt x="340944" y="387946"/>
                  </a:lnTo>
                  <a:lnTo>
                    <a:pt x="348411" y="395452"/>
                  </a:lnTo>
                  <a:lnTo>
                    <a:pt x="366903" y="395452"/>
                  </a:lnTo>
                  <a:lnTo>
                    <a:pt x="374370" y="387946"/>
                  </a:lnTo>
                  <a:lnTo>
                    <a:pt x="374370" y="378688"/>
                  </a:lnTo>
                  <a:lnTo>
                    <a:pt x="374370" y="369443"/>
                  </a:lnTo>
                  <a:close/>
                </a:path>
                <a:path w="441325" h="757554">
                  <a:moveTo>
                    <a:pt x="387731" y="731380"/>
                  </a:moveTo>
                  <a:lnTo>
                    <a:pt x="380276" y="723874"/>
                  </a:lnTo>
                  <a:lnTo>
                    <a:pt x="361772" y="723874"/>
                  </a:lnTo>
                  <a:lnTo>
                    <a:pt x="354304" y="731380"/>
                  </a:lnTo>
                  <a:lnTo>
                    <a:pt x="354304" y="749884"/>
                  </a:lnTo>
                  <a:lnTo>
                    <a:pt x="361772" y="757377"/>
                  </a:lnTo>
                  <a:lnTo>
                    <a:pt x="380276" y="757377"/>
                  </a:lnTo>
                  <a:lnTo>
                    <a:pt x="387731" y="749884"/>
                  </a:lnTo>
                  <a:lnTo>
                    <a:pt x="387731" y="740625"/>
                  </a:lnTo>
                  <a:lnTo>
                    <a:pt x="387731" y="731380"/>
                  </a:lnTo>
                  <a:close/>
                </a:path>
                <a:path w="441325" h="757554">
                  <a:moveTo>
                    <a:pt x="407797" y="7505"/>
                  </a:moveTo>
                  <a:lnTo>
                    <a:pt x="400329" y="0"/>
                  </a:lnTo>
                  <a:lnTo>
                    <a:pt x="381825" y="0"/>
                  </a:lnTo>
                  <a:lnTo>
                    <a:pt x="374370" y="7505"/>
                  </a:lnTo>
                  <a:lnTo>
                    <a:pt x="374370" y="26009"/>
                  </a:lnTo>
                  <a:lnTo>
                    <a:pt x="381825" y="33515"/>
                  </a:lnTo>
                  <a:lnTo>
                    <a:pt x="400329" y="33515"/>
                  </a:lnTo>
                  <a:lnTo>
                    <a:pt x="407797" y="26009"/>
                  </a:lnTo>
                  <a:lnTo>
                    <a:pt x="407797" y="16751"/>
                  </a:lnTo>
                  <a:lnTo>
                    <a:pt x="407797" y="7505"/>
                  </a:lnTo>
                  <a:close/>
                </a:path>
                <a:path w="441325" h="757554">
                  <a:moveTo>
                    <a:pt x="421157" y="369443"/>
                  </a:moveTo>
                  <a:lnTo>
                    <a:pt x="413689" y="361937"/>
                  </a:lnTo>
                  <a:lnTo>
                    <a:pt x="395198" y="361937"/>
                  </a:lnTo>
                  <a:lnTo>
                    <a:pt x="387731" y="369443"/>
                  </a:lnTo>
                  <a:lnTo>
                    <a:pt x="387731" y="387946"/>
                  </a:lnTo>
                  <a:lnTo>
                    <a:pt x="395198" y="395452"/>
                  </a:lnTo>
                  <a:lnTo>
                    <a:pt x="413689" y="395452"/>
                  </a:lnTo>
                  <a:lnTo>
                    <a:pt x="421157" y="387946"/>
                  </a:lnTo>
                  <a:lnTo>
                    <a:pt x="421157" y="378688"/>
                  </a:lnTo>
                  <a:lnTo>
                    <a:pt x="421157" y="369443"/>
                  </a:lnTo>
                  <a:close/>
                </a:path>
                <a:path w="441325" h="757554">
                  <a:moveTo>
                    <a:pt x="441210" y="731380"/>
                  </a:moveTo>
                  <a:lnTo>
                    <a:pt x="433755" y="723874"/>
                  </a:lnTo>
                  <a:lnTo>
                    <a:pt x="415251" y="723874"/>
                  </a:lnTo>
                  <a:lnTo>
                    <a:pt x="407797" y="731380"/>
                  </a:lnTo>
                  <a:lnTo>
                    <a:pt x="407797" y="749884"/>
                  </a:lnTo>
                  <a:lnTo>
                    <a:pt x="415251" y="757377"/>
                  </a:lnTo>
                  <a:lnTo>
                    <a:pt x="433755" y="757377"/>
                  </a:lnTo>
                  <a:lnTo>
                    <a:pt x="441210" y="749884"/>
                  </a:lnTo>
                  <a:lnTo>
                    <a:pt x="441210" y="740625"/>
                  </a:lnTo>
                  <a:lnTo>
                    <a:pt x="441210" y="731380"/>
                  </a:lnTo>
                  <a:close/>
                </a:path>
              </a:pathLst>
            </a:custGeom>
            <a:solidFill>
              <a:srgbClr val="1F487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2" name="object 62"/>
            <p:cNvSpPr/>
            <p:nvPr/>
          </p:nvSpPr>
          <p:spPr>
            <a:xfrm>
              <a:off x="6673382" y="5797755"/>
              <a:ext cx="2032635" cy="979169"/>
            </a:xfrm>
            <a:custGeom>
              <a:avLst/>
              <a:gdLst/>
              <a:ahLst/>
              <a:cxnLst/>
              <a:rect l="l" t="t" r="r" b="b"/>
              <a:pathLst>
                <a:path w="2032634" h="979170">
                  <a:moveTo>
                    <a:pt x="2032253" y="0"/>
                  </a:moveTo>
                  <a:lnTo>
                    <a:pt x="0" y="0"/>
                  </a:lnTo>
                  <a:lnTo>
                    <a:pt x="0" y="978569"/>
                  </a:lnTo>
                  <a:lnTo>
                    <a:pt x="2032253" y="978569"/>
                  </a:lnTo>
                  <a:lnTo>
                    <a:pt x="2032253"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3" name="object 63"/>
            <p:cNvSpPr/>
            <p:nvPr/>
          </p:nvSpPr>
          <p:spPr>
            <a:xfrm>
              <a:off x="6870591" y="5921751"/>
              <a:ext cx="1711960" cy="730885"/>
            </a:xfrm>
            <a:custGeom>
              <a:avLst/>
              <a:gdLst/>
              <a:ahLst/>
              <a:cxnLst/>
              <a:rect l="l" t="t" r="r" b="b"/>
              <a:pathLst>
                <a:path w="1711959" h="730884">
                  <a:moveTo>
                    <a:pt x="33425" y="0"/>
                  </a:moveTo>
                  <a:lnTo>
                    <a:pt x="1711371" y="0"/>
                  </a:lnTo>
                </a:path>
                <a:path w="1711959" h="730884">
                  <a:moveTo>
                    <a:pt x="33425" y="730576"/>
                  </a:moveTo>
                  <a:lnTo>
                    <a:pt x="33425" y="0"/>
                  </a:lnTo>
                </a:path>
                <a:path w="1711959" h="730884">
                  <a:moveTo>
                    <a:pt x="0" y="730576"/>
                  </a:moveTo>
                  <a:lnTo>
                    <a:pt x="33425" y="730576"/>
                  </a:lnTo>
                </a:path>
                <a:path w="1711959" h="730884">
                  <a:moveTo>
                    <a:pt x="0" y="0"/>
                  </a:moveTo>
                  <a:lnTo>
                    <a:pt x="33425" y="0"/>
                  </a:lnTo>
                </a:path>
                <a:path w="1711959" h="730884">
                  <a:moveTo>
                    <a:pt x="33425" y="730576"/>
                  </a:moveTo>
                  <a:lnTo>
                    <a:pt x="1711371" y="730576"/>
                  </a:lnTo>
                </a:path>
              </a:pathLst>
            </a:custGeom>
            <a:ln w="6700">
              <a:solidFill>
                <a:srgbClr val="85858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4" name="object 64"/>
            <p:cNvSpPr/>
            <p:nvPr/>
          </p:nvSpPr>
          <p:spPr>
            <a:xfrm>
              <a:off x="6900672" y="5905004"/>
              <a:ext cx="1290320" cy="757555"/>
            </a:xfrm>
            <a:custGeom>
              <a:avLst/>
              <a:gdLst/>
              <a:ahLst/>
              <a:cxnLst/>
              <a:rect l="l" t="t" r="r" b="b"/>
              <a:pathLst>
                <a:path w="1290320" h="757554">
                  <a:moveTo>
                    <a:pt x="33426" y="7505"/>
                  </a:moveTo>
                  <a:lnTo>
                    <a:pt x="25958" y="0"/>
                  </a:lnTo>
                  <a:lnTo>
                    <a:pt x="7454" y="0"/>
                  </a:lnTo>
                  <a:lnTo>
                    <a:pt x="0" y="7505"/>
                  </a:lnTo>
                  <a:lnTo>
                    <a:pt x="0" y="26009"/>
                  </a:lnTo>
                  <a:lnTo>
                    <a:pt x="7454" y="33515"/>
                  </a:lnTo>
                  <a:lnTo>
                    <a:pt x="25958" y="33515"/>
                  </a:lnTo>
                  <a:lnTo>
                    <a:pt x="33426" y="26009"/>
                  </a:lnTo>
                  <a:lnTo>
                    <a:pt x="33426" y="16751"/>
                  </a:lnTo>
                  <a:lnTo>
                    <a:pt x="33426" y="7505"/>
                  </a:lnTo>
                  <a:close/>
                </a:path>
                <a:path w="1290320" h="757554">
                  <a:moveTo>
                    <a:pt x="53479" y="369443"/>
                  </a:moveTo>
                  <a:lnTo>
                    <a:pt x="46012" y="361937"/>
                  </a:lnTo>
                  <a:lnTo>
                    <a:pt x="27520" y="361937"/>
                  </a:lnTo>
                  <a:lnTo>
                    <a:pt x="20053" y="369443"/>
                  </a:lnTo>
                  <a:lnTo>
                    <a:pt x="20053" y="387946"/>
                  </a:lnTo>
                  <a:lnTo>
                    <a:pt x="27520" y="395452"/>
                  </a:lnTo>
                  <a:lnTo>
                    <a:pt x="46012" y="395452"/>
                  </a:lnTo>
                  <a:lnTo>
                    <a:pt x="53479" y="387946"/>
                  </a:lnTo>
                  <a:lnTo>
                    <a:pt x="53479" y="378688"/>
                  </a:lnTo>
                  <a:lnTo>
                    <a:pt x="53479" y="369443"/>
                  </a:lnTo>
                  <a:close/>
                </a:path>
                <a:path w="1290320" h="757554">
                  <a:moveTo>
                    <a:pt x="66840" y="731380"/>
                  </a:moveTo>
                  <a:lnTo>
                    <a:pt x="59385" y="723874"/>
                  </a:lnTo>
                  <a:lnTo>
                    <a:pt x="40881" y="723874"/>
                  </a:lnTo>
                  <a:lnTo>
                    <a:pt x="33426" y="731380"/>
                  </a:lnTo>
                  <a:lnTo>
                    <a:pt x="33426" y="749884"/>
                  </a:lnTo>
                  <a:lnTo>
                    <a:pt x="40881" y="757377"/>
                  </a:lnTo>
                  <a:lnTo>
                    <a:pt x="59385" y="757377"/>
                  </a:lnTo>
                  <a:lnTo>
                    <a:pt x="66840" y="749884"/>
                  </a:lnTo>
                  <a:lnTo>
                    <a:pt x="66840" y="740625"/>
                  </a:lnTo>
                  <a:lnTo>
                    <a:pt x="66840" y="731380"/>
                  </a:lnTo>
                  <a:close/>
                </a:path>
                <a:path w="1290320" h="757554">
                  <a:moveTo>
                    <a:pt x="86906" y="7505"/>
                  </a:moveTo>
                  <a:lnTo>
                    <a:pt x="79438" y="0"/>
                  </a:lnTo>
                  <a:lnTo>
                    <a:pt x="60947" y="0"/>
                  </a:lnTo>
                  <a:lnTo>
                    <a:pt x="53479" y="7505"/>
                  </a:lnTo>
                  <a:lnTo>
                    <a:pt x="53479" y="26009"/>
                  </a:lnTo>
                  <a:lnTo>
                    <a:pt x="60947" y="33515"/>
                  </a:lnTo>
                  <a:lnTo>
                    <a:pt x="79438" y="33515"/>
                  </a:lnTo>
                  <a:lnTo>
                    <a:pt x="86906" y="26009"/>
                  </a:lnTo>
                  <a:lnTo>
                    <a:pt x="86906" y="16751"/>
                  </a:lnTo>
                  <a:lnTo>
                    <a:pt x="86906" y="7505"/>
                  </a:lnTo>
                  <a:close/>
                </a:path>
                <a:path w="1290320" h="757554">
                  <a:moveTo>
                    <a:pt x="100266" y="369443"/>
                  </a:moveTo>
                  <a:lnTo>
                    <a:pt x="92811" y="361937"/>
                  </a:lnTo>
                  <a:lnTo>
                    <a:pt x="74307" y="361937"/>
                  </a:lnTo>
                  <a:lnTo>
                    <a:pt x="66840" y="369443"/>
                  </a:lnTo>
                  <a:lnTo>
                    <a:pt x="66840" y="387946"/>
                  </a:lnTo>
                  <a:lnTo>
                    <a:pt x="74307" y="395452"/>
                  </a:lnTo>
                  <a:lnTo>
                    <a:pt x="92811" y="395452"/>
                  </a:lnTo>
                  <a:lnTo>
                    <a:pt x="100266" y="387946"/>
                  </a:lnTo>
                  <a:lnTo>
                    <a:pt x="100266" y="378688"/>
                  </a:lnTo>
                  <a:lnTo>
                    <a:pt x="100266" y="369443"/>
                  </a:lnTo>
                  <a:close/>
                </a:path>
                <a:path w="1290320" h="757554">
                  <a:moveTo>
                    <a:pt x="120332" y="731380"/>
                  </a:moveTo>
                  <a:lnTo>
                    <a:pt x="112864" y="723874"/>
                  </a:lnTo>
                  <a:lnTo>
                    <a:pt x="94361" y="723874"/>
                  </a:lnTo>
                  <a:lnTo>
                    <a:pt x="86906" y="731380"/>
                  </a:lnTo>
                  <a:lnTo>
                    <a:pt x="86906" y="749884"/>
                  </a:lnTo>
                  <a:lnTo>
                    <a:pt x="94361" y="757377"/>
                  </a:lnTo>
                  <a:lnTo>
                    <a:pt x="112864" y="757377"/>
                  </a:lnTo>
                  <a:lnTo>
                    <a:pt x="120332" y="749884"/>
                  </a:lnTo>
                  <a:lnTo>
                    <a:pt x="120332" y="740625"/>
                  </a:lnTo>
                  <a:lnTo>
                    <a:pt x="120332" y="731380"/>
                  </a:lnTo>
                  <a:close/>
                </a:path>
                <a:path w="1290320" h="757554">
                  <a:moveTo>
                    <a:pt x="133692" y="7505"/>
                  </a:moveTo>
                  <a:lnTo>
                    <a:pt x="126238" y="0"/>
                  </a:lnTo>
                  <a:lnTo>
                    <a:pt x="107734" y="0"/>
                  </a:lnTo>
                  <a:lnTo>
                    <a:pt x="100266" y="7505"/>
                  </a:lnTo>
                  <a:lnTo>
                    <a:pt x="100266" y="26009"/>
                  </a:lnTo>
                  <a:lnTo>
                    <a:pt x="107734" y="33515"/>
                  </a:lnTo>
                  <a:lnTo>
                    <a:pt x="126238" y="33515"/>
                  </a:lnTo>
                  <a:lnTo>
                    <a:pt x="133692" y="26009"/>
                  </a:lnTo>
                  <a:lnTo>
                    <a:pt x="133692" y="16751"/>
                  </a:lnTo>
                  <a:lnTo>
                    <a:pt x="133692" y="7505"/>
                  </a:lnTo>
                  <a:close/>
                </a:path>
                <a:path w="1290320" h="757554">
                  <a:moveTo>
                    <a:pt x="153746" y="369443"/>
                  </a:moveTo>
                  <a:lnTo>
                    <a:pt x="146291" y="361937"/>
                  </a:lnTo>
                  <a:lnTo>
                    <a:pt x="127787" y="361937"/>
                  </a:lnTo>
                  <a:lnTo>
                    <a:pt x="120332" y="369443"/>
                  </a:lnTo>
                  <a:lnTo>
                    <a:pt x="120332" y="387946"/>
                  </a:lnTo>
                  <a:lnTo>
                    <a:pt x="127787" y="395452"/>
                  </a:lnTo>
                  <a:lnTo>
                    <a:pt x="146291" y="395452"/>
                  </a:lnTo>
                  <a:lnTo>
                    <a:pt x="153746" y="387946"/>
                  </a:lnTo>
                  <a:lnTo>
                    <a:pt x="153746" y="378688"/>
                  </a:lnTo>
                  <a:lnTo>
                    <a:pt x="153746" y="369443"/>
                  </a:lnTo>
                  <a:close/>
                </a:path>
                <a:path w="1290320" h="757554">
                  <a:moveTo>
                    <a:pt x="167119" y="731380"/>
                  </a:moveTo>
                  <a:lnTo>
                    <a:pt x="159651" y="723874"/>
                  </a:lnTo>
                  <a:lnTo>
                    <a:pt x="141160" y="723874"/>
                  </a:lnTo>
                  <a:lnTo>
                    <a:pt x="133692" y="731380"/>
                  </a:lnTo>
                  <a:lnTo>
                    <a:pt x="133692" y="749884"/>
                  </a:lnTo>
                  <a:lnTo>
                    <a:pt x="141160" y="757377"/>
                  </a:lnTo>
                  <a:lnTo>
                    <a:pt x="159651" y="757377"/>
                  </a:lnTo>
                  <a:lnTo>
                    <a:pt x="167119" y="749884"/>
                  </a:lnTo>
                  <a:lnTo>
                    <a:pt x="167119" y="740625"/>
                  </a:lnTo>
                  <a:lnTo>
                    <a:pt x="167119" y="731380"/>
                  </a:lnTo>
                  <a:close/>
                </a:path>
                <a:path w="1290320" h="757554">
                  <a:moveTo>
                    <a:pt x="187172" y="7505"/>
                  </a:moveTo>
                  <a:lnTo>
                    <a:pt x="179717" y="0"/>
                  </a:lnTo>
                  <a:lnTo>
                    <a:pt x="161213" y="0"/>
                  </a:lnTo>
                  <a:lnTo>
                    <a:pt x="153746" y="7505"/>
                  </a:lnTo>
                  <a:lnTo>
                    <a:pt x="153746" y="26009"/>
                  </a:lnTo>
                  <a:lnTo>
                    <a:pt x="161213" y="33515"/>
                  </a:lnTo>
                  <a:lnTo>
                    <a:pt x="179717" y="33515"/>
                  </a:lnTo>
                  <a:lnTo>
                    <a:pt x="187172" y="26009"/>
                  </a:lnTo>
                  <a:lnTo>
                    <a:pt x="187172" y="16751"/>
                  </a:lnTo>
                  <a:lnTo>
                    <a:pt x="187172" y="7505"/>
                  </a:lnTo>
                  <a:close/>
                </a:path>
                <a:path w="1290320" h="757554">
                  <a:moveTo>
                    <a:pt x="200545" y="369443"/>
                  </a:moveTo>
                  <a:lnTo>
                    <a:pt x="193078" y="361937"/>
                  </a:lnTo>
                  <a:lnTo>
                    <a:pt x="174586" y="361937"/>
                  </a:lnTo>
                  <a:lnTo>
                    <a:pt x="167119" y="369443"/>
                  </a:lnTo>
                  <a:lnTo>
                    <a:pt x="167119" y="387946"/>
                  </a:lnTo>
                  <a:lnTo>
                    <a:pt x="174586" y="395452"/>
                  </a:lnTo>
                  <a:lnTo>
                    <a:pt x="193078" y="395452"/>
                  </a:lnTo>
                  <a:lnTo>
                    <a:pt x="200545" y="387946"/>
                  </a:lnTo>
                  <a:lnTo>
                    <a:pt x="200545" y="378688"/>
                  </a:lnTo>
                  <a:lnTo>
                    <a:pt x="200545" y="369443"/>
                  </a:lnTo>
                  <a:close/>
                </a:path>
                <a:path w="1290320" h="757554">
                  <a:moveTo>
                    <a:pt x="220599" y="731380"/>
                  </a:moveTo>
                  <a:lnTo>
                    <a:pt x="213131" y="723874"/>
                  </a:lnTo>
                  <a:lnTo>
                    <a:pt x="194640" y="723874"/>
                  </a:lnTo>
                  <a:lnTo>
                    <a:pt x="187172" y="731380"/>
                  </a:lnTo>
                  <a:lnTo>
                    <a:pt x="187172" y="749884"/>
                  </a:lnTo>
                  <a:lnTo>
                    <a:pt x="194640" y="757377"/>
                  </a:lnTo>
                  <a:lnTo>
                    <a:pt x="213131" y="757377"/>
                  </a:lnTo>
                  <a:lnTo>
                    <a:pt x="220599" y="749884"/>
                  </a:lnTo>
                  <a:lnTo>
                    <a:pt x="220599" y="740625"/>
                  </a:lnTo>
                  <a:lnTo>
                    <a:pt x="220599" y="731380"/>
                  </a:lnTo>
                  <a:close/>
                </a:path>
                <a:path w="1290320" h="757554">
                  <a:moveTo>
                    <a:pt x="233972" y="7505"/>
                  </a:moveTo>
                  <a:lnTo>
                    <a:pt x="226504" y="0"/>
                  </a:lnTo>
                  <a:lnTo>
                    <a:pt x="208013" y="0"/>
                  </a:lnTo>
                  <a:lnTo>
                    <a:pt x="200545" y="7505"/>
                  </a:lnTo>
                  <a:lnTo>
                    <a:pt x="200545" y="26009"/>
                  </a:lnTo>
                  <a:lnTo>
                    <a:pt x="208013" y="33515"/>
                  </a:lnTo>
                  <a:lnTo>
                    <a:pt x="226504" y="33515"/>
                  </a:lnTo>
                  <a:lnTo>
                    <a:pt x="233972" y="26009"/>
                  </a:lnTo>
                  <a:lnTo>
                    <a:pt x="233972" y="16751"/>
                  </a:lnTo>
                  <a:lnTo>
                    <a:pt x="233972" y="7505"/>
                  </a:lnTo>
                  <a:close/>
                </a:path>
                <a:path w="1290320" h="757554">
                  <a:moveTo>
                    <a:pt x="254025" y="369443"/>
                  </a:moveTo>
                  <a:lnTo>
                    <a:pt x="246557" y="361937"/>
                  </a:lnTo>
                  <a:lnTo>
                    <a:pt x="228066" y="361937"/>
                  </a:lnTo>
                  <a:lnTo>
                    <a:pt x="220599" y="369443"/>
                  </a:lnTo>
                  <a:lnTo>
                    <a:pt x="220599" y="387946"/>
                  </a:lnTo>
                  <a:lnTo>
                    <a:pt x="228066" y="395452"/>
                  </a:lnTo>
                  <a:lnTo>
                    <a:pt x="246557" y="395452"/>
                  </a:lnTo>
                  <a:lnTo>
                    <a:pt x="254025" y="387946"/>
                  </a:lnTo>
                  <a:lnTo>
                    <a:pt x="254025" y="378688"/>
                  </a:lnTo>
                  <a:lnTo>
                    <a:pt x="254025" y="369443"/>
                  </a:lnTo>
                  <a:close/>
                </a:path>
                <a:path w="1290320" h="757554">
                  <a:moveTo>
                    <a:pt x="267398" y="731380"/>
                  </a:moveTo>
                  <a:lnTo>
                    <a:pt x="259930" y="723874"/>
                  </a:lnTo>
                  <a:lnTo>
                    <a:pt x="241439" y="723874"/>
                  </a:lnTo>
                  <a:lnTo>
                    <a:pt x="233972" y="731380"/>
                  </a:lnTo>
                  <a:lnTo>
                    <a:pt x="233972" y="749884"/>
                  </a:lnTo>
                  <a:lnTo>
                    <a:pt x="241439" y="757377"/>
                  </a:lnTo>
                  <a:lnTo>
                    <a:pt x="259930" y="757377"/>
                  </a:lnTo>
                  <a:lnTo>
                    <a:pt x="267398" y="749884"/>
                  </a:lnTo>
                  <a:lnTo>
                    <a:pt x="267398" y="740625"/>
                  </a:lnTo>
                  <a:lnTo>
                    <a:pt x="267398" y="731380"/>
                  </a:lnTo>
                  <a:close/>
                </a:path>
                <a:path w="1290320" h="757554">
                  <a:moveTo>
                    <a:pt x="287451" y="7505"/>
                  </a:moveTo>
                  <a:lnTo>
                    <a:pt x="279984" y="0"/>
                  </a:lnTo>
                  <a:lnTo>
                    <a:pt x="261493" y="0"/>
                  </a:lnTo>
                  <a:lnTo>
                    <a:pt x="254025" y="7505"/>
                  </a:lnTo>
                  <a:lnTo>
                    <a:pt x="254025" y="26009"/>
                  </a:lnTo>
                  <a:lnTo>
                    <a:pt x="261493" y="33515"/>
                  </a:lnTo>
                  <a:lnTo>
                    <a:pt x="279984" y="33515"/>
                  </a:lnTo>
                  <a:lnTo>
                    <a:pt x="287451" y="26009"/>
                  </a:lnTo>
                  <a:lnTo>
                    <a:pt x="287451" y="16751"/>
                  </a:lnTo>
                  <a:lnTo>
                    <a:pt x="287451" y="7505"/>
                  </a:lnTo>
                  <a:close/>
                </a:path>
                <a:path w="1290320" h="757554">
                  <a:moveTo>
                    <a:pt x="300824" y="369443"/>
                  </a:moveTo>
                  <a:lnTo>
                    <a:pt x="293357" y="361937"/>
                  </a:lnTo>
                  <a:lnTo>
                    <a:pt x="274866" y="361937"/>
                  </a:lnTo>
                  <a:lnTo>
                    <a:pt x="267398" y="369443"/>
                  </a:lnTo>
                  <a:lnTo>
                    <a:pt x="267398" y="387946"/>
                  </a:lnTo>
                  <a:lnTo>
                    <a:pt x="274866" y="395452"/>
                  </a:lnTo>
                  <a:lnTo>
                    <a:pt x="293357" y="395452"/>
                  </a:lnTo>
                  <a:lnTo>
                    <a:pt x="300824" y="387946"/>
                  </a:lnTo>
                  <a:lnTo>
                    <a:pt x="300824" y="378688"/>
                  </a:lnTo>
                  <a:lnTo>
                    <a:pt x="300824" y="369443"/>
                  </a:lnTo>
                  <a:close/>
                </a:path>
                <a:path w="1290320" h="757554">
                  <a:moveTo>
                    <a:pt x="320878" y="731380"/>
                  </a:moveTo>
                  <a:lnTo>
                    <a:pt x="313410" y="723874"/>
                  </a:lnTo>
                  <a:lnTo>
                    <a:pt x="294919" y="723874"/>
                  </a:lnTo>
                  <a:lnTo>
                    <a:pt x="287451" y="731380"/>
                  </a:lnTo>
                  <a:lnTo>
                    <a:pt x="287451" y="749884"/>
                  </a:lnTo>
                  <a:lnTo>
                    <a:pt x="294919" y="757377"/>
                  </a:lnTo>
                  <a:lnTo>
                    <a:pt x="313410" y="757377"/>
                  </a:lnTo>
                  <a:lnTo>
                    <a:pt x="320878" y="749884"/>
                  </a:lnTo>
                  <a:lnTo>
                    <a:pt x="320878" y="740625"/>
                  </a:lnTo>
                  <a:lnTo>
                    <a:pt x="320878" y="731380"/>
                  </a:lnTo>
                  <a:close/>
                </a:path>
                <a:path w="1290320" h="757554">
                  <a:moveTo>
                    <a:pt x="334251" y="7505"/>
                  </a:moveTo>
                  <a:lnTo>
                    <a:pt x="326783" y="0"/>
                  </a:lnTo>
                  <a:lnTo>
                    <a:pt x="308292" y="0"/>
                  </a:lnTo>
                  <a:lnTo>
                    <a:pt x="300824" y="7505"/>
                  </a:lnTo>
                  <a:lnTo>
                    <a:pt x="300824" y="26009"/>
                  </a:lnTo>
                  <a:lnTo>
                    <a:pt x="308292" y="33515"/>
                  </a:lnTo>
                  <a:lnTo>
                    <a:pt x="326783" y="33515"/>
                  </a:lnTo>
                  <a:lnTo>
                    <a:pt x="334251" y="26009"/>
                  </a:lnTo>
                  <a:lnTo>
                    <a:pt x="334251" y="16751"/>
                  </a:lnTo>
                  <a:lnTo>
                    <a:pt x="334251" y="7505"/>
                  </a:lnTo>
                  <a:close/>
                </a:path>
                <a:path w="1290320" h="757554">
                  <a:moveTo>
                    <a:pt x="354304" y="369443"/>
                  </a:moveTo>
                  <a:lnTo>
                    <a:pt x="346837" y="361937"/>
                  </a:lnTo>
                  <a:lnTo>
                    <a:pt x="328345" y="361937"/>
                  </a:lnTo>
                  <a:lnTo>
                    <a:pt x="320878" y="369443"/>
                  </a:lnTo>
                  <a:lnTo>
                    <a:pt x="320878" y="387946"/>
                  </a:lnTo>
                  <a:lnTo>
                    <a:pt x="328345" y="395452"/>
                  </a:lnTo>
                  <a:lnTo>
                    <a:pt x="346837" y="395452"/>
                  </a:lnTo>
                  <a:lnTo>
                    <a:pt x="354304" y="387946"/>
                  </a:lnTo>
                  <a:lnTo>
                    <a:pt x="354304" y="378688"/>
                  </a:lnTo>
                  <a:lnTo>
                    <a:pt x="354304" y="369443"/>
                  </a:lnTo>
                  <a:close/>
                </a:path>
                <a:path w="1290320" h="757554">
                  <a:moveTo>
                    <a:pt x="367677" y="731380"/>
                  </a:moveTo>
                  <a:lnTo>
                    <a:pt x="360210" y="723874"/>
                  </a:lnTo>
                  <a:lnTo>
                    <a:pt x="341718" y="723874"/>
                  </a:lnTo>
                  <a:lnTo>
                    <a:pt x="334251" y="731380"/>
                  </a:lnTo>
                  <a:lnTo>
                    <a:pt x="334251" y="749884"/>
                  </a:lnTo>
                  <a:lnTo>
                    <a:pt x="341718" y="757377"/>
                  </a:lnTo>
                  <a:lnTo>
                    <a:pt x="360210" y="757377"/>
                  </a:lnTo>
                  <a:lnTo>
                    <a:pt x="367677" y="749884"/>
                  </a:lnTo>
                  <a:lnTo>
                    <a:pt x="367677" y="740625"/>
                  </a:lnTo>
                  <a:lnTo>
                    <a:pt x="367677" y="731380"/>
                  </a:lnTo>
                  <a:close/>
                </a:path>
                <a:path w="1290320" h="757554">
                  <a:moveTo>
                    <a:pt x="387731" y="7505"/>
                  </a:moveTo>
                  <a:lnTo>
                    <a:pt x="380263" y="0"/>
                  </a:lnTo>
                  <a:lnTo>
                    <a:pt x="361772" y="0"/>
                  </a:lnTo>
                  <a:lnTo>
                    <a:pt x="354304" y="7505"/>
                  </a:lnTo>
                  <a:lnTo>
                    <a:pt x="354304" y="26009"/>
                  </a:lnTo>
                  <a:lnTo>
                    <a:pt x="361772" y="33515"/>
                  </a:lnTo>
                  <a:lnTo>
                    <a:pt x="380263" y="33515"/>
                  </a:lnTo>
                  <a:lnTo>
                    <a:pt x="387731" y="26009"/>
                  </a:lnTo>
                  <a:lnTo>
                    <a:pt x="387731" y="16751"/>
                  </a:lnTo>
                  <a:lnTo>
                    <a:pt x="387731" y="7505"/>
                  </a:lnTo>
                  <a:close/>
                </a:path>
                <a:path w="1290320" h="757554">
                  <a:moveTo>
                    <a:pt x="401104" y="369443"/>
                  </a:moveTo>
                  <a:lnTo>
                    <a:pt x="393636" y="361937"/>
                  </a:lnTo>
                  <a:lnTo>
                    <a:pt x="375132" y="361937"/>
                  </a:lnTo>
                  <a:lnTo>
                    <a:pt x="367677" y="369443"/>
                  </a:lnTo>
                  <a:lnTo>
                    <a:pt x="367677" y="387946"/>
                  </a:lnTo>
                  <a:lnTo>
                    <a:pt x="375132" y="395452"/>
                  </a:lnTo>
                  <a:lnTo>
                    <a:pt x="393636" y="395452"/>
                  </a:lnTo>
                  <a:lnTo>
                    <a:pt x="401104" y="387946"/>
                  </a:lnTo>
                  <a:lnTo>
                    <a:pt x="401104" y="378688"/>
                  </a:lnTo>
                  <a:lnTo>
                    <a:pt x="401104" y="369443"/>
                  </a:lnTo>
                  <a:close/>
                </a:path>
                <a:path w="1290320" h="757554">
                  <a:moveTo>
                    <a:pt x="421157" y="731380"/>
                  </a:moveTo>
                  <a:lnTo>
                    <a:pt x="413689" y="723874"/>
                  </a:lnTo>
                  <a:lnTo>
                    <a:pt x="395198" y="723874"/>
                  </a:lnTo>
                  <a:lnTo>
                    <a:pt x="387731" y="731380"/>
                  </a:lnTo>
                  <a:lnTo>
                    <a:pt x="387731" y="749884"/>
                  </a:lnTo>
                  <a:lnTo>
                    <a:pt x="395198" y="757377"/>
                  </a:lnTo>
                  <a:lnTo>
                    <a:pt x="413689" y="757377"/>
                  </a:lnTo>
                  <a:lnTo>
                    <a:pt x="421157" y="749884"/>
                  </a:lnTo>
                  <a:lnTo>
                    <a:pt x="421157" y="740625"/>
                  </a:lnTo>
                  <a:lnTo>
                    <a:pt x="421157" y="731380"/>
                  </a:lnTo>
                  <a:close/>
                </a:path>
                <a:path w="1290320" h="757554">
                  <a:moveTo>
                    <a:pt x="434517" y="7505"/>
                  </a:moveTo>
                  <a:lnTo>
                    <a:pt x="427062" y="0"/>
                  </a:lnTo>
                  <a:lnTo>
                    <a:pt x="408559" y="0"/>
                  </a:lnTo>
                  <a:lnTo>
                    <a:pt x="401104" y="7505"/>
                  </a:lnTo>
                  <a:lnTo>
                    <a:pt x="401104" y="26009"/>
                  </a:lnTo>
                  <a:lnTo>
                    <a:pt x="408559" y="33515"/>
                  </a:lnTo>
                  <a:lnTo>
                    <a:pt x="427062" y="33515"/>
                  </a:lnTo>
                  <a:lnTo>
                    <a:pt x="434517" y="26009"/>
                  </a:lnTo>
                  <a:lnTo>
                    <a:pt x="434517" y="16751"/>
                  </a:lnTo>
                  <a:lnTo>
                    <a:pt x="434517" y="7505"/>
                  </a:lnTo>
                  <a:close/>
                </a:path>
                <a:path w="1290320" h="757554">
                  <a:moveTo>
                    <a:pt x="454583" y="369443"/>
                  </a:moveTo>
                  <a:lnTo>
                    <a:pt x="447116" y="361937"/>
                  </a:lnTo>
                  <a:lnTo>
                    <a:pt x="428612" y="361937"/>
                  </a:lnTo>
                  <a:lnTo>
                    <a:pt x="421157" y="369443"/>
                  </a:lnTo>
                  <a:lnTo>
                    <a:pt x="421157" y="387946"/>
                  </a:lnTo>
                  <a:lnTo>
                    <a:pt x="428612" y="395452"/>
                  </a:lnTo>
                  <a:lnTo>
                    <a:pt x="447116" y="395452"/>
                  </a:lnTo>
                  <a:lnTo>
                    <a:pt x="454583" y="387946"/>
                  </a:lnTo>
                  <a:lnTo>
                    <a:pt x="454583" y="378688"/>
                  </a:lnTo>
                  <a:lnTo>
                    <a:pt x="454583" y="369443"/>
                  </a:lnTo>
                  <a:close/>
                </a:path>
                <a:path w="1290320" h="757554">
                  <a:moveTo>
                    <a:pt x="467944" y="731380"/>
                  </a:moveTo>
                  <a:lnTo>
                    <a:pt x="460489" y="723874"/>
                  </a:lnTo>
                  <a:lnTo>
                    <a:pt x="441985" y="723874"/>
                  </a:lnTo>
                  <a:lnTo>
                    <a:pt x="434517" y="731380"/>
                  </a:lnTo>
                  <a:lnTo>
                    <a:pt x="434517" y="749884"/>
                  </a:lnTo>
                  <a:lnTo>
                    <a:pt x="441985" y="757377"/>
                  </a:lnTo>
                  <a:lnTo>
                    <a:pt x="460489" y="757377"/>
                  </a:lnTo>
                  <a:lnTo>
                    <a:pt x="467944" y="749884"/>
                  </a:lnTo>
                  <a:lnTo>
                    <a:pt x="467944" y="740625"/>
                  </a:lnTo>
                  <a:lnTo>
                    <a:pt x="467944" y="731380"/>
                  </a:lnTo>
                  <a:close/>
                </a:path>
                <a:path w="1290320" h="757554">
                  <a:moveTo>
                    <a:pt x="488010" y="7505"/>
                  </a:moveTo>
                  <a:lnTo>
                    <a:pt x="480542" y="0"/>
                  </a:lnTo>
                  <a:lnTo>
                    <a:pt x="462038" y="0"/>
                  </a:lnTo>
                  <a:lnTo>
                    <a:pt x="454583" y="7505"/>
                  </a:lnTo>
                  <a:lnTo>
                    <a:pt x="454583" y="26009"/>
                  </a:lnTo>
                  <a:lnTo>
                    <a:pt x="462038" y="33515"/>
                  </a:lnTo>
                  <a:lnTo>
                    <a:pt x="480542" y="33515"/>
                  </a:lnTo>
                  <a:lnTo>
                    <a:pt x="488010" y="26009"/>
                  </a:lnTo>
                  <a:lnTo>
                    <a:pt x="488010" y="16751"/>
                  </a:lnTo>
                  <a:lnTo>
                    <a:pt x="488010" y="7505"/>
                  </a:lnTo>
                  <a:close/>
                </a:path>
                <a:path w="1290320" h="757554">
                  <a:moveTo>
                    <a:pt x="508063" y="369443"/>
                  </a:moveTo>
                  <a:lnTo>
                    <a:pt x="500595" y="361937"/>
                  </a:lnTo>
                  <a:lnTo>
                    <a:pt x="482104" y="361937"/>
                  </a:lnTo>
                  <a:lnTo>
                    <a:pt x="474637" y="369443"/>
                  </a:lnTo>
                  <a:lnTo>
                    <a:pt x="474637" y="387946"/>
                  </a:lnTo>
                  <a:lnTo>
                    <a:pt x="482104" y="395452"/>
                  </a:lnTo>
                  <a:lnTo>
                    <a:pt x="500595" y="395452"/>
                  </a:lnTo>
                  <a:lnTo>
                    <a:pt x="508063" y="387946"/>
                  </a:lnTo>
                  <a:lnTo>
                    <a:pt x="508063" y="378688"/>
                  </a:lnTo>
                  <a:lnTo>
                    <a:pt x="508063" y="369443"/>
                  </a:lnTo>
                  <a:close/>
                </a:path>
                <a:path w="1290320" h="757554">
                  <a:moveTo>
                    <a:pt x="608330" y="7505"/>
                  </a:moveTo>
                  <a:lnTo>
                    <a:pt x="600875" y="0"/>
                  </a:lnTo>
                  <a:lnTo>
                    <a:pt x="582371" y="0"/>
                  </a:lnTo>
                  <a:lnTo>
                    <a:pt x="574903" y="7505"/>
                  </a:lnTo>
                  <a:lnTo>
                    <a:pt x="574903" y="26009"/>
                  </a:lnTo>
                  <a:lnTo>
                    <a:pt x="582371" y="33515"/>
                  </a:lnTo>
                  <a:lnTo>
                    <a:pt x="600875" y="33515"/>
                  </a:lnTo>
                  <a:lnTo>
                    <a:pt x="608330" y="26009"/>
                  </a:lnTo>
                  <a:lnTo>
                    <a:pt x="608330" y="16751"/>
                  </a:lnTo>
                  <a:lnTo>
                    <a:pt x="608330" y="7505"/>
                  </a:lnTo>
                  <a:close/>
                </a:path>
                <a:path w="1290320" h="757554">
                  <a:moveTo>
                    <a:pt x="621703" y="369443"/>
                  </a:moveTo>
                  <a:lnTo>
                    <a:pt x="614235" y="361937"/>
                  </a:lnTo>
                  <a:lnTo>
                    <a:pt x="595744" y="361937"/>
                  </a:lnTo>
                  <a:lnTo>
                    <a:pt x="588276" y="369443"/>
                  </a:lnTo>
                  <a:lnTo>
                    <a:pt x="588276" y="387946"/>
                  </a:lnTo>
                  <a:lnTo>
                    <a:pt x="595744" y="395452"/>
                  </a:lnTo>
                  <a:lnTo>
                    <a:pt x="614235" y="395452"/>
                  </a:lnTo>
                  <a:lnTo>
                    <a:pt x="621703" y="387946"/>
                  </a:lnTo>
                  <a:lnTo>
                    <a:pt x="621703" y="378688"/>
                  </a:lnTo>
                  <a:lnTo>
                    <a:pt x="621703" y="369443"/>
                  </a:lnTo>
                  <a:close/>
                </a:path>
                <a:path w="1290320" h="757554">
                  <a:moveTo>
                    <a:pt x="641756" y="731380"/>
                  </a:moveTo>
                  <a:lnTo>
                    <a:pt x="634288" y="723874"/>
                  </a:lnTo>
                  <a:lnTo>
                    <a:pt x="615797" y="723874"/>
                  </a:lnTo>
                  <a:lnTo>
                    <a:pt x="608330" y="731380"/>
                  </a:lnTo>
                  <a:lnTo>
                    <a:pt x="608330" y="749884"/>
                  </a:lnTo>
                  <a:lnTo>
                    <a:pt x="615797" y="757377"/>
                  </a:lnTo>
                  <a:lnTo>
                    <a:pt x="634288" y="757377"/>
                  </a:lnTo>
                  <a:lnTo>
                    <a:pt x="641756" y="749884"/>
                  </a:lnTo>
                  <a:lnTo>
                    <a:pt x="641756" y="740625"/>
                  </a:lnTo>
                  <a:lnTo>
                    <a:pt x="641756" y="731380"/>
                  </a:lnTo>
                  <a:close/>
                </a:path>
                <a:path w="1290320" h="757554">
                  <a:moveTo>
                    <a:pt x="655129" y="7505"/>
                  </a:moveTo>
                  <a:lnTo>
                    <a:pt x="647661" y="0"/>
                  </a:lnTo>
                  <a:lnTo>
                    <a:pt x="629170" y="0"/>
                  </a:lnTo>
                  <a:lnTo>
                    <a:pt x="621703" y="7505"/>
                  </a:lnTo>
                  <a:lnTo>
                    <a:pt x="621703" y="26009"/>
                  </a:lnTo>
                  <a:lnTo>
                    <a:pt x="629170" y="33515"/>
                  </a:lnTo>
                  <a:lnTo>
                    <a:pt x="647661" y="33515"/>
                  </a:lnTo>
                  <a:lnTo>
                    <a:pt x="655129" y="26009"/>
                  </a:lnTo>
                  <a:lnTo>
                    <a:pt x="655129" y="16751"/>
                  </a:lnTo>
                  <a:lnTo>
                    <a:pt x="655129" y="7505"/>
                  </a:lnTo>
                  <a:close/>
                </a:path>
                <a:path w="1290320" h="757554">
                  <a:moveTo>
                    <a:pt x="675182" y="369443"/>
                  </a:moveTo>
                  <a:lnTo>
                    <a:pt x="667715" y="361937"/>
                  </a:lnTo>
                  <a:lnTo>
                    <a:pt x="649224" y="361937"/>
                  </a:lnTo>
                  <a:lnTo>
                    <a:pt x="641756" y="369443"/>
                  </a:lnTo>
                  <a:lnTo>
                    <a:pt x="641756" y="387946"/>
                  </a:lnTo>
                  <a:lnTo>
                    <a:pt x="649224" y="395452"/>
                  </a:lnTo>
                  <a:lnTo>
                    <a:pt x="667715" y="395452"/>
                  </a:lnTo>
                  <a:lnTo>
                    <a:pt x="675182" y="387946"/>
                  </a:lnTo>
                  <a:lnTo>
                    <a:pt x="675182" y="378688"/>
                  </a:lnTo>
                  <a:lnTo>
                    <a:pt x="675182" y="369443"/>
                  </a:lnTo>
                  <a:close/>
                </a:path>
                <a:path w="1290320" h="757554">
                  <a:moveTo>
                    <a:pt x="688555" y="731380"/>
                  </a:moveTo>
                  <a:lnTo>
                    <a:pt x="681088" y="723874"/>
                  </a:lnTo>
                  <a:lnTo>
                    <a:pt x="662597" y="723874"/>
                  </a:lnTo>
                  <a:lnTo>
                    <a:pt x="655129" y="731380"/>
                  </a:lnTo>
                  <a:lnTo>
                    <a:pt x="655129" y="749884"/>
                  </a:lnTo>
                  <a:lnTo>
                    <a:pt x="662597" y="757377"/>
                  </a:lnTo>
                  <a:lnTo>
                    <a:pt x="681088" y="757377"/>
                  </a:lnTo>
                  <a:lnTo>
                    <a:pt x="688555" y="749884"/>
                  </a:lnTo>
                  <a:lnTo>
                    <a:pt x="688555" y="740625"/>
                  </a:lnTo>
                  <a:lnTo>
                    <a:pt x="688555" y="731380"/>
                  </a:lnTo>
                  <a:close/>
                </a:path>
                <a:path w="1290320" h="757554">
                  <a:moveTo>
                    <a:pt x="708609" y="7505"/>
                  </a:moveTo>
                  <a:lnTo>
                    <a:pt x="701141" y="0"/>
                  </a:lnTo>
                  <a:lnTo>
                    <a:pt x="682650" y="0"/>
                  </a:lnTo>
                  <a:lnTo>
                    <a:pt x="675182" y="7505"/>
                  </a:lnTo>
                  <a:lnTo>
                    <a:pt x="675182" y="26009"/>
                  </a:lnTo>
                  <a:lnTo>
                    <a:pt x="682650" y="33515"/>
                  </a:lnTo>
                  <a:lnTo>
                    <a:pt x="701141" y="33515"/>
                  </a:lnTo>
                  <a:lnTo>
                    <a:pt x="708609" y="26009"/>
                  </a:lnTo>
                  <a:lnTo>
                    <a:pt x="708609" y="16751"/>
                  </a:lnTo>
                  <a:lnTo>
                    <a:pt x="708609" y="7505"/>
                  </a:lnTo>
                  <a:close/>
                </a:path>
                <a:path w="1290320" h="757554">
                  <a:moveTo>
                    <a:pt x="721982" y="369443"/>
                  </a:moveTo>
                  <a:lnTo>
                    <a:pt x="714514" y="361937"/>
                  </a:lnTo>
                  <a:lnTo>
                    <a:pt x="696023" y="361937"/>
                  </a:lnTo>
                  <a:lnTo>
                    <a:pt x="688555" y="369443"/>
                  </a:lnTo>
                  <a:lnTo>
                    <a:pt x="688555" y="387946"/>
                  </a:lnTo>
                  <a:lnTo>
                    <a:pt x="696023" y="395452"/>
                  </a:lnTo>
                  <a:lnTo>
                    <a:pt x="714514" y="395452"/>
                  </a:lnTo>
                  <a:lnTo>
                    <a:pt x="721982" y="387946"/>
                  </a:lnTo>
                  <a:lnTo>
                    <a:pt x="721982" y="378688"/>
                  </a:lnTo>
                  <a:lnTo>
                    <a:pt x="721982" y="369443"/>
                  </a:lnTo>
                  <a:close/>
                </a:path>
                <a:path w="1290320" h="757554">
                  <a:moveTo>
                    <a:pt x="742035" y="731380"/>
                  </a:moveTo>
                  <a:lnTo>
                    <a:pt x="734568" y="723874"/>
                  </a:lnTo>
                  <a:lnTo>
                    <a:pt x="716076" y="723874"/>
                  </a:lnTo>
                  <a:lnTo>
                    <a:pt x="708609" y="731380"/>
                  </a:lnTo>
                  <a:lnTo>
                    <a:pt x="708609" y="749884"/>
                  </a:lnTo>
                  <a:lnTo>
                    <a:pt x="716076" y="757377"/>
                  </a:lnTo>
                  <a:lnTo>
                    <a:pt x="734568" y="757377"/>
                  </a:lnTo>
                  <a:lnTo>
                    <a:pt x="742035" y="749884"/>
                  </a:lnTo>
                  <a:lnTo>
                    <a:pt x="742035" y="740625"/>
                  </a:lnTo>
                  <a:lnTo>
                    <a:pt x="742035" y="731380"/>
                  </a:lnTo>
                  <a:close/>
                </a:path>
                <a:path w="1290320" h="757554">
                  <a:moveTo>
                    <a:pt x="755408" y="7505"/>
                  </a:moveTo>
                  <a:lnTo>
                    <a:pt x="747941" y="0"/>
                  </a:lnTo>
                  <a:lnTo>
                    <a:pt x="729449" y="0"/>
                  </a:lnTo>
                  <a:lnTo>
                    <a:pt x="721982" y="7505"/>
                  </a:lnTo>
                  <a:lnTo>
                    <a:pt x="721982" y="26009"/>
                  </a:lnTo>
                  <a:lnTo>
                    <a:pt x="729449" y="33515"/>
                  </a:lnTo>
                  <a:lnTo>
                    <a:pt x="747941" y="33515"/>
                  </a:lnTo>
                  <a:lnTo>
                    <a:pt x="755408" y="26009"/>
                  </a:lnTo>
                  <a:lnTo>
                    <a:pt x="755408" y="16751"/>
                  </a:lnTo>
                  <a:lnTo>
                    <a:pt x="755408" y="7505"/>
                  </a:lnTo>
                  <a:close/>
                </a:path>
                <a:path w="1290320" h="757554">
                  <a:moveTo>
                    <a:pt x="775462" y="369443"/>
                  </a:moveTo>
                  <a:lnTo>
                    <a:pt x="767994" y="361937"/>
                  </a:lnTo>
                  <a:lnTo>
                    <a:pt x="749503" y="361937"/>
                  </a:lnTo>
                  <a:lnTo>
                    <a:pt x="742035" y="369443"/>
                  </a:lnTo>
                  <a:lnTo>
                    <a:pt x="742035" y="387946"/>
                  </a:lnTo>
                  <a:lnTo>
                    <a:pt x="749503" y="395452"/>
                  </a:lnTo>
                  <a:lnTo>
                    <a:pt x="767994" y="395452"/>
                  </a:lnTo>
                  <a:lnTo>
                    <a:pt x="775462" y="387946"/>
                  </a:lnTo>
                  <a:lnTo>
                    <a:pt x="775462" y="378688"/>
                  </a:lnTo>
                  <a:lnTo>
                    <a:pt x="775462" y="369443"/>
                  </a:lnTo>
                  <a:close/>
                </a:path>
                <a:path w="1290320" h="757554">
                  <a:moveTo>
                    <a:pt x="788835" y="731380"/>
                  </a:moveTo>
                  <a:lnTo>
                    <a:pt x="781367" y="723874"/>
                  </a:lnTo>
                  <a:lnTo>
                    <a:pt x="762876" y="723874"/>
                  </a:lnTo>
                  <a:lnTo>
                    <a:pt x="755408" y="731380"/>
                  </a:lnTo>
                  <a:lnTo>
                    <a:pt x="755408" y="749884"/>
                  </a:lnTo>
                  <a:lnTo>
                    <a:pt x="762876" y="757377"/>
                  </a:lnTo>
                  <a:lnTo>
                    <a:pt x="781367" y="757377"/>
                  </a:lnTo>
                  <a:lnTo>
                    <a:pt x="788835" y="749884"/>
                  </a:lnTo>
                  <a:lnTo>
                    <a:pt x="788835" y="740625"/>
                  </a:lnTo>
                  <a:lnTo>
                    <a:pt x="788835" y="731380"/>
                  </a:lnTo>
                  <a:close/>
                </a:path>
                <a:path w="1290320" h="757554">
                  <a:moveTo>
                    <a:pt x="808888" y="7505"/>
                  </a:moveTo>
                  <a:lnTo>
                    <a:pt x="801420" y="0"/>
                  </a:lnTo>
                  <a:lnTo>
                    <a:pt x="782929" y="0"/>
                  </a:lnTo>
                  <a:lnTo>
                    <a:pt x="775462" y="7505"/>
                  </a:lnTo>
                  <a:lnTo>
                    <a:pt x="775462" y="26009"/>
                  </a:lnTo>
                  <a:lnTo>
                    <a:pt x="782929" y="33515"/>
                  </a:lnTo>
                  <a:lnTo>
                    <a:pt x="801420" y="33515"/>
                  </a:lnTo>
                  <a:lnTo>
                    <a:pt x="808888" y="26009"/>
                  </a:lnTo>
                  <a:lnTo>
                    <a:pt x="808888" y="16751"/>
                  </a:lnTo>
                  <a:lnTo>
                    <a:pt x="808888" y="7505"/>
                  </a:lnTo>
                  <a:close/>
                </a:path>
                <a:path w="1290320" h="757554">
                  <a:moveTo>
                    <a:pt x="822261" y="369443"/>
                  </a:moveTo>
                  <a:lnTo>
                    <a:pt x="814793" y="361937"/>
                  </a:lnTo>
                  <a:lnTo>
                    <a:pt x="796290" y="361937"/>
                  </a:lnTo>
                  <a:lnTo>
                    <a:pt x="788835" y="369443"/>
                  </a:lnTo>
                  <a:lnTo>
                    <a:pt x="788835" y="387946"/>
                  </a:lnTo>
                  <a:lnTo>
                    <a:pt x="796290" y="395452"/>
                  </a:lnTo>
                  <a:lnTo>
                    <a:pt x="814793" y="395452"/>
                  </a:lnTo>
                  <a:lnTo>
                    <a:pt x="822261" y="387946"/>
                  </a:lnTo>
                  <a:lnTo>
                    <a:pt x="822261" y="378688"/>
                  </a:lnTo>
                  <a:lnTo>
                    <a:pt x="822261" y="369443"/>
                  </a:lnTo>
                  <a:close/>
                </a:path>
                <a:path w="1290320" h="757554">
                  <a:moveTo>
                    <a:pt x="842314" y="731380"/>
                  </a:moveTo>
                  <a:lnTo>
                    <a:pt x="834847" y="723874"/>
                  </a:lnTo>
                  <a:lnTo>
                    <a:pt x="816356" y="723874"/>
                  </a:lnTo>
                  <a:lnTo>
                    <a:pt x="808888" y="731380"/>
                  </a:lnTo>
                  <a:lnTo>
                    <a:pt x="808888" y="749884"/>
                  </a:lnTo>
                  <a:lnTo>
                    <a:pt x="816356" y="757377"/>
                  </a:lnTo>
                  <a:lnTo>
                    <a:pt x="834847" y="757377"/>
                  </a:lnTo>
                  <a:lnTo>
                    <a:pt x="842314" y="749884"/>
                  </a:lnTo>
                  <a:lnTo>
                    <a:pt x="842314" y="740625"/>
                  </a:lnTo>
                  <a:lnTo>
                    <a:pt x="842314" y="731380"/>
                  </a:lnTo>
                  <a:close/>
                </a:path>
                <a:path w="1290320" h="757554">
                  <a:moveTo>
                    <a:pt x="855675" y="7505"/>
                  </a:moveTo>
                  <a:lnTo>
                    <a:pt x="848220" y="0"/>
                  </a:lnTo>
                  <a:lnTo>
                    <a:pt x="829716" y="0"/>
                  </a:lnTo>
                  <a:lnTo>
                    <a:pt x="822261" y="7505"/>
                  </a:lnTo>
                  <a:lnTo>
                    <a:pt x="822261" y="26009"/>
                  </a:lnTo>
                  <a:lnTo>
                    <a:pt x="829716" y="33515"/>
                  </a:lnTo>
                  <a:lnTo>
                    <a:pt x="848220" y="33515"/>
                  </a:lnTo>
                  <a:lnTo>
                    <a:pt x="855675" y="26009"/>
                  </a:lnTo>
                  <a:lnTo>
                    <a:pt x="855675" y="16751"/>
                  </a:lnTo>
                  <a:lnTo>
                    <a:pt x="855675" y="7505"/>
                  </a:lnTo>
                  <a:close/>
                </a:path>
                <a:path w="1290320" h="757554">
                  <a:moveTo>
                    <a:pt x="875741" y="369443"/>
                  </a:moveTo>
                  <a:lnTo>
                    <a:pt x="868273" y="361937"/>
                  </a:lnTo>
                  <a:lnTo>
                    <a:pt x="849782" y="361937"/>
                  </a:lnTo>
                  <a:lnTo>
                    <a:pt x="842314" y="369443"/>
                  </a:lnTo>
                  <a:lnTo>
                    <a:pt x="842314" y="387946"/>
                  </a:lnTo>
                  <a:lnTo>
                    <a:pt x="849782" y="395452"/>
                  </a:lnTo>
                  <a:lnTo>
                    <a:pt x="868273" y="395452"/>
                  </a:lnTo>
                  <a:lnTo>
                    <a:pt x="875741" y="387946"/>
                  </a:lnTo>
                  <a:lnTo>
                    <a:pt x="875741" y="378688"/>
                  </a:lnTo>
                  <a:lnTo>
                    <a:pt x="875741" y="369443"/>
                  </a:lnTo>
                  <a:close/>
                </a:path>
                <a:path w="1290320" h="757554">
                  <a:moveTo>
                    <a:pt x="889101" y="731380"/>
                  </a:moveTo>
                  <a:lnTo>
                    <a:pt x="881646" y="723874"/>
                  </a:lnTo>
                  <a:lnTo>
                    <a:pt x="863142" y="723874"/>
                  </a:lnTo>
                  <a:lnTo>
                    <a:pt x="855675" y="731380"/>
                  </a:lnTo>
                  <a:lnTo>
                    <a:pt x="855675" y="749884"/>
                  </a:lnTo>
                  <a:lnTo>
                    <a:pt x="863142" y="757377"/>
                  </a:lnTo>
                  <a:lnTo>
                    <a:pt x="881646" y="757377"/>
                  </a:lnTo>
                  <a:lnTo>
                    <a:pt x="889101" y="749884"/>
                  </a:lnTo>
                  <a:lnTo>
                    <a:pt x="889101" y="740625"/>
                  </a:lnTo>
                  <a:lnTo>
                    <a:pt x="889101" y="731380"/>
                  </a:lnTo>
                  <a:close/>
                </a:path>
                <a:path w="1290320" h="757554">
                  <a:moveTo>
                    <a:pt x="909167" y="7505"/>
                  </a:moveTo>
                  <a:lnTo>
                    <a:pt x="901700" y="0"/>
                  </a:lnTo>
                  <a:lnTo>
                    <a:pt x="883196" y="0"/>
                  </a:lnTo>
                  <a:lnTo>
                    <a:pt x="875741" y="7505"/>
                  </a:lnTo>
                  <a:lnTo>
                    <a:pt x="875741" y="26009"/>
                  </a:lnTo>
                  <a:lnTo>
                    <a:pt x="883196" y="33515"/>
                  </a:lnTo>
                  <a:lnTo>
                    <a:pt x="901700" y="33515"/>
                  </a:lnTo>
                  <a:lnTo>
                    <a:pt x="909167" y="26009"/>
                  </a:lnTo>
                  <a:lnTo>
                    <a:pt x="909167" y="16751"/>
                  </a:lnTo>
                  <a:lnTo>
                    <a:pt x="909167" y="7505"/>
                  </a:lnTo>
                  <a:close/>
                </a:path>
                <a:path w="1290320" h="757554">
                  <a:moveTo>
                    <a:pt x="922528" y="369443"/>
                  </a:moveTo>
                  <a:lnTo>
                    <a:pt x="915073" y="361937"/>
                  </a:lnTo>
                  <a:lnTo>
                    <a:pt x="896569" y="361937"/>
                  </a:lnTo>
                  <a:lnTo>
                    <a:pt x="889101" y="369443"/>
                  </a:lnTo>
                  <a:lnTo>
                    <a:pt x="889101" y="387946"/>
                  </a:lnTo>
                  <a:lnTo>
                    <a:pt x="896569" y="395452"/>
                  </a:lnTo>
                  <a:lnTo>
                    <a:pt x="915073" y="395452"/>
                  </a:lnTo>
                  <a:lnTo>
                    <a:pt x="922528" y="387946"/>
                  </a:lnTo>
                  <a:lnTo>
                    <a:pt x="922528" y="378688"/>
                  </a:lnTo>
                  <a:lnTo>
                    <a:pt x="922528" y="369443"/>
                  </a:lnTo>
                  <a:close/>
                </a:path>
                <a:path w="1290320" h="757554">
                  <a:moveTo>
                    <a:pt x="942581" y="731380"/>
                  </a:moveTo>
                  <a:lnTo>
                    <a:pt x="935126" y="723874"/>
                  </a:lnTo>
                  <a:lnTo>
                    <a:pt x="916622" y="723874"/>
                  </a:lnTo>
                  <a:lnTo>
                    <a:pt x="909167" y="731380"/>
                  </a:lnTo>
                  <a:lnTo>
                    <a:pt x="909167" y="749884"/>
                  </a:lnTo>
                  <a:lnTo>
                    <a:pt x="916622" y="757377"/>
                  </a:lnTo>
                  <a:lnTo>
                    <a:pt x="935126" y="757377"/>
                  </a:lnTo>
                  <a:lnTo>
                    <a:pt x="942581" y="749884"/>
                  </a:lnTo>
                  <a:lnTo>
                    <a:pt x="942581" y="740625"/>
                  </a:lnTo>
                  <a:lnTo>
                    <a:pt x="942581" y="731380"/>
                  </a:lnTo>
                  <a:close/>
                </a:path>
                <a:path w="1290320" h="757554">
                  <a:moveTo>
                    <a:pt x="955954" y="7505"/>
                  </a:moveTo>
                  <a:lnTo>
                    <a:pt x="948486" y="0"/>
                  </a:lnTo>
                  <a:lnTo>
                    <a:pt x="929995" y="0"/>
                  </a:lnTo>
                  <a:lnTo>
                    <a:pt x="922528" y="7505"/>
                  </a:lnTo>
                  <a:lnTo>
                    <a:pt x="922528" y="26009"/>
                  </a:lnTo>
                  <a:lnTo>
                    <a:pt x="929995" y="33515"/>
                  </a:lnTo>
                  <a:lnTo>
                    <a:pt x="948486" y="33515"/>
                  </a:lnTo>
                  <a:lnTo>
                    <a:pt x="955954" y="26009"/>
                  </a:lnTo>
                  <a:lnTo>
                    <a:pt x="955954" y="16751"/>
                  </a:lnTo>
                  <a:lnTo>
                    <a:pt x="955954" y="7505"/>
                  </a:lnTo>
                  <a:close/>
                </a:path>
                <a:path w="1290320" h="757554">
                  <a:moveTo>
                    <a:pt x="976007" y="369443"/>
                  </a:moveTo>
                  <a:lnTo>
                    <a:pt x="968552" y="361937"/>
                  </a:lnTo>
                  <a:lnTo>
                    <a:pt x="950048" y="361937"/>
                  </a:lnTo>
                  <a:lnTo>
                    <a:pt x="942581" y="369443"/>
                  </a:lnTo>
                  <a:lnTo>
                    <a:pt x="942581" y="387946"/>
                  </a:lnTo>
                  <a:lnTo>
                    <a:pt x="950048" y="395452"/>
                  </a:lnTo>
                  <a:lnTo>
                    <a:pt x="968552" y="395452"/>
                  </a:lnTo>
                  <a:lnTo>
                    <a:pt x="976007" y="387946"/>
                  </a:lnTo>
                  <a:lnTo>
                    <a:pt x="976007" y="378688"/>
                  </a:lnTo>
                  <a:lnTo>
                    <a:pt x="976007" y="369443"/>
                  </a:lnTo>
                  <a:close/>
                </a:path>
                <a:path w="1290320" h="757554">
                  <a:moveTo>
                    <a:pt x="989380" y="731380"/>
                  </a:moveTo>
                  <a:lnTo>
                    <a:pt x="981913" y="723874"/>
                  </a:lnTo>
                  <a:lnTo>
                    <a:pt x="963422" y="723874"/>
                  </a:lnTo>
                  <a:lnTo>
                    <a:pt x="955954" y="731380"/>
                  </a:lnTo>
                  <a:lnTo>
                    <a:pt x="955954" y="749884"/>
                  </a:lnTo>
                  <a:lnTo>
                    <a:pt x="963422" y="757377"/>
                  </a:lnTo>
                  <a:lnTo>
                    <a:pt x="981913" y="757377"/>
                  </a:lnTo>
                  <a:lnTo>
                    <a:pt x="989380" y="749884"/>
                  </a:lnTo>
                  <a:lnTo>
                    <a:pt x="989380" y="740625"/>
                  </a:lnTo>
                  <a:lnTo>
                    <a:pt x="989380" y="731380"/>
                  </a:lnTo>
                  <a:close/>
                </a:path>
                <a:path w="1290320" h="757554">
                  <a:moveTo>
                    <a:pt x="1009434" y="7505"/>
                  </a:moveTo>
                  <a:lnTo>
                    <a:pt x="1001966" y="0"/>
                  </a:lnTo>
                  <a:lnTo>
                    <a:pt x="983475" y="0"/>
                  </a:lnTo>
                  <a:lnTo>
                    <a:pt x="976007" y="7505"/>
                  </a:lnTo>
                  <a:lnTo>
                    <a:pt x="976007" y="26009"/>
                  </a:lnTo>
                  <a:lnTo>
                    <a:pt x="983475" y="33515"/>
                  </a:lnTo>
                  <a:lnTo>
                    <a:pt x="1001966" y="33515"/>
                  </a:lnTo>
                  <a:lnTo>
                    <a:pt x="1009434" y="26009"/>
                  </a:lnTo>
                  <a:lnTo>
                    <a:pt x="1009434" y="16751"/>
                  </a:lnTo>
                  <a:lnTo>
                    <a:pt x="1009434" y="7505"/>
                  </a:lnTo>
                  <a:close/>
                </a:path>
                <a:path w="1290320" h="757554">
                  <a:moveTo>
                    <a:pt x="1022807" y="369443"/>
                  </a:moveTo>
                  <a:lnTo>
                    <a:pt x="1015339" y="361937"/>
                  </a:lnTo>
                  <a:lnTo>
                    <a:pt x="996848" y="361937"/>
                  </a:lnTo>
                  <a:lnTo>
                    <a:pt x="989380" y="369443"/>
                  </a:lnTo>
                  <a:lnTo>
                    <a:pt x="989380" y="387946"/>
                  </a:lnTo>
                  <a:lnTo>
                    <a:pt x="996848" y="395452"/>
                  </a:lnTo>
                  <a:lnTo>
                    <a:pt x="1015339" y="395452"/>
                  </a:lnTo>
                  <a:lnTo>
                    <a:pt x="1022807" y="387946"/>
                  </a:lnTo>
                  <a:lnTo>
                    <a:pt x="1022807" y="378688"/>
                  </a:lnTo>
                  <a:lnTo>
                    <a:pt x="1022807" y="369443"/>
                  </a:lnTo>
                  <a:close/>
                </a:path>
                <a:path w="1290320" h="757554">
                  <a:moveTo>
                    <a:pt x="1042860" y="731380"/>
                  </a:moveTo>
                  <a:lnTo>
                    <a:pt x="1035392" y="723874"/>
                  </a:lnTo>
                  <a:lnTo>
                    <a:pt x="1016901" y="723874"/>
                  </a:lnTo>
                  <a:lnTo>
                    <a:pt x="1009434" y="731380"/>
                  </a:lnTo>
                  <a:lnTo>
                    <a:pt x="1009434" y="749884"/>
                  </a:lnTo>
                  <a:lnTo>
                    <a:pt x="1016901" y="757377"/>
                  </a:lnTo>
                  <a:lnTo>
                    <a:pt x="1035392" y="757377"/>
                  </a:lnTo>
                  <a:lnTo>
                    <a:pt x="1042860" y="749884"/>
                  </a:lnTo>
                  <a:lnTo>
                    <a:pt x="1042860" y="740625"/>
                  </a:lnTo>
                  <a:lnTo>
                    <a:pt x="1042860" y="731380"/>
                  </a:lnTo>
                  <a:close/>
                </a:path>
                <a:path w="1290320" h="757554">
                  <a:moveTo>
                    <a:pt x="1056233" y="7505"/>
                  </a:moveTo>
                  <a:lnTo>
                    <a:pt x="1048766" y="0"/>
                  </a:lnTo>
                  <a:lnTo>
                    <a:pt x="1030274" y="0"/>
                  </a:lnTo>
                  <a:lnTo>
                    <a:pt x="1022807" y="7505"/>
                  </a:lnTo>
                  <a:lnTo>
                    <a:pt x="1022807" y="26009"/>
                  </a:lnTo>
                  <a:lnTo>
                    <a:pt x="1030274" y="33515"/>
                  </a:lnTo>
                  <a:lnTo>
                    <a:pt x="1048766" y="33515"/>
                  </a:lnTo>
                  <a:lnTo>
                    <a:pt x="1056233" y="26009"/>
                  </a:lnTo>
                  <a:lnTo>
                    <a:pt x="1056233" y="16751"/>
                  </a:lnTo>
                  <a:lnTo>
                    <a:pt x="1056233" y="7505"/>
                  </a:lnTo>
                  <a:close/>
                </a:path>
                <a:path w="1290320" h="757554">
                  <a:moveTo>
                    <a:pt x="1076286" y="369443"/>
                  </a:moveTo>
                  <a:lnTo>
                    <a:pt x="1068819" y="361937"/>
                  </a:lnTo>
                  <a:lnTo>
                    <a:pt x="1050328" y="361937"/>
                  </a:lnTo>
                  <a:lnTo>
                    <a:pt x="1042860" y="369443"/>
                  </a:lnTo>
                  <a:lnTo>
                    <a:pt x="1042860" y="387946"/>
                  </a:lnTo>
                  <a:lnTo>
                    <a:pt x="1050328" y="395452"/>
                  </a:lnTo>
                  <a:lnTo>
                    <a:pt x="1068819" y="395452"/>
                  </a:lnTo>
                  <a:lnTo>
                    <a:pt x="1076286" y="387946"/>
                  </a:lnTo>
                  <a:lnTo>
                    <a:pt x="1076286" y="378688"/>
                  </a:lnTo>
                  <a:lnTo>
                    <a:pt x="1076286" y="369443"/>
                  </a:lnTo>
                  <a:close/>
                </a:path>
                <a:path w="1290320" h="757554">
                  <a:moveTo>
                    <a:pt x="1089660" y="731380"/>
                  </a:moveTo>
                  <a:lnTo>
                    <a:pt x="1082192" y="723874"/>
                  </a:lnTo>
                  <a:lnTo>
                    <a:pt x="1063701" y="723874"/>
                  </a:lnTo>
                  <a:lnTo>
                    <a:pt x="1056233" y="731380"/>
                  </a:lnTo>
                  <a:lnTo>
                    <a:pt x="1056233" y="749884"/>
                  </a:lnTo>
                  <a:lnTo>
                    <a:pt x="1063701" y="757377"/>
                  </a:lnTo>
                  <a:lnTo>
                    <a:pt x="1082192" y="757377"/>
                  </a:lnTo>
                  <a:lnTo>
                    <a:pt x="1089660" y="749884"/>
                  </a:lnTo>
                  <a:lnTo>
                    <a:pt x="1089660" y="740625"/>
                  </a:lnTo>
                  <a:lnTo>
                    <a:pt x="1089660" y="731380"/>
                  </a:lnTo>
                  <a:close/>
                </a:path>
                <a:path w="1290320" h="757554">
                  <a:moveTo>
                    <a:pt x="1109713" y="7505"/>
                  </a:moveTo>
                  <a:lnTo>
                    <a:pt x="1102245" y="0"/>
                  </a:lnTo>
                  <a:lnTo>
                    <a:pt x="1083754" y="0"/>
                  </a:lnTo>
                  <a:lnTo>
                    <a:pt x="1076286" y="7505"/>
                  </a:lnTo>
                  <a:lnTo>
                    <a:pt x="1076286" y="26009"/>
                  </a:lnTo>
                  <a:lnTo>
                    <a:pt x="1083754" y="33515"/>
                  </a:lnTo>
                  <a:lnTo>
                    <a:pt x="1102245" y="33515"/>
                  </a:lnTo>
                  <a:lnTo>
                    <a:pt x="1109713" y="26009"/>
                  </a:lnTo>
                  <a:lnTo>
                    <a:pt x="1109713" y="16751"/>
                  </a:lnTo>
                  <a:lnTo>
                    <a:pt x="1109713" y="7505"/>
                  </a:lnTo>
                  <a:close/>
                </a:path>
                <a:path w="1290320" h="757554">
                  <a:moveTo>
                    <a:pt x="1123086" y="369443"/>
                  </a:moveTo>
                  <a:lnTo>
                    <a:pt x="1115618" y="361937"/>
                  </a:lnTo>
                  <a:lnTo>
                    <a:pt x="1097127" y="361937"/>
                  </a:lnTo>
                  <a:lnTo>
                    <a:pt x="1089660" y="369443"/>
                  </a:lnTo>
                  <a:lnTo>
                    <a:pt x="1089660" y="387946"/>
                  </a:lnTo>
                  <a:lnTo>
                    <a:pt x="1097127" y="395452"/>
                  </a:lnTo>
                  <a:lnTo>
                    <a:pt x="1115618" y="395452"/>
                  </a:lnTo>
                  <a:lnTo>
                    <a:pt x="1123086" y="387946"/>
                  </a:lnTo>
                  <a:lnTo>
                    <a:pt x="1123086" y="378688"/>
                  </a:lnTo>
                  <a:lnTo>
                    <a:pt x="1123086" y="369443"/>
                  </a:lnTo>
                  <a:close/>
                </a:path>
                <a:path w="1290320" h="757554">
                  <a:moveTo>
                    <a:pt x="1143139" y="731380"/>
                  </a:moveTo>
                  <a:lnTo>
                    <a:pt x="1135672" y="723874"/>
                  </a:lnTo>
                  <a:lnTo>
                    <a:pt x="1117180" y="723874"/>
                  </a:lnTo>
                  <a:lnTo>
                    <a:pt x="1109713" y="731380"/>
                  </a:lnTo>
                  <a:lnTo>
                    <a:pt x="1109713" y="749884"/>
                  </a:lnTo>
                  <a:lnTo>
                    <a:pt x="1117180" y="757377"/>
                  </a:lnTo>
                  <a:lnTo>
                    <a:pt x="1135672" y="757377"/>
                  </a:lnTo>
                  <a:lnTo>
                    <a:pt x="1143139" y="749884"/>
                  </a:lnTo>
                  <a:lnTo>
                    <a:pt x="1143139" y="740625"/>
                  </a:lnTo>
                  <a:lnTo>
                    <a:pt x="1143139" y="731380"/>
                  </a:lnTo>
                  <a:close/>
                </a:path>
                <a:path w="1290320" h="757554">
                  <a:moveTo>
                    <a:pt x="1156512" y="7505"/>
                  </a:moveTo>
                  <a:lnTo>
                    <a:pt x="1149045" y="0"/>
                  </a:lnTo>
                  <a:lnTo>
                    <a:pt x="1130554" y="0"/>
                  </a:lnTo>
                  <a:lnTo>
                    <a:pt x="1123086" y="7505"/>
                  </a:lnTo>
                  <a:lnTo>
                    <a:pt x="1123086" y="26009"/>
                  </a:lnTo>
                  <a:lnTo>
                    <a:pt x="1130554" y="33515"/>
                  </a:lnTo>
                  <a:lnTo>
                    <a:pt x="1149045" y="33515"/>
                  </a:lnTo>
                  <a:lnTo>
                    <a:pt x="1156512" y="26009"/>
                  </a:lnTo>
                  <a:lnTo>
                    <a:pt x="1156512" y="16751"/>
                  </a:lnTo>
                  <a:lnTo>
                    <a:pt x="1156512" y="7505"/>
                  </a:lnTo>
                  <a:close/>
                </a:path>
                <a:path w="1290320" h="757554">
                  <a:moveTo>
                    <a:pt x="1176566" y="369443"/>
                  </a:moveTo>
                  <a:lnTo>
                    <a:pt x="1169098" y="361937"/>
                  </a:lnTo>
                  <a:lnTo>
                    <a:pt x="1150607" y="361937"/>
                  </a:lnTo>
                  <a:lnTo>
                    <a:pt x="1143139" y="369443"/>
                  </a:lnTo>
                  <a:lnTo>
                    <a:pt x="1143139" y="387946"/>
                  </a:lnTo>
                  <a:lnTo>
                    <a:pt x="1150607" y="395452"/>
                  </a:lnTo>
                  <a:lnTo>
                    <a:pt x="1169098" y="395452"/>
                  </a:lnTo>
                  <a:lnTo>
                    <a:pt x="1176566" y="387946"/>
                  </a:lnTo>
                  <a:lnTo>
                    <a:pt x="1176566" y="378688"/>
                  </a:lnTo>
                  <a:lnTo>
                    <a:pt x="1176566" y="369443"/>
                  </a:lnTo>
                  <a:close/>
                </a:path>
                <a:path w="1290320" h="757554">
                  <a:moveTo>
                    <a:pt x="1189939" y="731380"/>
                  </a:moveTo>
                  <a:lnTo>
                    <a:pt x="1182471" y="723874"/>
                  </a:lnTo>
                  <a:lnTo>
                    <a:pt x="1163967" y="723874"/>
                  </a:lnTo>
                  <a:lnTo>
                    <a:pt x="1156512" y="731380"/>
                  </a:lnTo>
                  <a:lnTo>
                    <a:pt x="1156512" y="749884"/>
                  </a:lnTo>
                  <a:lnTo>
                    <a:pt x="1163967" y="757377"/>
                  </a:lnTo>
                  <a:lnTo>
                    <a:pt x="1182471" y="757377"/>
                  </a:lnTo>
                  <a:lnTo>
                    <a:pt x="1189939" y="749884"/>
                  </a:lnTo>
                  <a:lnTo>
                    <a:pt x="1189939" y="740625"/>
                  </a:lnTo>
                  <a:lnTo>
                    <a:pt x="1189939" y="731380"/>
                  </a:lnTo>
                  <a:close/>
                </a:path>
                <a:path w="1290320" h="757554">
                  <a:moveTo>
                    <a:pt x="1209992" y="7505"/>
                  </a:moveTo>
                  <a:lnTo>
                    <a:pt x="1202524" y="0"/>
                  </a:lnTo>
                  <a:lnTo>
                    <a:pt x="1184033" y="0"/>
                  </a:lnTo>
                  <a:lnTo>
                    <a:pt x="1176566" y="7505"/>
                  </a:lnTo>
                  <a:lnTo>
                    <a:pt x="1176566" y="26009"/>
                  </a:lnTo>
                  <a:lnTo>
                    <a:pt x="1184033" y="33515"/>
                  </a:lnTo>
                  <a:lnTo>
                    <a:pt x="1202524" y="33515"/>
                  </a:lnTo>
                  <a:lnTo>
                    <a:pt x="1209992" y="26009"/>
                  </a:lnTo>
                  <a:lnTo>
                    <a:pt x="1209992" y="16751"/>
                  </a:lnTo>
                  <a:lnTo>
                    <a:pt x="1209992" y="7505"/>
                  </a:lnTo>
                  <a:close/>
                </a:path>
                <a:path w="1290320" h="757554">
                  <a:moveTo>
                    <a:pt x="1223352" y="436460"/>
                  </a:moveTo>
                  <a:lnTo>
                    <a:pt x="1215898" y="428955"/>
                  </a:lnTo>
                  <a:lnTo>
                    <a:pt x="1197394" y="428955"/>
                  </a:lnTo>
                  <a:lnTo>
                    <a:pt x="1189939" y="436460"/>
                  </a:lnTo>
                  <a:lnTo>
                    <a:pt x="1189939" y="454977"/>
                  </a:lnTo>
                  <a:lnTo>
                    <a:pt x="1197394" y="462470"/>
                  </a:lnTo>
                  <a:lnTo>
                    <a:pt x="1215898" y="462470"/>
                  </a:lnTo>
                  <a:lnTo>
                    <a:pt x="1223352" y="454977"/>
                  </a:lnTo>
                  <a:lnTo>
                    <a:pt x="1223352" y="445719"/>
                  </a:lnTo>
                  <a:lnTo>
                    <a:pt x="1223352" y="436460"/>
                  </a:lnTo>
                  <a:close/>
                </a:path>
                <a:path w="1290320" h="757554">
                  <a:moveTo>
                    <a:pt x="1243418" y="731380"/>
                  </a:moveTo>
                  <a:lnTo>
                    <a:pt x="1235951" y="723874"/>
                  </a:lnTo>
                  <a:lnTo>
                    <a:pt x="1217447" y="723874"/>
                  </a:lnTo>
                  <a:lnTo>
                    <a:pt x="1209992" y="731380"/>
                  </a:lnTo>
                  <a:lnTo>
                    <a:pt x="1209992" y="749884"/>
                  </a:lnTo>
                  <a:lnTo>
                    <a:pt x="1217447" y="757377"/>
                  </a:lnTo>
                  <a:lnTo>
                    <a:pt x="1235951" y="757377"/>
                  </a:lnTo>
                  <a:lnTo>
                    <a:pt x="1243418" y="749884"/>
                  </a:lnTo>
                  <a:lnTo>
                    <a:pt x="1243418" y="740625"/>
                  </a:lnTo>
                  <a:lnTo>
                    <a:pt x="1243418" y="731380"/>
                  </a:lnTo>
                  <a:close/>
                </a:path>
                <a:path w="1290320" h="757554">
                  <a:moveTo>
                    <a:pt x="1256779" y="302412"/>
                  </a:moveTo>
                  <a:lnTo>
                    <a:pt x="1249324" y="294906"/>
                  </a:lnTo>
                  <a:lnTo>
                    <a:pt x="1230820" y="294906"/>
                  </a:lnTo>
                  <a:lnTo>
                    <a:pt x="1223352" y="302412"/>
                  </a:lnTo>
                  <a:lnTo>
                    <a:pt x="1223352" y="320929"/>
                  </a:lnTo>
                  <a:lnTo>
                    <a:pt x="1230820" y="328422"/>
                  </a:lnTo>
                  <a:lnTo>
                    <a:pt x="1249324" y="328422"/>
                  </a:lnTo>
                  <a:lnTo>
                    <a:pt x="1256779" y="320929"/>
                  </a:lnTo>
                  <a:lnTo>
                    <a:pt x="1256779" y="311670"/>
                  </a:lnTo>
                  <a:lnTo>
                    <a:pt x="1256779" y="302412"/>
                  </a:lnTo>
                  <a:close/>
                </a:path>
                <a:path w="1290320" h="757554">
                  <a:moveTo>
                    <a:pt x="1276845" y="436460"/>
                  </a:moveTo>
                  <a:lnTo>
                    <a:pt x="1269377" y="428955"/>
                  </a:lnTo>
                  <a:lnTo>
                    <a:pt x="1250873" y="428955"/>
                  </a:lnTo>
                  <a:lnTo>
                    <a:pt x="1243418" y="436460"/>
                  </a:lnTo>
                  <a:lnTo>
                    <a:pt x="1243418" y="454977"/>
                  </a:lnTo>
                  <a:lnTo>
                    <a:pt x="1250873" y="462470"/>
                  </a:lnTo>
                  <a:lnTo>
                    <a:pt x="1269377" y="462470"/>
                  </a:lnTo>
                  <a:lnTo>
                    <a:pt x="1276845" y="454977"/>
                  </a:lnTo>
                  <a:lnTo>
                    <a:pt x="1276845" y="445719"/>
                  </a:lnTo>
                  <a:lnTo>
                    <a:pt x="1276845" y="436460"/>
                  </a:lnTo>
                  <a:close/>
                </a:path>
                <a:path w="1290320" h="757554">
                  <a:moveTo>
                    <a:pt x="1290205" y="731380"/>
                  </a:moveTo>
                  <a:lnTo>
                    <a:pt x="1282738" y="723874"/>
                  </a:lnTo>
                  <a:lnTo>
                    <a:pt x="1264246" y="723874"/>
                  </a:lnTo>
                  <a:lnTo>
                    <a:pt x="1256779" y="731380"/>
                  </a:lnTo>
                  <a:lnTo>
                    <a:pt x="1256779" y="749884"/>
                  </a:lnTo>
                  <a:lnTo>
                    <a:pt x="1264246" y="757377"/>
                  </a:lnTo>
                  <a:lnTo>
                    <a:pt x="1282738" y="757377"/>
                  </a:lnTo>
                  <a:lnTo>
                    <a:pt x="1290205" y="749884"/>
                  </a:lnTo>
                  <a:lnTo>
                    <a:pt x="1290205" y="740625"/>
                  </a:lnTo>
                  <a:lnTo>
                    <a:pt x="1290205" y="731380"/>
                  </a:lnTo>
                  <a:close/>
                </a:path>
              </a:pathLst>
            </a:custGeom>
            <a:solidFill>
              <a:srgbClr val="1F487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5" name="object 65"/>
            <p:cNvSpPr/>
            <p:nvPr/>
          </p:nvSpPr>
          <p:spPr>
            <a:xfrm>
              <a:off x="8157451" y="5905004"/>
              <a:ext cx="441325" cy="757555"/>
            </a:xfrm>
            <a:custGeom>
              <a:avLst/>
              <a:gdLst/>
              <a:ahLst/>
              <a:cxnLst/>
              <a:rect l="l" t="t" r="r" b="b"/>
              <a:pathLst>
                <a:path w="441325" h="757554">
                  <a:moveTo>
                    <a:pt x="33426" y="731380"/>
                  </a:moveTo>
                  <a:lnTo>
                    <a:pt x="25958" y="723874"/>
                  </a:lnTo>
                  <a:lnTo>
                    <a:pt x="7467" y="723874"/>
                  </a:lnTo>
                  <a:lnTo>
                    <a:pt x="0" y="731380"/>
                  </a:lnTo>
                  <a:lnTo>
                    <a:pt x="0" y="749884"/>
                  </a:lnTo>
                  <a:lnTo>
                    <a:pt x="7467" y="757377"/>
                  </a:lnTo>
                  <a:lnTo>
                    <a:pt x="25958" y="757377"/>
                  </a:lnTo>
                  <a:lnTo>
                    <a:pt x="33426" y="749884"/>
                  </a:lnTo>
                  <a:lnTo>
                    <a:pt x="33426" y="740625"/>
                  </a:lnTo>
                  <a:lnTo>
                    <a:pt x="33426" y="731380"/>
                  </a:lnTo>
                  <a:close/>
                </a:path>
                <a:path w="441325" h="757554">
                  <a:moveTo>
                    <a:pt x="53479" y="7505"/>
                  </a:moveTo>
                  <a:lnTo>
                    <a:pt x="46024" y="0"/>
                  </a:lnTo>
                  <a:lnTo>
                    <a:pt x="27520" y="0"/>
                  </a:lnTo>
                  <a:lnTo>
                    <a:pt x="20066" y="7505"/>
                  </a:lnTo>
                  <a:lnTo>
                    <a:pt x="20066" y="26009"/>
                  </a:lnTo>
                  <a:lnTo>
                    <a:pt x="27520" y="33515"/>
                  </a:lnTo>
                  <a:lnTo>
                    <a:pt x="46024" y="33515"/>
                  </a:lnTo>
                  <a:lnTo>
                    <a:pt x="53479" y="26009"/>
                  </a:lnTo>
                  <a:lnTo>
                    <a:pt x="53479" y="16751"/>
                  </a:lnTo>
                  <a:lnTo>
                    <a:pt x="53479" y="7505"/>
                  </a:lnTo>
                  <a:close/>
                </a:path>
                <a:path w="441325" h="757554">
                  <a:moveTo>
                    <a:pt x="66852" y="302412"/>
                  </a:moveTo>
                  <a:lnTo>
                    <a:pt x="59385" y="294906"/>
                  </a:lnTo>
                  <a:lnTo>
                    <a:pt x="40894" y="294906"/>
                  </a:lnTo>
                  <a:lnTo>
                    <a:pt x="33426" y="302412"/>
                  </a:lnTo>
                  <a:lnTo>
                    <a:pt x="33426" y="320929"/>
                  </a:lnTo>
                  <a:lnTo>
                    <a:pt x="40894" y="328422"/>
                  </a:lnTo>
                  <a:lnTo>
                    <a:pt x="59385" y="328422"/>
                  </a:lnTo>
                  <a:lnTo>
                    <a:pt x="66852" y="320929"/>
                  </a:lnTo>
                  <a:lnTo>
                    <a:pt x="66852" y="311670"/>
                  </a:lnTo>
                  <a:lnTo>
                    <a:pt x="66852" y="302412"/>
                  </a:lnTo>
                  <a:close/>
                </a:path>
                <a:path w="441325" h="757554">
                  <a:moveTo>
                    <a:pt x="86906" y="731380"/>
                  </a:moveTo>
                  <a:lnTo>
                    <a:pt x="79451" y="723874"/>
                  </a:lnTo>
                  <a:lnTo>
                    <a:pt x="60947" y="723874"/>
                  </a:lnTo>
                  <a:lnTo>
                    <a:pt x="53479" y="731380"/>
                  </a:lnTo>
                  <a:lnTo>
                    <a:pt x="53479" y="749884"/>
                  </a:lnTo>
                  <a:lnTo>
                    <a:pt x="60947" y="757377"/>
                  </a:lnTo>
                  <a:lnTo>
                    <a:pt x="79451" y="757377"/>
                  </a:lnTo>
                  <a:lnTo>
                    <a:pt x="86906" y="749884"/>
                  </a:lnTo>
                  <a:lnTo>
                    <a:pt x="86906" y="740625"/>
                  </a:lnTo>
                  <a:lnTo>
                    <a:pt x="86906" y="731380"/>
                  </a:lnTo>
                  <a:close/>
                </a:path>
                <a:path w="441325" h="757554">
                  <a:moveTo>
                    <a:pt x="100279" y="7505"/>
                  </a:moveTo>
                  <a:lnTo>
                    <a:pt x="92811" y="0"/>
                  </a:lnTo>
                  <a:lnTo>
                    <a:pt x="74320" y="0"/>
                  </a:lnTo>
                  <a:lnTo>
                    <a:pt x="66852" y="7505"/>
                  </a:lnTo>
                  <a:lnTo>
                    <a:pt x="66852" y="26009"/>
                  </a:lnTo>
                  <a:lnTo>
                    <a:pt x="74320" y="33515"/>
                  </a:lnTo>
                  <a:lnTo>
                    <a:pt x="92811" y="33515"/>
                  </a:lnTo>
                  <a:lnTo>
                    <a:pt x="100279" y="26009"/>
                  </a:lnTo>
                  <a:lnTo>
                    <a:pt x="100279" y="16751"/>
                  </a:lnTo>
                  <a:lnTo>
                    <a:pt x="100279" y="7505"/>
                  </a:lnTo>
                  <a:close/>
                </a:path>
                <a:path w="441325" h="757554">
                  <a:moveTo>
                    <a:pt x="120332" y="302412"/>
                  </a:moveTo>
                  <a:lnTo>
                    <a:pt x="112864" y="294906"/>
                  </a:lnTo>
                  <a:lnTo>
                    <a:pt x="94373" y="294906"/>
                  </a:lnTo>
                  <a:lnTo>
                    <a:pt x="86906" y="302412"/>
                  </a:lnTo>
                  <a:lnTo>
                    <a:pt x="86906" y="320929"/>
                  </a:lnTo>
                  <a:lnTo>
                    <a:pt x="94373" y="328422"/>
                  </a:lnTo>
                  <a:lnTo>
                    <a:pt x="112864" y="328422"/>
                  </a:lnTo>
                  <a:lnTo>
                    <a:pt x="120332" y="320929"/>
                  </a:lnTo>
                  <a:lnTo>
                    <a:pt x="120332" y="311670"/>
                  </a:lnTo>
                  <a:lnTo>
                    <a:pt x="120332" y="302412"/>
                  </a:lnTo>
                  <a:close/>
                </a:path>
                <a:path w="441325" h="757554">
                  <a:moveTo>
                    <a:pt x="140385" y="731380"/>
                  </a:moveTo>
                  <a:lnTo>
                    <a:pt x="132930" y="723874"/>
                  </a:lnTo>
                  <a:lnTo>
                    <a:pt x="114427" y="723874"/>
                  </a:lnTo>
                  <a:lnTo>
                    <a:pt x="106959" y="731380"/>
                  </a:lnTo>
                  <a:lnTo>
                    <a:pt x="106959" y="749884"/>
                  </a:lnTo>
                  <a:lnTo>
                    <a:pt x="114427" y="757377"/>
                  </a:lnTo>
                  <a:lnTo>
                    <a:pt x="132930" y="757377"/>
                  </a:lnTo>
                  <a:lnTo>
                    <a:pt x="140385" y="749884"/>
                  </a:lnTo>
                  <a:lnTo>
                    <a:pt x="140385" y="740625"/>
                  </a:lnTo>
                  <a:lnTo>
                    <a:pt x="140385" y="731380"/>
                  </a:lnTo>
                  <a:close/>
                </a:path>
                <a:path w="441325" h="757554">
                  <a:moveTo>
                    <a:pt x="153758" y="7505"/>
                  </a:moveTo>
                  <a:lnTo>
                    <a:pt x="146291" y="0"/>
                  </a:lnTo>
                  <a:lnTo>
                    <a:pt x="127800" y="0"/>
                  </a:lnTo>
                  <a:lnTo>
                    <a:pt x="120332" y="7505"/>
                  </a:lnTo>
                  <a:lnTo>
                    <a:pt x="120332" y="26009"/>
                  </a:lnTo>
                  <a:lnTo>
                    <a:pt x="127800" y="33515"/>
                  </a:lnTo>
                  <a:lnTo>
                    <a:pt x="146291" y="33515"/>
                  </a:lnTo>
                  <a:lnTo>
                    <a:pt x="153758" y="26009"/>
                  </a:lnTo>
                  <a:lnTo>
                    <a:pt x="153758" y="16751"/>
                  </a:lnTo>
                  <a:lnTo>
                    <a:pt x="153758" y="7505"/>
                  </a:lnTo>
                  <a:close/>
                </a:path>
                <a:path w="441325" h="757554">
                  <a:moveTo>
                    <a:pt x="173812" y="302412"/>
                  </a:moveTo>
                  <a:lnTo>
                    <a:pt x="166344" y="294906"/>
                  </a:lnTo>
                  <a:lnTo>
                    <a:pt x="147853" y="294906"/>
                  </a:lnTo>
                  <a:lnTo>
                    <a:pt x="140385" y="302412"/>
                  </a:lnTo>
                  <a:lnTo>
                    <a:pt x="140385" y="320929"/>
                  </a:lnTo>
                  <a:lnTo>
                    <a:pt x="147853" y="328422"/>
                  </a:lnTo>
                  <a:lnTo>
                    <a:pt x="166344" y="328422"/>
                  </a:lnTo>
                  <a:lnTo>
                    <a:pt x="173812" y="320929"/>
                  </a:lnTo>
                  <a:lnTo>
                    <a:pt x="173812" y="311670"/>
                  </a:lnTo>
                  <a:lnTo>
                    <a:pt x="173812" y="302412"/>
                  </a:lnTo>
                  <a:close/>
                </a:path>
                <a:path w="441325" h="757554">
                  <a:moveTo>
                    <a:pt x="187185" y="731380"/>
                  </a:moveTo>
                  <a:lnTo>
                    <a:pt x="179717" y="723874"/>
                  </a:lnTo>
                  <a:lnTo>
                    <a:pt x="161226" y="723874"/>
                  </a:lnTo>
                  <a:lnTo>
                    <a:pt x="153758" y="731380"/>
                  </a:lnTo>
                  <a:lnTo>
                    <a:pt x="153758" y="749884"/>
                  </a:lnTo>
                  <a:lnTo>
                    <a:pt x="161226" y="757377"/>
                  </a:lnTo>
                  <a:lnTo>
                    <a:pt x="179717" y="757377"/>
                  </a:lnTo>
                  <a:lnTo>
                    <a:pt x="187185" y="749884"/>
                  </a:lnTo>
                  <a:lnTo>
                    <a:pt x="187185" y="740625"/>
                  </a:lnTo>
                  <a:lnTo>
                    <a:pt x="187185" y="731380"/>
                  </a:lnTo>
                  <a:close/>
                </a:path>
                <a:path w="441325" h="757554">
                  <a:moveTo>
                    <a:pt x="207238" y="7505"/>
                  </a:moveTo>
                  <a:lnTo>
                    <a:pt x="199771" y="0"/>
                  </a:lnTo>
                  <a:lnTo>
                    <a:pt x="181279" y="0"/>
                  </a:lnTo>
                  <a:lnTo>
                    <a:pt x="173812" y="7505"/>
                  </a:lnTo>
                  <a:lnTo>
                    <a:pt x="173812" y="26009"/>
                  </a:lnTo>
                  <a:lnTo>
                    <a:pt x="181279" y="33515"/>
                  </a:lnTo>
                  <a:lnTo>
                    <a:pt x="199771" y="33515"/>
                  </a:lnTo>
                  <a:lnTo>
                    <a:pt x="207238" y="26009"/>
                  </a:lnTo>
                  <a:lnTo>
                    <a:pt x="207238" y="16751"/>
                  </a:lnTo>
                  <a:lnTo>
                    <a:pt x="207238" y="7505"/>
                  </a:lnTo>
                  <a:close/>
                </a:path>
                <a:path w="441325" h="757554">
                  <a:moveTo>
                    <a:pt x="220611" y="302412"/>
                  </a:moveTo>
                  <a:lnTo>
                    <a:pt x="213144" y="294906"/>
                  </a:lnTo>
                  <a:lnTo>
                    <a:pt x="194652" y="294906"/>
                  </a:lnTo>
                  <a:lnTo>
                    <a:pt x="187185" y="302412"/>
                  </a:lnTo>
                  <a:lnTo>
                    <a:pt x="187185" y="320929"/>
                  </a:lnTo>
                  <a:lnTo>
                    <a:pt x="194652" y="328422"/>
                  </a:lnTo>
                  <a:lnTo>
                    <a:pt x="213144" y="328422"/>
                  </a:lnTo>
                  <a:lnTo>
                    <a:pt x="220611" y="320929"/>
                  </a:lnTo>
                  <a:lnTo>
                    <a:pt x="220611" y="311670"/>
                  </a:lnTo>
                  <a:lnTo>
                    <a:pt x="220611" y="302412"/>
                  </a:lnTo>
                  <a:close/>
                </a:path>
                <a:path w="441325" h="757554">
                  <a:moveTo>
                    <a:pt x="240665" y="731380"/>
                  </a:moveTo>
                  <a:lnTo>
                    <a:pt x="233197" y="723874"/>
                  </a:lnTo>
                  <a:lnTo>
                    <a:pt x="214706" y="723874"/>
                  </a:lnTo>
                  <a:lnTo>
                    <a:pt x="207238" y="731380"/>
                  </a:lnTo>
                  <a:lnTo>
                    <a:pt x="207238" y="749884"/>
                  </a:lnTo>
                  <a:lnTo>
                    <a:pt x="214706" y="757377"/>
                  </a:lnTo>
                  <a:lnTo>
                    <a:pt x="233197" y="757377"/>
                  </a:lnTo>
                  <a:lnTo>
                    <a:pt x="240665" y="749884"/>
                  </a:lnTo>
                  <a:lnTo>
                    <a:pt x="240665" y="740625"/>
                  </a:lnTo>
                  <a:lnTo>
                    <a:pt x="240665" y="731380"/>
                  </a:lnTo>
                  <a:close/>
                </a:path>
                <a:path w="441325" h="757554">
                  <a:moveTo>
                    <a:pt x="254038" y="7505"/>
                  </a:moveTo>
                  <a:lnTo>
                    <a:pt x="246570" y="0"/>
                  </a:lnTo>
                  <a:lnTo>
                    <a:pt x="228079" y="0"/>
                  </a:lnTo>
                  <a:lnTo>
                    <a:pt x="220611" y="7505"/>
                  </a:lnTo>
                  <a:lnTo>
                    <a:pt x="220611" y="26009"/>
                  </a:lnTo>
                  <a:lnTo>
                    <a:pt x="228079" y="33515"/>
                  </a:lnTo>
                  <a:lnTo>
                    <a:pt x="246570" y="33515"/>
                  </a:lnTo>
                  <a:lnTo>
                    <a:pt x="254038" y="26009"/>
                  </a:lnTo>
                  <a:lnTo>
                    <a:pt x="254038" y="16751"/>
                  </a:lnTo>
                  <a:lnTo>
                    <a:pt x="254038" y="7505"/>
                  </a:lnTo>
                  <a:close/>
                </a:path>
                <a:path w="441325" h="757554">
                  <a:moveTo>
                    <a:pt x="274091" y="302412"/>
                  </a:moveTo>
                  <a:lnTo>
                    <a:pt x="266623" y="294906"/>
                  </a:lnTo>
                  <a:lnTo>
                    <a:pt x="248132" y="294906"/>
                  </a:lnTo>
                  <a:lnTo>
                    <a:pt x="240665" y="302412"/>
                  </a:lnTo>
                  <a:lnTo>
                    <a:pt x="240665" y="320929"/>
                  </a:lnTo>
                  <a:lnTo>
                    <a:pt x="248132" y="328422"/>
                  </a:lnTo>
                  <a:lnTo>
                    <a:pt x="266623" y="328422"/>
                  </a:lnTo>
                  <a:lnTo>
                    <a:pt x="274091" y="320929"/>
                  </a:lnTo>
                  <a:lnTo>
                    <a:pt x="274091" y="311670"/>
                  </a:lnTo>
                  <a:lnTo>
                    <a:pt x="274091" y="302412"/>
                  </a:lnTo>
                  <a:close/>
                </a:path>
                <a:path w="441325" h="757554">
                  <a:moveTo>
                    <a:pt x="287464" y="731380"/>
                  </a:moveTo>
                  <a:lnTo>
                    <a:pt x="279996" y="723874"/>
                  </a:lnTo>
                  <a:lnTo>
                    <a:pt x="261505" y="723874"/>
                  </a:lnTo>
                  <a:lnTo>
                    <a:pt x="254038" y="731380"/>
                  </a:lnTo>
                  <a:lnTo>
                    <a:pt x="254038" y="749884"/>
                  </a:lnTo>
                  <a:lnTo>
                    <a:pt x="261505" y="757377"/>
                  </a:lnTo>
                  <a:lnTo>
                    <a:pt x="279996" y="757377"/>
                  </a:lnTo>
                  <a:lnTo>
                    <a:pt x="287464" y="749884"/>
                  </a:lnTo>
                  <a:lnTo>
                    <a:pt x="287464" y="740625"/>
                  </a:lnTo>
                  <a:lnTo>
                    <a:pt x="287464" y="731380"/>
                  </a:lnTo>
                  <a:close/>
                </a:path>
                <a:path w="441325" h="757554">
                  <a:moveTo>
                    <a:pt x="307517" y="7505"/>
                  </a:moveTo>
                  <a:lnTo>
                    <a:pt x="300050" y="0"/>
                  </a:lnTo>
                  <a:lnTo>
                    <a:pt x="281559" y="0"/>
                  </a:lnTo>
                  <a:lnTo>
                    <a:pt x="274091" y="7505"/>
                  </a:lnTo>
                  <a:lnTo>
                    <a:pt x="274091" y="26009"/>
                  </a:lnTo>
                  <a:lnTo>
                    <a:pt x="281559" y="33515"/>
                  </a:lnTo>
                  <a:lnTo>
                    <a:pt x="300050" y="33515"/>
                  </a:lnTo>
                  <a:lnTo>
                    <a:pt x="307517" y="26009"/>
                  </a:lnTo>
                  <a:lnTo>
                    <a:pt x="307517" y="16751"/>
                  </a:lnTo>
                  <a:lnTo>
                    <a:pt x="307517" y="7505"/>
                  </a:lnTo>
                  <a:close/>
                </a:path>
                <a:path w="441325" h="757554">
                  <a:moveTo>
                    <a:pt x="320890" y="369443"/>
                  </a:moveTo>
                  <a:lnTo>
                    <a:pt x="313423" y="361937"/>
                  </a:lnTo>
                  <a:lnTo>
                    <a:pt x="294932" y="361937"/>
                  </a:lnTo>
                  <a:lnTo>
                    <a:pt x="287464" y="369443"/>
                  </a:lnTo>
                  <a:lnTo>
                    <a:pt x="287464" y="387946"/>
                  </a:lnTo>
                  <a:lnTo>
                    <a:pt x="294932" y="395452"/>
                  </a:lnTo>
                  <a:lnTo>
                    <a:pt x="313423" y="395452"/>
                  </a:lnTo>
                  <a:lnTo>
                    <a:pt x="320890" y="387946"/>
                  </a:lnTo>
                  <a:lnTo>
                    <a:pt x="320890" y="378688"/>
                  </a:lnTo>
                  <a:lnTo>
                    <a:pt x="320890" y="369443"/>
                  </a:lnTo>
                  <a:close/>
                </a:path>
                <a:path w="441325" h="757554">
                  <a:moveTo>
                    <a:pt x="340944" y="731380"/>
                  </a:moveTo>
                  <a:lnTo>
                    <a:pt x="333476" y="723874"/>
                  </a:lnTo>
                  <a:lnTo>
                    <a:pt x="314985" y="723874"/>
                  </a:lnTo>
                  <a:lnTo>
                    <a:pt x="307517" y="731380"/>
                  </a:lnTo>
                  <a:lnTo>
                    <a:pt x="307517" y="749884"/>
                  </a:lnTo>
                  <a:lnTo>
                    <a:pt x="314985" y="757377"/>
                  </a:lnTo>
                  <a:lnTo>
                    <a:pt x="333476" y="757377"/>
                  </a:lnTo>
                  <a:lnTo>
                    <a:pt x="340944" y="749884"/>
                  </a:lnTo>
                  <a:lnTo>
                    <a:pt x="340944" y="740625"/>
                  </a:lnTo>
                  <a:lnTo>
                    <a:pt x="340944" y="731380"/>
                  </a:lnTo>
                  <a:close/>
                </a:path>
                <a:path w="441325" h="757554">
                  <a:moveTo>
                    <a:pt x="354317" y="7505"/>
                  </a:moveTo>
                  <a:lnTo>
                    <a:pt x="346849" y="0"/>
                  </a:lnTo>
                  <a:lnTo>
                    <a:pt x="328345" y="0"/>
                  </a:lnTo>
                  <a:lnTo>
                    <a:pt x="320890" y="7505"/>
                  </a:lnTo>
                  <a:lnTo>
                    <a:pt x="320890" y="26009"/>
                  </a:lnTo>
                  <a:lnTo>
                    <a:pt x="328345" y="33515"/>
                  </a:lnTo>
                  <a:lnTo>
                    <a:pt x="346849" y="33515"/>
                  </a:lnTo>
                  <a:lnTo>
                    <a:pt x="354317" y="26009"/>
                  </a:lnTo>
                  <a:lnTo>
                    <a:pt x="354317" y="16751"/>
                  </a:lnTo>
                  <a:lnTo>
                    <a:pt x="354317" y="7505"/>
                  </a:lnTo>
                  <a:close/>
                </a:path>
                <a:path w="441325" h="757554">
                  <a:moveTo>
                    <a:pt x="374370" y="369443"/>
                  </a:moveTo>
                  <a:lnTo>
                    <a:pt x="366903" y="361937"/>
                  </a:lnTo>
                  <a:lnTo>
                    <a:pt x="348411" y="361937"/>
                  </a:lnTo>
                  <a:lnTo>
                    <a:pt x="340944" y="369443"/>
                  </a:lnTo>
                  <a:lnTo>
                    <a:pt x="340944" y="387946"/>
                  </a:lnTo>
                  <a:lnTo>
                    <a:pt x="348411" y="395452"/>
                  </a:lnTo>
                  <a:lnTo>
                    <a:pt x="366903" y="395452"/>
                  </a:lnTo>
                  <a:lnTo>
                    <a:pt x="374370" y="387946"/>
                  </a:lnTo>
                  <a:lnTo>
                    <a:pt x="374370" y="378688"/>
                  </a:lnTo>
                  <a:lnTo>
                    <a:pt x="374370" y="369443"/>
                  </a:lnTo>
                  <a:close/>
                </a:path>
                <a:path w="441325" h="757554">
                  <a:moveTo>
                    <a:pt x="387731" y="731380"/>
                  </a:moveTo>
                  <a:lnTo>
                    <a:pt x="380276" y="723874"/>
                  </a:lnTo>
                  <a:lnTo>
                    <a:pt x="361772" y="723874"/>
                  </a:lnTo>
                  <a:lnTo>
                    <a:pt x="354317" y="731380"/>
                  </a:lnTo>
                  <a:lnTo>
                    <a:pt x="354317" y="749884"/>
                  </a:lnTo>
                  <a:lnTo>
                    <a:pt x="361772" y="757377"/>
                  </a:lnTo>
                  <a:lnTo>
                    <a:pt x="380276" y="757377"/>
                  </a:lnTo>
                  <a:lnTo>
                    <a:pt x="387731" y="749884"/>
                  </a:lnTo>
                  <a:lnTo>
                    <a:pt x="387731" y="740625"/>
                  </a:lnTo>
                  <a:lnTo>
                    <a:pt x="387731" y="731380"/>
                  </a:lnTo>
                  <a:close/>
                </a:path>
                <a:path w="441325" h="757554">
                  <a:moveTo>
                    <a:pt x="407797" y="7505"/>
                  </a:moveTo>
                  <a:lnTo>
                    <a:pt x="400329" y="0"/>
                  </a:lnTo>
                  <a:lnTo>
                    <a:pt x="381838" y="0"/>
                  </a:lnTo>
                  <a:lnTo>
                    <a:pt x="374370" y="7505"/>
                  </a:lnTo>
                  <a:lnTo>
                    <a:pt x="374370" y="26009"/>
                  </a:lnTo>
                  <a:lnTo>
                    <a:pt x="381838" y="33515"/>
                  </a:lnTo>
                  <a:lnTo>
                    <a:pt x="400329" y="33515"/>
                  </a:lnTo>
                  <a:lnTo>
                    <a:pt x="407797" y="26009"/>
                  </a:lnTo>
                  <a:lnTo>
                    <a:pt x="407797" y="16751"/>
                  </a:lnTo>
                  <a:lnTo>
                    <a:pt x="407797" y="7505"/>
                  </a:lnTo>
                  <a:close/>
                </a:path>
                <a:path w="441325" h="757554">
                  <a:moveTo>
                    <a:pt x="421157" y="369443"/>
                  </a:moveTo>
                  <a:lnTo>
                    <a:pt x="413702" y="361937"/>
                  </a:lnTo>
                  <a:lnTo>
                    <a:pt x="395198" y="361937"/>
                  </a:lnTo>
                  <a:lnTo>
                    <a:pt x="387731" y="369443"/>
                  </a:lnTo>
                  <a:lnTo>
                    <a:pt x="387731" y="387946"/>
                  </a:lnTo>
                  <a:lnTo>
                    <a:pt x="395198" y="395452"/>
                  </a:lnTo>
                  <a:lnTo>
                    <a:pt x="413702" y="395452"/>
                  </a:lnTo>
                  <a:lnTo>
                    <a:pt x="421157" y="387946"/>
                  </a:lnTo>
                  <a:lnTo>
                    <a:pt x="421157" y="378688"/>
                  </a:lnTo>
                  <a:lnTo>
                    <a:pt x="421157" y="369443"/>
                  </a:lnTo>
                  <a:close/>
                </a:path>
                <a:path w="441325" h="757554">
                  <a:moveTo>
                    <a:pt x="441223" y="731380"/>
                  </a:moveTo>
                  <a:lnTo>
                    <a:pt x="433755" y="723874"/>
                  </a:lnTo>
                  <a:lnTo>
                    <a:pt x="415251" y="723874"/>
                  </a:lnTo>
                  <a:lnTo>
                    <a:pt x="407797" y="731380"/>
                  </a:lnTo>
                  <a:lnTo>
                    <a:pt x="407797" y="749884"/>
                  </a:lnTo>
                  <a:lnTo>
                    <a:pt x="415251" y="757377"/>
                  </a:lnTo>
                  <a:lnTo>
                    <a:pt x="433755" y="757377"/>
                  </a:lnTo>
                  <a:lnTo>
                    <a:pt x="441223" y="749884"/>
                  </a:lnTo>
                  <a:lnTo>
                    <a:pt x="441223" y="740625"/>
                  </a:lnTo>
                  <a:lnTo>
                    <a:pt x="441223" y="731380"/>
                  </a:lnTo>
                  <a:close/>
                </a:path>
              </a:pathLst>
            </a:custGeom>
            <a:solidFill>
              <a:srgbClr val="1F487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graphicFrame>
        <p:nvGraphicFramePr>
          <p:cNvPr id="66" name="object 66"/>
          <p:cNvGraphicFramePr>
            <a:graphicFrameLocks noGrp="1"/>
          </p:cNvGraphicFramePr>
          <p:nvPr/>
        </p:nvGraphicFramePr>
        <p:xfrm>
          <a:off x="653501" y="821125"/>
          <a:ext cx="10933428" cy="5967730"/>
        </p:xfrm>
        <a:graphic>
          <a:graphicData uri="http://schemas.openxmlformats.org/drawingml/2006/table">
            <a:tbl>
              <a:tblPr firstRow="1" bandRow="1">
                <a:tableStyleId>{2D5ABB26-0587-4C30-8999-92F81FD0307C}</a:tableStyleId>
              </a:tblPr>
              <a:tblGrid>
                <a:gridCol w="578485">
                  <a:extLst>
                    <a:ext uri="{9D8B030D-6E8A-4147-A177-3AD203B41FA5}">
                      <a16:colId xmlns:a16="http://schemas.microsoft.com/office/drawing/2014/main" val="20000"/>
                    </a:ext>
                  </a:extLst>
                </a:gridCol>
                <a:gridCol w="2588894">
                  <a:extLst>
                    <a:ext uri="{9D8B030D-6E8A-4147-A177-3AD203B41FA5}">
                      <a16:colId xmlns:a16="http://schemas.microsoft.com/office/drawing/2014/main" val="20001"/>
                    </a:ext>
                  </a:extLst>
                </a:gridCol>
                <a:gridCol w="2588260">
                  <a:extLst>
                    <a:ext uri="{9D8B030D-6E8A-4147-A177-3AD203B41FA5}">
                      <a16:colId xmlns:a16="http://schemas.microsoft.com/office/drawing/2014/main" val="20002"/>
                    </a:ext>
                  </a:extLst>
                </a:gridCol>
                <a:gridCol w="2588894">
                  <a:extLst>
                    <a:ext uri="{9D8B030D-6E8A-4147-A177-3AD203B41FA5}">
                      <a16:colId xmlns:a16="http://schemas.microsoft.com/office/drawing/2014/main" val="20003"/>
                    </a:ext>
                  </a:extLst>
                </a:gridCol>
                <a:gridCol w="2588895">
                  <a:extLst>
                    <a:ext uri="{9D8B030D-6E8A-4147-A177-3AD203B41FA5}">
                      <a16:colId xmlns:a16="http://schemas.microsoft.com/office/drawing/2014/main" val="20004"/>
                    </a:ext>
                  </a:extLst>
                </a:gridCol>
              </a:tblGrid>
              <a:tr h="600075">
                <a:tc>
                  <a:txBody>
                    <a:bodyPr/>
                    <a:lstStyle/>
                    <a:p>
                      <a:pPr>
                        <a:lnSpc>
                          <a:spcPct val="100000"/>
                        </a:lnSpc>
                      </a:pPr>
                      <a:endParaRPr sz="1300">
                        <a:latin typeface="Times New Roman"/>
                        <a:cs typeface="Times New Roman"/>
                      </a:endParaRPr>
                    </a:p>
                  </a:txBody>
                  <a:tcPr marL="0" marR="0" marT="0" marB="0">
                    <a:lnL w="9525">
                      <a:solidFill>
                        <a:srgbClr val="000000"/>
                      </a:solidFill>
                      <a:prstDash val="solid"/>
                    </a:lnL>
                    <a:lnR w="19050">
                      <a:solidFill>
                        <a:srgbClr val="000000"/>
                      </a:solidFill>
                      <a:prstDash val="solid"/>
                    </a:lnR>
                    <a:lnT w="9525">
                      <a:solidFill>
                        <a:srgbClr val="000000"/>
                      </a:solidFill>
                      <a:prstDash val="solid"/>
                    </a:lnT>
                    <a:lnB w="19050">
                      <a:solidFill>
                        <a:srgbClr val="000000"/>
                      </a:solidFill>
                      <a:prstDash val="solid"/>
                    </a:lnB>
                    <a:solidFill>
                      <a:srgbClr val="FFFFFF"/>
                    </a:solidFill>
                  </a:tcPr>
                </a:tc>
                <a:tc>
                  <a:txBody>
                    <a:bodyPr/>
                    <a:lstStyle/>
                    <a:p>
                      <a:pPr marL="615315">
                        <a:lnSpc>
                          <a:spcPct val="100000"/>
                        </a:lnSpc>
                        <a:spcBef>
                          <a:spcPts val="1435"/>
                        </a:spcBef>
                      </a:pPr>
                      <a:r>
                        <a:rPr sz="1550" dirty="0">
                          <a:latin typeface="Arial"/>
                          <a:cs typeface="Arial"/>
                        </a:rPr>
                        <a:t>Normal</a:t>
                      </a:r>
                      <a:r>
                        <a:rPr sz="1550" spc="20" dirty="0">
                          <a:latin typeface="Arial"/>
                          <a:cs typeface="Arial"/>
                        </a:rPr>
                        <a:t> </a:t>
                      </a:r>
                      <a:r>
                        <a:rPr sz="1550" spc="-10" dirty="0">
                          <a:latin typeface="Arial"/>
                          <a:cs typeface="Arial"/>
                        </a:rPr>
                        <a:t>(CN=2)</a:t>
                      </a:r>
                      <a:endParaRPr sz="1550">
                        <a:latin typeface="Arial"/>
                        <a:cs typeface="Arial"/>
                      </a:endParaRPr>
                    </a:p>
                  </a:txBody>
                  <a:tcPr marL="0" marR="0" marT="182245" marB="0">
                    <a:lnL w="19050">
                      <a:solidFill>
                        <a:srgbClr val="000000"/>
                      </a:solidFill>
                      <a:prstDash val="solid"/>
                    </a:lnL>
                    <a:lnR w="19050">
                      <a:solidFill>
                        <a:srgbClr val="000000"/>
                      </a:solidFill>
                      <a:prstDash val="solid"/>
                    </a:lnR>
                    <a:lnT w="9525">
                      <a:solidFill>
                        <a:srgbClr val="000000"/>
                      </a:solidFill>
                      <a:prstDash val="solid"/>
                    </a:lnT>
                    <a:lnB w="19050">
                      <a:solidFill>
                        <a:srgbClr val="000000"/>
                      </a:solidFill>
                      <a:prstDash val="solid"/>
                    </a:lnB>
                    <a:solidFill>
                      <a:srgbClr val="FFFFFF"/>
                    </a:solidFill>
                  </a:tcPr>
                </a:tc>
                <a:tc>
                  <a:txBody>
                    <a:bodyPr/>
                    <a:lstStyle/>
                    <a:p>
                      <a:pPr marL="300355">
                        <a:lnSpc>
                          <a:spcPct val="100000"/>
                        </a:lnSpc>
                        <a:spcBef>
                          <a:spcPts val="1435"/>
                        </a:spcBef>
                      </a:pPr>
                      <a:r>
                        <a:rPr sz="1550" dirty="0">
                          <a:latin typeface="Arial"/>
                          <a:cs typeface="Arial"/>
                        </a:rPr>
                        <a:t>Mosaic</a:t>
                      </a:r>
                      <a:r>
                        <a:rPr sz="1550" spc="15" dirty="0">
                          <a:latin typeface="Arial"/>
                          <a:cs typeface="Arial"/>
                        </a:rPr>
                        <a:t> </a:t>
                      </a:r>
                      <a:r>
                        <a:rPr sz="1550" dirty="0">
                          <a:latin typeface="Arial"/>
                          <a:cs typeface="Arial"/>
                        </a:rPr>
                        <a:t>Gain</a:t>
                      </a:r>
                      <a:r>
                        <a:rPr sz="1550" spc="25" dirty="0">
                          <a:latin typeface="Arial"/>
                          <a:cs typeface="Arial"/>
                        </a:rPr>
                        <a:t> </a:t>
                      </a:r>
                      <a:r>
                        <a:rPr sz="1550" spc="-10" dirty="0">
                          <a:latin typeface="Arial"/>
                          <a:cs typeface="Arial"/>
                        </a:rPr>
                        <a:t>(CN=2.3)</a:t>
                      </a:r>
                      <a:endParaRPr sz="1550">
                        <a:latin typeface="Arial"/>
                        <a:cs typeface="Arial"/>
                      </a:endParaRPr>
                    </a:p>
                  </a:txBody>
                  <a:tcPr marL="0" marR="0" marT="182245" marB="0">
                    <a:lnL w="19050">
                      <a:solidFill>
                        <a:srgbClr val="000000"/>
                      </a:solidFill>
                      <a:prstDash val="solid"/>
                    </a:lnL>
                    <a:lnR w="19050">
                      <a:solidFill>
                        <a:srgbClr val="000000"/>
                      </a:solidFill>
                      <a:prstDash val="solid"/>
                    </a:lnR>
                    <a:lnT w="9525">
                      <a:solidFill>
                        <a:srgbClr val="000000"/>
                      </a:solidFill>
                      <a:prstDash val="solid"/>
                    </a:lnT>
                    <a:lnB w="19050">
                      <a:solidFill>
                        <a:srgbClr val="000000"/>
                      </a:solidFill>
                      <a:prstDash val="solid"/>
                    </a:lnB>
                    <a:solidFill>
                      <a:srgbClr val="FFFFFF"/>
                    </a:solidFill>
                  </a:tcPr>
                </a:tc>
                <a:tc>
                  <a:txBody>
                    <a:bodyPr/>
                    <a:lstStyle/>
                    <a:p>
                      <a:pPr marL="300990">
                        <a:lnSpc>
                          <a:spcPct val="100000"/>
                        </a:lnSpc>
                        <a:spcBef>
                          <a:spcPts val="1435"/>
                        </a:spcBef>
                      </a:pPr>
                      <a:r>
                        <a:rPr sz="1550" dirty="0">
                          <a:latin typeface="Arial"/>
                          <a:cs typeface="Arial"/>
                        </a:rPr>
                        <a:t>Mosaic</a:t>
                      </a:r>
                      <a:r>
                        <a:rPr sz="1550" spc="20" dirty="0">
                          <a:latin typeface="Arial"/>
                          <a:cs typeface="Arial"/>
                        </a:rPr>
                        <a:t> </a:t>
                      </a:r>
                      <a:r>
                        <a:rPr sz="1550" dirty="0">
                          <a:latin typeface="Arial"/>
                          <a:cs typeface="Arial"/>
                        </a:rPr>
                        <a:t>Loss</a:t>
                      </a:r>
                      <a:r>
                        <a:rPr sz="1550" spc="15" dirty="0">
                          <a:latin typeface="Arial"/>
                          <a:cs typeface="Arial"/>
                        </a:rPr>
                        <a:t> </a:t>
                      </a:r>
                      <a:r>
                        <a:rPr sz="1550" spc="-10" dirty="0">
                          <a:latin typeface="Arial"/>
                          <a:cs typeface="Arial"/>
                        </a:rPr>
                        <a:t>(CN=1.7)</a:t>
                      </a:r>
                      <a:endParaRPr sz="1550">
                        <a:latin typeface="Arial"/>
                        <a:cs typeface="Arial"/>
                      </a:endParaRPr>
                    </a:p>
                  </a:txBody>
                  <a:tcPr marL="0" marR="0" marT="182245" marB="0">
                    <a:lnL w="19050">
                      <a:solidFill>
                        <a:srgbClr val="000000"/>
                      </a:solidFill>
                      <a:prstDash val="solid"/>
                    </a:lnL>
                    <a:lnR w="19050">
                      <a:solidFill>
                        <a:srgbClr val="000000"/>
                      </a:solidFill>
                      <a:prstDash val="solid"/>
                    </a:lnR>
                    <a:lnT w="9525">
                      <a:solidFill>
                        <a:srgbClr val="000000"/>
                      </a:solidFill>
                      <a:prstDash val="solid"/>
                    </a:lnT>
                    <a:lnB w="19050">
                      <a:solidFill>
                        <a:srgbClr val="000000"/>
                      </a:solidFill>
                      <a:prstDash val="solid"/>
                    </a:lnB>
                    <a:solidFill>
                      <a:srgbClr val="FFFFFF"/>
                    </a:solidFill>
                  </a:tcPr>
                </a:tc>
                <a:tc>
                  <a:txBody>
                    <a:bodyPr/>
                    <a:lstStyle/>
                    <a:p>
                      <a:pPr marL="280670">
                        <a:lnSpc>
                          <a:spcPct val="100000"/>
                        </a:lnSpc>
                        <a:spcBef>
                          <a:spcPts val="1435"/>
                        </a:spcBef>
                      </a:pPr>
                      <a:r>
                        <a:rPr sz="1550" dirty="0">
                          <a:latin typeface="Arial"/>
                          <a:cs typeface="Arial"/>
                        </a:rPr>
                        <a:t>Mosaic</a:t>
                      </a:r>
                      <a:r>
                        <a:rPr sz="1550" spc="40" dirty="0">
                          <a:latin typeface="Arial"/>
                          <a:cs typeface="Arial"/>
                        </a:rPr>
                        <a:t> </a:t>
                      </a:r>
                      <a:r>
                        <a:rPr sz="1550" dirty="0">
                          <a:latin typeface="Arial"/>
                          <a:cs typeface="Arial"/>
                        </a:rPr>
                        <a:t>cnLOH</a:t>
                      </a:r>
                      <a:r>
                        <a:rPr sz="1550" spc="55" dirty="0">
                          <a:latin typeface="Arial"/>
                          <a:cs typeface="Arial"/>
                        </a:rPr>
                        <a:t> </a:t>
                      </a:r>
                      <a:r>
                        <a:rPr sz="1550" spc="-10" dirty="0">
                          <a:latin typeface="Arial"/>
                          <a:cs typeface="Arial"/>
                        </a:rPr>
                        <a:t>(CN=2)</a:t>
                      </a:r>
                      <a:endParaRPr sz="1550">
                        <a:latin typeface="Arial"/>
                        <a:cs typeface="Arial"/>
                      </a:endParaRPr>
                    </a:p>
                  </a:txBody>
                  <a:tcPr marL="0" marR="0" marT="182245" marB="0">
                    <a:lnL w="19050">
                      <a:solidFill>
                        <a:srgbClr val="000000"/>
                      </a:solidFill>
                      <a:prstDash val="solid"/>
                    </a:lnL>
                    <a:lnR w="19050">
                      <a:solidFill>
                        <a:srgbClr val="000000"/>
                      </a:solidFill>
                      <a:prstDash val="solid"/>
                    </a:lnR>
                    <a:lnT w="9525">
                      <a:solidFill>
                        <a:srgbClr val="000000"/>
                      </a:solidFill>
                      <a:prstDash val="solid"/>
                    </a:lnT>
                    <a:lnB w="19050">
                      <a:solidFill>
                        <a:srgbClr val="000000"/>
                      </a:solidFill>
                      <a:prstDash val="solid"/>
                    </a:lnB>
                    <a:solidFill>
                      <a:srgbClr val="FFFFFF"/>
                    </a:solidFill>
                  </a:tcPr>
                </a:tc>
                <a:extLst>
                  <a:ext uri="{0D108BD9-81ED-4DB2-BD59-A6C34878D82A}">
                    <a16:rowId xmlns:a16="http://schemas.microsoft.com/office/drawing/2014/main" val="10000"/>
                  </a:ext>
                </a:extLst>
              </a:tr>
              <a:tr h="1341755">
                <a:tc>
                  <a:txBody>
                    <a:bodyPr/>
                    <a:lstStyle/>
                    <a:p>
                      <a:pPr>
                        <a:lnSpc>
                          <a:spcPct val="100000"/>
                        </a:lnSpc>
                        <a:spcBef>
                          <a:spcPts val="5"/>
                        </a:spcBef>
                      </a:pPr>
                      <a:endParaRPr sz="1350">
                        <a:latin typeface="Times New Roman"/>
                        <a:cs typeface="Times New Roman"/>
                      </a:endParaRPr>
                    </a:p>
                    <a:p>
                      <a:pPr marL="247650">
                        <a:lnSpc>
                          <a:spcPct val="100000"/>
                        </a:lnSpc>
                      </a:pPr>
                      <a:r>
                        <a:rPr sz="1050" b="1" spc="-10" dirty="0">
                          <a:latin typeface="Arial"/>
                          <a:cs typeface="Arial"/>
                        </a:rPr>
                        <a:t>Chromosome</a:t>
                      </a:r>
                      <a:endParaRPr sz="1050">
                        <a:latin typeface="Arial"/>
                        <a:cs typeface="Arial"/>
                      </a:endParaRPr>
                    </a:p>
                  </a:txBody>
                  <a:tcPr marL="0" marR="0" marT="635" marB="0" vert="vert270">
                    <a:lnL w="9525">
                      <a:solidFill>
                        <a:srgbClr val="000000"/>
                      </a:solidFill>
                      <a:prstDash val="solid"/>
                    </a:lnL>
                    <a:lnR w="19050">
                      <a:solidFill>
                        <a:srgbClr val="000000"/>
                      </a:solidFill>
                      <a:prstDash val="solid"/>
                    </a:lnR>
                    <a:lnT w="19050">
                      <a:solidFill>
                        <a:srgbClr val="000000"/>
                      </a:solidFill>
                      <a:prstDash val="solid"/>
                    </a:lnT>
                    <a:lnB w="19050">
                      <a:solidFill>
                        <a:srgbClr val="000000"/>
                      </a:solidFill>
                      <a:prstDash val="solid"/>
                    </a:lnB>
                    <a:solidFill>
                      <a:srgbClr val="FFFFFF"/>
                    </a:solidFill>
                  </a:tcPr>
                </a:tc>
                <a:tc>
                  <a:txBody>
                    <a:bodyPr/>
                    <a:lstStyle/>
                    <a:p>
                      <a:pPr>
                        <a:lnSpc>
                          <a:spcPct val="100000"/>
                        </a:lnSpc>
                      </a:pPr>
                      <a:endParaRPr sz="1300">
                        <a:latin typeface="Times New Roman"/>
                        <a:cs typeface="Times New Roman"/>
                      </a:endParaRPr>
                    </a:p>
                  </a:txBody>
                  <a:tcPr marL="0" marR="0" marT="0" marB="0">
                    <a:lnL w="19050">
                      <a:solidFill>
                        <a:srgbClr val="000000"/>
                      </a:solidFill>
                      <a:prstDash val="solid"/>
                    </a:lnL>
                    <a:lnR w="19050">
                      <a:solidFill>
                        <a:srgbClr val="000000"/>
                      </a:solidFill>
                      <a:prstDash val="solid"/>
                    </a:lnR>
                    <a:lnT w="19050">
                      <a:solidFill>
                        <a:srgbClr val="000000"/>
                      </a:solidFill>
                      <a:prstDash val="solid"/>
                    </a:lnT>
                    <a:lnB w="19050">
                      <a:solidFill>
                        <a:srgbClr val="000000"/>
                      </a:solidFill>
                      <a:prstDash val="solid"/>
                    </a:lnB>
                  </a:tcPr>
                </a:tc>
                <a:tc>
                  <a:txBody>
                    <a:bodyPr/>
                    <a:lstStyle/>
                    <a:p>
                      <a:pPr>
                        <a:lnSpc>
                          <a:spcPct val="100000"/>
                        </a:lnSpc>
                        <a:spcBef>
                          <a:spcPts val="25"/>
                        </a:spcBef>
                      </a:pPr>
                      <a:endParaRPr sz="850">
                        <a:latin typeface="Times New Roman"/>
                        <a:cs typeface="Times New Roman"/>
                      </a:endParaRPr>
                    </a:p>
                    <a:p>
                      <a:pPr marL="139700">
                        <a:lnSpc>
                          <a:spcPct val="100000"/>
                        </a:lnSpc>
                      </a:pPr>
                      <a:r>
                        <a:rPr sz="950" b="1" spc="-25" dirty="0">
                          <a:latin typeface="Calibri"/>
                          <a:cs typeface="Calibri"/>
                        </a:rPr>
                        <a:t>70%</a:t>
                      </a:r>
                      <a:endParaRPr sz="950">
                        <a:latin typeface="Calibri"/>
                        <a:cs typeface="Calibri"/>
                      </a:endParaRPr>
                    </a:p>
                    <a:p>
                      <a:pPr marL="186690">
                        <a:lnSpc>
                          <a:spcPct val="100000"/>
                        </a:lnSpc>
                        <a:spcBef>
                          <a:spcPts val="75"/>
                        </a:spcBef>
                      </a:pPr>
                      <a:r>
                        <a:rPr sz="950" b="1" spc="-25" dirty="0">
                          <a:latin typeface="Calibri"/>
                          <a:cs typeface="Calibri"/>
                        </a:rPr>
                        <a:t>of</a:t>
                      </a:r>
                      <a:endParaRPr sz="950">
                        <a:latin typeface="Calibri"/>
                        <a:cs typeface="Calibri"/>
                      </a:endParaRPr>
                    </a:p>
                    <a:p>
                      <a:pPr marL="133350">
                        <a:lnSpc>
                          <a:spcPts val="1110"/>
                        </a:lnSpc>
                        <a:spcBef>
                          <a:spcPts val="25"/>
                        </a:spcBef>
                      </a:pPr>
                      <a:r>
                        <a:rPr sz="950" b="1" spc="-10" dirty="0">
                          <a:latin typeface="Calibri"/>
                          <a:cs typeface="Calibri"/>
                        </a:rPr>
                        <a:t>cells</a:t>
                      </a:r>
                      <a:endParaRPr sz="950">
                        <a:latin typeface="Calibri"/>
                        <a:cs typeface="Calibri"/>
                      </a:endParaRPr>
                    </a:p>
                    <a:p>
                      <a:pPr marR="19050" algn="ctr">
                        <a:lnSpc>
                          <a:spcPts val="1540"/>
                        </a:lnSpc>
                      </a:pPr>
                      <a:r>
                        <a:rPr sz="1400" i="1" spc="-25" dirty="0">
                          <a:solidFill>
                            <a:srgbClr val="FF0000"/>
                          </a:solidFill>
                          <a:latin typeface="Arial"/>
                          <a:cs typeface="Arial"/>
                        </a:rPr>
                        <a:t>and</a:t>
                      </a:r>
                      <a:endParaRPr sz="1400">
                        <a:latin typeface="Arial"/>
                        <a:cs typeface="Arial"/>
                      </a:endParaRPr>
                    </a:p>
                    <a:p>
                      <a:pPr marL="153670">
                        <a:lnSpc>
                          <a:spcPts val="1025"/>
                        </a:lnSpc>
                      </a:pPr>
                      <a:r>
                        <a:rPr sz="950" b="1" spc="-25" dirty="0">
                          <a:latin typeface="Calibri"/>
                          <a:cs typeface="Calibri"/>
                        </a:rPr>
                        <a:t>30%</a:t>
                      </a:r>
                      <a:endParaRPr sz="950">
                        <a:latin typeface="Calibri"/>
                        <a:cs typeface="Calibri"/>
                      </a:endParaRPr>
                    </a:p>
                    <a:p>
                      <a:pPr marL="200025">
                        <a:lnSpc>
                          <a:spcPct val="100000"/>
                        </a:lnSpc>
                        <a:spcBef>
                          <a:spcPts val="75"/>
                        </a:spcBef>
                      </a:pPr>
                      <a:r>
                        <a:rPr sz="950" b="1" spc="-25" dirty="0">
                          <a:latin typeface="Calibri"/>
                          <a:cs typeface="Calibri"/>
                        </a:rPr>
                        <a:t>of</a:t>
                      </a:r>
                      <a:endParaRPr sz="950">
                        <a:latin typeface="Calibri"/>
                        <a:cs typeface="Calibri"/>
                      </a:endParaRPr>
                    </a:p>
                    <a:p>
                      <a:pPr marL="146685">
                        <a:lnSpc>
                          <a:spcPct val="100000"/>
                        </a:lnSpc>
                        <a:spcBef>
                          <a:spcPts val="25"/>
                        </a:spcBef>
                      </a:pPr>
                      <a:r>
                        <a:rPr sz="950" b="1" spc="-10" dirty="0">
                          <a:latin typeface="Calibri"/>
                          <a:cs typeface="Calibri"/>
                        </a:rPr>
                        <a:t>cells</a:t>
                      </a:r>
                      <a:endParaRPr sz="950">
                        <a:latin typeface="Calibri"/>
                        <a:cs typeface="Calibri"/>
                      </a:endParaRPr>
                    </a:p>
                  </a:txBody>
                  <a:tcPr marL="0" marR="0" marT="3175" marB="0">
                    <a:lnL w="19050">
                      <a:solidFill>
                        <a:srgbClr val="000000"/>
                      </a:solidFill>
                      <a:prstDash val="solid"/>
                    </a:lnL>
                    <a:lnR w="19050">
                      <a:solidFill>
                        <a:srgbClr val="000000"/>
                      </a:solidFill>
                      <a:prstDash val="solid"/>
                    </a:lnR>
                    <a:lnT w="19050">
                      <a:solidFill>
                        <a:srgbClr val="000000"/>
                      </a:solidFill>
                      <a:prstDash val="solid"/>
                    </a:lnT>
                    <a:lnB w="19050">
                      <a:solidFill>
                        <a:srgbClr val="000000"/>
                      </a:solidFill>
                      <a:prstDash val="solid"/>
                    </a:lnB>
                  </a:tcPr>
                </a:tc>
                <a:tc>
                  <a:txBody>
                    <a:bodyPr/>
                    <a:lstStyle/>
                    <a:p>
                      <a:pPr>
                        <a:lnSpc>
                          <a:spcPct val="100000"/>
                        </a:lnSpc>
                        <a:spcBef>
                          <a:spcPts val="20"/>
                        </a:spcBef>
                      </a:pPr>
                      <a:endParaRPr sz="950">
                        <a:latin typeface="Times New Roman"/>
                        <a:cs typeface="Times New Roman"/>
                      </a:endParaRPr>
                    </a:p>
                    <a:p>
                      <a:pPr marL="173990">
                        <a:lnSpc>
                          <a:spcPct val="100000"/>
                        </a:lnSpc>
                      </a:pPr>
                      <a:r>
                        <a:rPr sz="950" b="1" spc="-25" dirty="0">
                          <a:latin typeface="Calibri"/>
                          <a:cs typeface="Calibri"/>
                        </a:rPr>
                        <a:t>70%</a:t>
                      </a:r>
                      <a:endParaRPr sz="950">
                        <a:latin typeface="Calibri"/>
                        <a:cs typeface="Calibri"/>
                      </a:endParaRPr>
                    </a:p>
                    <a:p>
                      <a:pPr marL="220345">
                        <a:lnSpc>
                          <a:spcPct val="100000"/>
                        </a:lnSpc>
                        <a:spcBef>
                          <a:spcPts val="75"/>
                        </a:spcBef>
                      </a:pPr>
                      <a:r>
                        <a:rPr sz="950" b="1" spc="-25" dirty="0">
                          <a:latin typeface="Calibri"/>
                          <a:cs typeface="Calibri"/>
                        </a:rPr>
                        <a:t>of</a:t>
                      </a:r>
                      <a:endParaRPr sz="950">
                        <a:latin typeface="Calibri"/>
                        <a:cs typeface="Calibri"/>
                      </a:endParaRPr>
                    </a:p>
                    <a:p>
                      <a:pPr marL="167005">
                        <a:lnSpc>
                          <a:spcPts val="1055"/>
                        </a:lnSpc>
                        <a:spcBef>
                          <a:spcPts val="20"/>
                        </a:spcBef>
                      </a:pPr>
                      <a:r>
                        <a:rPr sz="950" b="1" spc="-10" dirty="0">
                          <a:latin typeface="Calibri"/>
                          <a:cs typeface="Calibri"/>
                        </a:rPr>
                        <a:t>cells</a:t>
                      </a:r>
                      <a:endParaRPr sz="950">
                        <a:latin typeface="Calibri"/>
                        <a:cs typeface="Calibri"/>
                      </a:endParaRPr>
                    </a:p>
                    <a:p>
                      <a:pPr marR="18415" algn="ctr">
                        <a:lnSpc>
                          <a:spcPts val="1535"/>
                        </a:lnSpc>
                      </a:pPr>
                      <a:r>
                        <a:rPr sz="1400" i="1" spc="-25" dirty="0">
                          <a:solidFill>
                            <a:srgbClr val="FF0000"/>
                          </a:solidFill>
                          <a:latin typeface="Arial"/>
                          <a:cs typeface="Arial"/>
                        </a:rPr>
                        <a:t>and</a:t>
                      </a:r>
                      <a:endParaRPr sz="1400">
                        <a:latin typeface="Arial"/>
                        <a:cs typeface="Arial"/>
                      </a:endParaRPr>
                    </a:p>
                    <a:p>
                      <a:pPr marL="187325">
                        <a:lnSpc>
                          <a:spcPts val="1080"/>
                        </a:lnSpc>
                      </a:pPr>
                      <a:r>
                        <a:rPr sz="950" b="1" spc="-25" dirty="0">
                          <a:latin typeface="Calibri"/>
                          <a:cs typeface="Calibri"/>
                        </a:rPr>
                        <a:t>30%</a:t>
                      </a:r>
                      <a:endParaRPr sz="950">
                        <a:latin typeface="Calibri"/>
                        <a:cs typeface="Calibri"/>
                      </a:endParaRPr>
                    </a:p>
                    <a:p>
                      <a:pPr marL="233679">
                        <a:lnSpc>
                          <a:spcPct val="100000"/>
                        </a:lnSpc>
                        <a:spcBef>
                          <a:spcPts val="80"/>
                        </a:spcBef>
                      </a:pPr>
                      <a:r>
                        <a:rPr sz="950" b="1" spc="-25" dirty="0">
                          <a:latin typeface="Calibri"/>
                          <a:cs typeface="Calibri"/>
                        </a:rPr>
                        <a:t>of</a:t>
                      </a:r>
                      <a:endParaRPr sz="950">
                        <a:latin typeface="Calibri"/>
                        <a:cs typeface="Calibri"/>
                      </a:endParaRPr>
                    </a:p>
                    <a:p>
                      <a:pPr marL="180340">
                        <a:lnSpc>
                          <a:spcPct val="100000"/>
                        </a:lnSpc>
                        <a:spcBef>
                          <a:spcPts val="20"/>
                        </a:spcBef>
                      </a:pPr>
                      <a:r>
                        <a:rPr sz="950" b="1" spc="-10" dirty="0">
                          <a:latin typeface="Calibri"/>
                          <a:cs typeface="Calibri"/>
                        </a:rPr>
                        <a:t>cells</a:t>
                      </a:r>
                      <a:endParaRPr sz="950">
                        <a:latin typeface="Calibri"/>
                        <a:cs typeface="Calibri"/>
                      </a:endParaRPr>
                    </a:p>
                  </a:txBody>
                  <a:tcPr marL="0" marR="0" marT="2540" marB="0">
                    <a:lnL w="19050">
                      <a:solidFill>
                        <a:srgbClr val="000000"/>
                      </a:solidFill>
                      <a:prstDash val="solid"/>
                    </a:lnL>
                    <a:lnR w="19050">
                      <a:solidFill>
                        <a:srgbClr val="000000"/>
                      </a:solidFill>
                      <a:prstDash val="solid"/>
                    </a:lnR>
                    <a:lnT w="19050">
                      <a:solidFill>
                        <a:srgbClr val="000000"/>
                      </a:solidFill>
                      <a:prstDash val="solid"/>
                    </a:lnT>
                    <a:lnB w="19050">
                      <a:solidFill>
                        <a:srgbClr val="000000"/>
                      </a:solidFill>
                      <a:prstDash val="solid"/>
                    </a:lnB>
                  </a:tcPr>
                </a:tc>
                <a:tc>
                  <a:txBody>
                    <a:bodyPr/>
                    <a:lstStyle/>
                    <a:p>
                      <a:pPr>
                        <a:lnSpc>
                          <a:spcPct val="100000"/>
                        </a:lnSpc>
                        <a:spcBef>
                          <a:spcPts val="10"/>
                        </a:spcBef>
                      </a:pPr>
                      <a:endParaRPr sz="1050">
                        <a:latin typeface="Times New Roman"/>
                        <a:cs typeface="Times New Roman"/>
                      </a:endParaRPr>
                    </a:p>
                    <a:p>
                      <a:pPr marL="120014">
                        <a:lnSpc>
                          <a:spcPct val="100000"/>
                        </a:lnSpc>
                      </a:pPr>
                      <a:r>
                        <a:rPr sz="950" b="1" spc="-25" dirty="0">
                          <a:latin typeface="Calibri"/>
                          <a:cs typeface="Calibri"/>
                        </a:rPr>
                        <a:t>70%</a:t>
                      </a:r>
                      <a:endParaRPr sz="950">
                        <a:latin typeface="Calibri"/>
                        <a:cs typeface="Calibri"/>
                      </a:endParaRPr>
                    </a:p>
                    <a:p>
                      <a:pPr marL="167005">
                        <a:lnSpc>
                          <a:spcPct val="100000"/>
                        </a:lnSpc>
                        <a:spcBef>
                          <a:spcPts val="75"/>
                        </a:spcBef>
                      </a:pPr>
                      <a:r>
                        <a:rPr sz="950" b="1" spc="-25" dirty="0">
                          <a:latin typeface="Calibri"/>
                          <a:cs typeface="Calibri"/>
                        </a:rPr>
                        <a:t>of</a:t>
                      </a:r>
                      <a:endParaRPr sz="950">
                        <a:latin typeface="Calibri"/>
                        <a:cs typeface="Calibri"/>
                      </a:endParaRPr>
                    </a:p>
                    <a:p>
                      <a:pPr marL="113030">
                        <a:lnSpc>
                          <a:spcPts val="1005"/>
                        </a:lnSpc>
                        <a:spcBef>
                          <a:spcPts val="20"/>
                        </a:spcBef>
                      </a:pPr>
                      <a:r>
                        <a:rPr sz="950" b="1" spc="-10" dirty="0">
                          <a:latin typeface="Calibri"/>
                          <a:cs typeface="Calibri"/>
                        </a:rPr>
                        <a:t>cells</a:t>
                      </a:r>
                      <a:endParaRPr sz="950">
                        <a:latin typeface="Calibri"/>
                        <a:cs typeface="Calibri"/>
                      </a:endParaRPr>
                    </a:p>
                    <a:p>
                      <a:pPr marR="19050" algn="ctr">
                        <a:lnSpc>
                          <a:spcPts val="1540"/>
                        </a:lnSpc>
                      </a:pPr>
                      <a:r>
                        <a:rPr sz="1400" i="1" spc="-25" dirty="0">
                          <a:solidFill>
                            <a:srgbClr val="FF0000"/>
                          </a:solidFill>
                          <a:latin typeface="Arial"/>
                          <a:cs typeface="Arial"/>
                        </a:rPr>
                        <a:t>and</a:t>
                      </a:r>
                      <a:endParaRPr sz="1400">
                        <a:latin typeface="Arial"/>
                        <a:cs typeface="Arial"/>
                      </a:endParaRPr>
                    </a:p>
                    <a:p>
                      <a:pPr marL="133350">
                        <a:lnSpc>
                          <a:spcPts val="1135"/>
                        </a:lnSpc>
                      </a:pPr>
                      <a:r>
                        <a:rPr sz="950" b="1" spc="-25" dirty="0">
                          <a:latin typeface="Calibri"/>
                          <a:cs typeface="Calibri"/>
                        </a:rPr>
                        <a:t>30%</a:t>
                      </a:r>
                      <a:endParaRPr sz="950">
                        <a:latin typeface="Calibri"/>
                        <a:cs typeface="Calibri"/>
                      </a:endParaRPr>
                    </a:p>
                    <a:p>
                      <a:pPr marL="180340">
                        <a:lnSpc>
                          <a:spcPct val="100000"/>
                        </a:lnSpc>
                        <a:spcBef>
                          <a:spcPts val="80"/>
                        </a:spcBef>
                      </a:pPr>
                      <a:r>
                        <a:rPr sz="950" b="1" spc="-25" dirty="0">
                          <a:latin typeface="Calibri"/>
                          <a:cs typeface="Calibri"/>
                        </a:rPr>
                        <a:t>of</a:t>
                      </a:r>
                      <a:endParaRPr sz="950">
                        <a:latin typeface="Calibri"/>
                        <a:cs typeface="Calibri"/>
                      </a:endParaRPr>
                    </a:p>
                    <a:p>
                      <a:pPr marL="127000">
                        <a:lnSpc>
                          <a:spcPct val="100000"/>
                        </a:lnSpc>
                        <a:spcBef>
                          <a:spcPts val="20"/>
                        </a:spcBef>
                      </a:pPr>
                      <a:r>
                        <a:rPr sz="950" b="1" spc="-10" dirty="0">
                          <a:latin typeface="Calibri"/>
                          <a:cs typeface="Calibri"/>
                        </a:rPr>
                        <a:t>cells</a:t>
                      </a:r>
                      <a:endParaRPr sz="950">
                        <a:latin typeface="Calibri"/>
                        <a:cs typeface="Calibri"/>
                      </a:endParaRPr>
                    </a:p>
                  </a:txBody>
                  <a:tcPr marL="0" marR="0" marT="1270" marB="0">
                    <a:lnL w="19050">
                      <a:solidFill>
                        <a:srgbClr val="000000"/>
                      </a:solidFill>
                      <a:prstDash val="solid"/>
                    </a:lnL>
                    <a:lnR w="19050">
                      <a:solidFill>
                        <a:srgbClr val="000000"/>
                      </a:solidFill>
                      <a:prstDash val="solid"/>
                    </a:lnR>
                    <a:lnT w="19050">
                      <a:solidFill>
                        <a:srgbClr val="000000"/>
                      </a:solidFill>
                      <a:prstDash val="solid"/>
                    </a:lnT>
                    <a:lnB w="19050">
                      <a:solidFill>
                        <a:srgbClr val="000000"/>
                      </a:solidFill>
                      <a:prstDash val="solid"/>
                    </a:lnB>
                  </a:tcPr>
                </a:tc>
                <a:extLst>
                  <a:ext uri="{0D108BD9-81ED-4DB2-BD59-A6C34878D82A}">
                    <a16:rowId xmlns:a16="http://schemas.microsoft.com/office/drawing/2014/main" val="10001"/>
                  </a:ext>
                </a:extLst>
              </a:tr>
              <a:tr h="1006475">
                <a:tc>
                  <a:txBody>
                    <a:bodyPr/>
                    <a:lstStyle/>
                    <a:p>
                      <a:pPr marL="8255" algn="ctr">
                        <a:lnSpc>
                          <a:spcPct val="100000"/>
                        </a:lnSpc>
                        <a:spcBef>
                          <a:spcPts val="869"/>
                        </a:spcBef>
                      </a:pPr>
                      <a:r>
                        <a:rPr sz="1050" b="1" spc="-20" dirty="0">
                          <a:latin typeface="Arial"/>
                          <a:cs typeface="Arial"/>
                        </a:rPr>
                        <a:t>ChAS</a:t>
                      </a:r>
                      <a:endParaRPr sz="1050">
                        <a:latin typeface="Arial"/>
                        <a:cs typeface="Arial"/>
                      </a:endParaRPr>
                    </a:p>
                    <a:p>
                      <a:pPr marL="15240" algn="ctr">
                        <a:lnSpc>
                          <a:spcPct val="100000"/>
                        </a:lnSpc>
                        <a:spcBef>
                          <a:spcPts val="110"/>
                        </a:spcBef>
                      </a:pPr>
                      <a:r>
                        <a:rPr sz="1050" b="1" dirty="0">
                          <a:latin typeface="Arial"/>
                          <a:cs typeface="Arial"/>
                        </a:rPr>
                        <a:t>Segment</a:t>
                      </a:r>
                      <a:r>
                        <a:rPr sz="1050" b="1" spc="-40" dirty="0">
                          <a:latin typeface="Arial"/>
                          <a:cs typeface="Arial"/>
                        </a:rPr>
                        <a:t> </a:t>
                      </a:r>
                      <a:r>
                        <a:rPr sz="1050" b="1" spc="-20" dirty="0">
                          <a:latin typeface="Arial"/>
                          <a:cs typeface="Arial"/>
                        </a:rPr>
                        <a:t>Call</a:t>
                      </a:r>
                      <a:endParaRPr sz="1050">
                        <a:latin typeface="Arial"/>
                        <a:cs typeface="Arial"/>
                      </a:endParaRPr>
                    </a:p>
                  </a:txBody>
                  <a:tcPr marL="0" marR="0" marT="110489" marB="0" vert="vert270">
                    <a:lnL w="9525">
                      <a:solidFill>
                        <a:srgbClr val="000000"/>
                      </a:solidFill>
                      <a:prstDash val="solid"/>
                    </a:lnL>
                    <a:lnR w="19050">
                      <a:solidFill>
                        <a:srgbClr val="000000"/>
                      </a:solidFill>
                      <a:prstDash val="solid"/>
                    </a:lnR>
                    <a:lnT w="19050">
                      <a:solidFill>
                        <a:srgbClr val="000000"/>
                      </a:solidFill>
                      <a:prstDash val="solid"/>
                    </a:lnT>
                    <a:lnB w="19050">
                      <a:solidFill>
                        <a:srgbClr val="000000"/>
                      </a:solidFill>
                      <a:prstDash val="solid"/>
                    </a:lnB>
                    <a:solidFill>
                      <a:srgbClr val="FFFFFF"/>
                    </a:solidFill>
                  </a:tcPr>
                </a:tc>
                <a:tc>
                  <a:txBody>
                    <a:bodyPr/>
                    <a:lstStyle/>
                    <a:p>
                      <a:pPr>
                        <a:lnSpc>
                          <a:spcPct val="100000"/>
                        </a:lnSpc>
                      </a:pPr>
                      <a:endParaRPr sz="1300">
                        <a:latin typeface="Times New Roman"/>
                        <a:cs typeface="Times New Roman"/>
                      </a:endParaRPr>
                    </a:p>
                  </a:txBody>
                  <a:tcPr marL="0" marR="0" marT="0" marB="0">
                    <a:lnL w="19050">
                      <a:solidFill>
                        <a:srgbClr val="000000"/>
                      </a:solidFill>
                      <a:prstDash val="solid"/>
                    </a:lnL>
                    <a:lnR w="19050">
                      <a:solidFill>
                        <a:srgbClr val="000000"/>
                      </a:solidFill>
                      <a:prstDash val="solid"/>
                    </a:lnR>
                    <a:lnT w="19050">
                      <a:solidFill>
                        <a:srgbClr val="000000"/>
                      </a:solidFill>
                      <a:prstDash val="solid"/>
                    </a:lnT>
                    <a:lnB w="19050">
                      <a:solidFill>
                        <a:srgbClr val="000000"/>
                      </a:solidFill>
                      <a:prstDash val="solid"/>
                    </a:lnB>
                    <a:solidFill>
                      <a:srgbClr val="FFFFFF"/>
                    </a:solidFill>
                  </a:tcPr>
                </a:tc>
                <a:tc>
                  <a:txBody>
                    <a:bodyPr/>
                    <a:lstStyle/>
                    <a:p>
                      <a:pPr>
                        <a:lnSpc>
                          <a:spcPct val="100000"/>
                        </a:lnSpc>
                      </a:pPr>
                      <a:endParaRPr sz="1300">
                        <a:latin typeface="Times New Roman"/>
                        <a:cs typeface="Times New Roman"/>
                      </a:endParaRPr>
                    </a:p>
                  </a:txBody>
                  <a:tcPr marL="0" marR="0" marT="0" marB="0">
                    <a:lnL w="19050">
                      <a:solidFill>
                        <a:srgbClr val="000000"/>
                      </a:solidFill>
                      <a:prstDash val="solid"/>
                    </a:lnL>
                    <a:lnR w="19050">
                      <a:solidFill>
                        <a:srgbClr val="000000"/>
                      </a:solidFill>
                      <a:prstDash val="solid"/>
                    </a:lnR>
                    <a:lnT w="19050">
                      <a:solidFill>
                        <a:srgbClr val="000000"/>
                      </a:solidFill>
                      <a:prstDash val="solid"/>
                    </a:lnT>
                    <a:lnB w="19050">
                      <a:solidFill>
                        <a:srgbClr val="000000"/>
                      </a:solidFill>
                      <a:prstDash val="solid"/>
                    </a:lnB>
                  </a:tcPr>
                </a:tc>
                <a:tc>
                  <a:txBody>
                    <a:bodyPr/>
                    <a:lstStyle/>
                    <a:p>
                      <a:pPr>
                        <a:lnSpc>
                          <a:spcPct val="100000"/>
                        </a:lnSpc>
                      </a:pPr>
                      <a:endParaRPr sz="1300">
                        <a:latin typeface="Times New Roman"/>
                        <a:cs typeface="Times New Roman"/>
                      </a:endParaRPr>
                    </a:p>
                  </a:txBody>
                  <a:tcPr marL="0" marR="0" marT="0" marB="0">
                    <a:lnL w="19050">
                      <a:solidFill>
                        <a:srgbClr val="000000"/>
                      </a:solidFill>
                      <a:prstDash val="solid"/>
                    </a:lnL>
                    <a:lnR w="19050">
                      <a:solidFill>
                        <a:srgbClr val="000000"/>
                      </a:solidFill>
                      <a:prstDash val="solid"/>
                    </a:lnR>
                    <a:lnT w="19050">
                      <a:solidFill>
                        <a:srgbClr val="000000"/>
                      </a:solidFill>
                      <a:prstDash val="solid"/>
                    </a:lnT>
                    <a:lnB w="19050">
                      <a:solidFill>
                        <a:srgbClr val="000000"/>
                      </a:solidFill>
                      <a:prstDash val="solid"/>
                    </a:lnB>
                  </a:tcPr>
                </a:tc>
                <a:tc>
                  <a:txBody>
                    <a:bodyPr/>
                    <a:lstStyle/>
                    <a:p>
                      <a:pPr>
                        <a:lnSpc>
                          <a:spcPct val="100000"/>
                        </a:lnSpc>
                      </a:pPr>
                      <a:endParaRPr sz="1300">
                        <a:latin typeface="Times New Roman"/>
                        <a:cs typeface="Times New Roman"/>
                      </a:endParaRPr>
                    </a:p>
                  </a:txBody>
                  <a:tcPr marL="0" marR="0" marT="0" marB="0">
                    <a:lnL w="19050">
                      <a:solidFill>
                        <a:srgbClr val="000000"/>
                      </a:solidFill>
                      <a:prstDash val="solid"/>
                    </a:lnL>
                    <a:lnR w="19050">
                      <a:solidFill>
                        <a:srgbClr val="000000"/>
                      </a:solidFill>
                      <a:prstDash val="solid"/>
                    </a:lnR>
                    <a:lnT w="19050">
                      <a:solidFill>
                        <a:srgbClr val="000000"/>
                      </a:solidFill>
                      <a:prstDash val="solid"/>
                    </a:lnT>
                    <a:lnB w="19050">
                      <a:solidFill>
                        <a:srgbClr val="000000"/>
                      </a:solidFill>
                      <a:prstDash val="solid"/>
                    </a:lnB>
                  </a:tcPr>
                </a:tc>
                <a:extLst>
                  <a:ext uri="{0D108BD9-81ED-4DB2-BD59-A6C34878D82A}">
                    <a16:rowId xmlns:a16="http://schemas.microsoft.com/office/drawing/2014/main" val="10002"/>
                  </a:ext>
                </a:extLst>
              </a:tr>
              <a:tr h="1006475">
                <a:tc>
                  <a:txBody>
                    <a:bodyPr/>
                    <a:lstStyle/>
                    <a:p>
                      <a:pPr>
                        <a:lnSpc>
                          <a:spcPct val="100000"/>
                        </a:lnSpc>
                        <a:spcBef>
                          <a:spcPts val="5"/>
                        </a:spcBef>
                      </a:pPr>
                      <a:endParaRPr sz="1350">
                        <a:latin typeface="Times New Roman"/>
                        <a:cs typeface="Times New Roman"/>
                      </a:endParaRPr>
                    </a:p>
                    <a:p>
                      <a:pPr marL="180975">
                        <a:lnSpc>
                          <a:spcPct val="100000"/>
                        </a:lnSpc>
                      </a:pPr>
                      <a:r>
                        <a:rPr sz="1050" b="1" dirty="0">
                          <a:latin typeface="Arial"/>
                          <a:cs typeface="Arial"/>
                        </a:rPr>
                        <a:t>Log2</a:t>
                      </a:r>
                      <a:r>
                        <a:rPr sz="1050" b="1" spc="-40" dirty="0">
                          <a:latin typeface="Arial"/>
                          <a:cs typeface="Arial"/>
                        </a:rPr>
                        <a:t> </a:t>
                      </a:r>
                      <a:r>
                        <a:rPr sz="1050" b="1" spc="-10" dirty="0">
                          <a:latin typeface="Arial"/>
                          <a:cs typeface="Arial"/>
                        </a:rPr>
                        <a:t>ratio</a:t>
                      </a:r>
                      <a:endParaRPr sz="1050">
                        <a:latin typeface="Arial"/>
                        <a:cs typeface="Arial"/>
                      </a:endParaRPr>
                    </a:p>
                  </a:txBody>
                  <a:tcPr marL="0" marR="0" marT="635" marB="0" vert="vert270">
                    <a:lnL w="9525">
                      <a:solidFill>
                        <a:srgbClr val="000000"/>
                      </a:solidFill>
                      <a:prstDash val="solid"/>
                    </a:lnL>
                    <a:lnR w="19050">
                      <a:solidFill>
                        <a:srgbClr val="000000"/>
                      </a:solidFill>
                      <a:prstDash val="solid"/>
                    </a:lnR>
                    <a:lnT w="19050">
                      <a:solidFill>
                        <a:srgbClr val="000000"/>
                      </a:solidFill>
                      <a:prstDash val="solid"/>
                    </a:lnT>
                    <a:lnB w="19050">
                      <a:solidFill>
                        <a:srgbClr val="000000"/>
                      </a:solidFill>
                      <a:prstDash val="solid"/>
                    </a:lnB>
                    <a:solidFill>
                      <a:srgbClr val="FFFFFF"/>
                    </a:solidFill>
                  </a:tcPr>
                </a:tc>
                <a:tc>
                  <a:txBody>
                    <a:bodyPr/>
                    <a:lstStyle/>
                    <a:p>
                      <a:pPr marL="306705">
                        <a:lnSpc>
                          <a:spcPct val="100000"/>
                        </a:lnSpc>
                        <a:spcBef>
                          <a:spcPts val="445"/>
                        </a:spcBef>
                      </a:pPr>
                      <a:r>
                        <a:rPr sz="900" dirty="0">
                          <a:latin typeface="Calibri"/>
                          <a:cs typeface="Calibri"/>
                        </a:rPr>
                        <a:t>2</a:t>
                      </a:r>
                      <a:endParaRPr sz="900">
                        <a:latin typeface="Calibri"/>
                        <a:cs typeface="Calibri"/>
                      </a:endParaRPr>
                    </a:p>
                    <a:p>
                      <a:pPr marL="306705">
                        <a:lnSpc>
                          <a:spcPct val="100000"/>
                        </a:lnSpc>
                        <a:spcBef>
                          <a:spcPts val="355"/>
                        </a:spcBef>
                      </a:pPr>
                      <a:r>
                        <a:rPr sz="900" dirty="0">
                          <a:latin typeface="Calibri"/>
                          <a:cs typeface="Calibri"/>
                        </a:rPr>
                        <a:t>1</a:t>
                      </a:r>
                      <a:endParaRPr sz="900">
                        <a:latin typeface="Calibri"/>
                        <a:cs typeface="Calibri"/>
                      </a:endParaRPr>
                    </a:p>
                    <a:p>
                      <a:pPr marL="306705">
                        <a:lnSpc>
                          <a:spcPct val="100000"/>
                        </a:lnSpc>
                        <a:spcBef>
                          <a:spcPts val="360"/>
                        </a:spcBef>
                      </a:pPr>
                      <a:r>
                        <a:rPr sz="900" dirty="0">
                          <a:latin typeface="Calibri"/>
                          <a:cs typeface="Calibri"/>
                        </a:rPr>
                        <a:t>0</a:t>
                      </a:r>
                      <a:endParaRPr sz="900">
                        <a:latin typeface="Calibri"/>
                        <a:cs typeface="Calibri"/>
                      </a:endParaRPr>
                    </a:p>
                    <a:p>
                      <a:pPr marL="273050">
                        <a:lnSpc>
                          <a:spcPct val="100000"/>
                        </a:lnSpc>
                        <a:spcBef>
                          <a:spcPts val="360"/>
                        </a:spcBef>
                      </a:pPr>
                      <a:r>
                        <a:rPr sz="900" spc="-25" dirty="0">
                          <a:latin typeface="Calibri"/>
                          <a:cs typeface="Calibri"/>
                        </a:rPr>
                        <a:t>-</a:t>
                      </a:r>
                      <a:r>
                        <a:rPr sz="900" spc="-50" dirty="0">
                          <a:latin typeface="Calibri"/>
                          <a:cs typeface="Calibri"/>
                        </a:rPr>
                        <a:t>1</a:t>
                      </a:r>
                      <a:endParaRPr sz="900">
                        <a:latin typeface="Calibri"/>
                        <a:cs typeface="Calibri"/>
                      </a:endParaRPr>
                    </a:p>
                    <a:p>
                      <a:pPr marL="273050">
                        <a:lnSpc>
                          <a:spcPct val="100000"/>
                        </a:lnSpc>
                        <a:spcBef>
                          <a:spcPts val="360"/>
                        </a:spcBef>
                      </a:pPr>
                      <a:r>
                        <a:rPr sz="900" spc="-25" dirty="0">
                          <a:latin typeface="Calibri"/>
                          <a:cs typeface="Calibri"/>
                        </a:rPr>
                        <a:t>-</a:t>
                      </a:r>
                      <a:r>
                        <a:rPr sz="900" spc="-50" dirty="0">
                          <a:latin typeface="Calibri"/>
                          <a:cs typeface="Calibri"/>
                        </a:rPr>
                        <a:t>2</a:t>
                      </a:r>
                      <a:endParaRPr sz="900">
                        <a:latin typeface="Calibri"/>
                        <a:cs typeface="Calibri"/>
                      </a:endParaRPr>
                    </a:p>
                  </a:txBody>
                  <a:tcPr marL="0" marR="0" marT="56515" marB="0">
                    <a:lnL w="19050">
                      <a:solidFill>
                        <a:srgbClr val="000000"/>
                      </a:solidFill>
                      <a:prstDash val="solid"/>
                    </a:lnL>
                    <a:lnR w="19050">
                      <a:solidFill>
                        <a:srgbClr val="000000"/>
                      </a:solidFill>
                      <a:prstDash val="solid"/>
                    </a:lnR>
                    <a:lnT w="19050">
                      <a:solidFill>
                        <a:srgbClr val="000000"/>
                      </a:solidFill>
                      <a:prstDash val="solid"/>
                    </a:lnT>
                    <a:lnB w="19050">
                      <a:solidFill>
                        <a:srgbClr val="000000"/>
                      </a:solidFill>
                      <a:prstDash val="solid"/>
                    </a:lnB>
                  </a:tcPr>
                </a:tc>
                <a:tc>
                  <a:txBody>
                    <a:bodyPr/>
                    <a:lstStyle/>
                    <a:p>
                      <a:pPr marL="340360">
                        <a:lnSpc>
                          <a:spcPct val="100000"/>
                        </a:lnSpc>
                        <a:spcBef>
                          <a:spcPts val="445"/>
                        </a:spcBef>
                      </a:pPr>
                      <a:r>
                        <a:rPr sz="900" dirty="0">
                          <a:latin typeface="Calibri"/>
                          <a:cs typeface="Calibri"/>
                        </a:rPr>
                        <a:t>2</a:t>
                      </a:r>
                      <a:endParaRPr sz="900">
                        <a:latin typeface="Calibri"/>
                        <a:cs typeface="Calibri"/>
                      </a:endParaRPr>
                    </a:p>
                    <a:p>
                      <a:pPr marL="340360">
                        <a:lnSpc>
                          <a:spcPct val="100000"/>
                        </a:lnSpc>
                        <a:spcBef>
                          <a:spcPts val="355"/>
                        </a:spcBef>
                      </a:pPr>
                      <a:r>
                        <a:rPr sz="900" dirty="0">
                          <a:latin typeface="Calibri"/>
                          <a:cs typeface="Calibri"/>
                        </a:rPr>
                        <a:t>1</a:t>
                      </a:r>
                      <a:endParaRPr sz="900">
                        <a:latin typeface="Calibri"/>
                        <a:cs typeface="Calibri"/>
                      </a:endParaRPr>
                    </a:p>
                    <a:p>
                      <a:pPr marL="340360">
                        <a:lnSpc>
                          <a:spcPct val="100000"/>
                        </a:lnSpc>
                        <a:spcBef>
                          <a:spcPts val="360"/>
                        </a:spcBef>
                      </a:pPr>
                      <a:r>
                        <a:rPr sz="900" dirty="0">
                          <a:latin typeface="Calibri"/>
                          <a:cs typeface="Calibri"/>
                        </a:rPr>
                        <a:t>0</a:t>
                      </a:r>
                      <a:endParaRPr sz="900">
                        <a:latin typeface="Calibri"/>
                        <a:cs typeface="Calibri"/>
                      </a:endParaRPr>
                    </a:p>
                    <a:p>
                      <a:pPr marL="306070">
                        <a:lnSpc>
                          <a:spcPct val="100000"/>
                        </a:lnSpc>
                        <a:spcBef>
                          <a:spcPts val="360"/>
                        </a:spcBef>
                      </a:pPr>
                      <a:r>
                        <a:rPr sz="900" spc="-25" dirty="0">
                          <a:latin typeface="Calibri"/>
                          <a:cs typeface="Calibri"/>
                        </a:rPr>
                        <a:t>-</a:t>
                      </a:r>
                      <a:r>
                        <a:rPr sz="900" spc="-50" dirty="0">
                          <a:latin typeface="Calibri"/>
                          <a:cs typeface="Calibri"/>
                        </a:rPr>
                        <a:t>1</a:t>
                      </a:r>
                      <a:endParaRPr sz="900">
                        <a:latin typeface="Calibri"/>
                        <a:cs typeface="Calibri"/>
                      </a:endParaRPr>
                    </a:p>
                    <a:p>
                      <a:pPr marL="306070">
                        <a:lnSpc>
                          <a:spcPct val="100000"/>
                        </a:lnSpc>
                        <a:spcBef>
                          <a:spcPts val="360"/>
                        </a:spcBef>
                      </a:pPr>
                      <a:r>
                        <a:rPr sz="900" spc="-25" dirty="0">
                          <a:latin typeface="Calibri"/>
                          <a:cs typeface="Calibri"/>
                        </a:rPr>
                        <a:t>-</a:t>
                      </a:r>
                      <a:r>
                        <a:rPr sz="900" spc="-50" dirty="0">
                          <a:latin typeface="Calibri"/>
                          <a:cs typeface="Calibri"/>
                        </a:rPr>
                        <a:t>2</a:t>
                      </a:r>
                      <a:endParaRPr sz="900">
                        <a:latin typeface="Calibri"/>
                        <a:cs typeface="Calibri"/>
                      </a:endParaRPr>
                    </a:p>
                  </a:txBody>
                  <a:tcPr marL="0" marR="0" marT="56515" marB="0">
                    <a:lnL w="19050">
                      <a:solidFill>
                        <a:srgbClr val="000000"/>
                      </a:solidFill>
                      <a:prstDash val="solid"/>
                    </a:lnL>
                    <a:lnR w="19050">
                      <a:solidFill>
                        <a:srgbClr val="000000"/>
                      </a:solidFill>
                      <a:prstDash val="solid"/>
                    </a:lnR>
                    <a:lnT w="19050">
                      <a:solidFill>
                        <a:srgbClr val="000000"/>
                      </a:solidFill>
                      <a:prstDash val="solid"/>
                    </a:lnT>
                    <a:lnB w="19050">
                      <a:solidFill>
                        <a:srgbClr val="000000"/>
                      </a:solidFill>
                      <a:prstDash val="solid"/>
                    </a:lnB>
                  </a:tcPr>
                </a:tc>
                <a:tc>
                  <a:txBody>
                    <a:bodyPr/>
                    <a:lstStyle/>
                    <a:p>
                      <a:pPr marL="367665">
                        <a:lnSpc>
                          <a:spcPct val="100000"/>
                        </a:lnSpc>
                        <a:spcBef>
                          <a:spcPts val="445"/>
                        </a:spcBef>
                      </a:pPr>
                      <a:r>
                        <a:rPr sz="900" dirty="0">
                          <a:latin typeface="Calibri"/>
                          <a:cs typeface="Calibri"/>
                        </a:rPr>
                        <a:t>2</a:t>
                      </a:r>
                      <a:endParaRPr sz="900">
                        <a:latin typeface="Calibri"/>
                        <a:cs typeface="Calibri"/>
                      </a:endParaRPr>
                    </a:p>
                    <a:p>
                      <a:pPr marL="367665">
                        <a:lnSpc>
                          <a:spcPct val="100000"/>
                        </a:lnSpc>
                        <a:spcBef>
                          <a:spcPts val="355"/>
                        </a:spcBef>
                      </a:pPr>
                      <a:r>
                        <a:rPr sz="900" dirty="0">
                          <a:latin typeface="Calibri"/>
                          <a:cs typeface="Calibri"/>
                        </a:rPr>
                        <a:t>1</a:t>
                      </a:r>
                      <a:endParaRPr sz="900">
                        <a:latin typeface="Calibri"/>
                        <a:cs typeface="Calibri"/>
                      </a:endParaRPr>
                    </a:p>
                    <a:p>
                      <a:pPr marL="367665">
                        <a:lnSpc>
                          <a:spcPct val="100000"/>
                        </a:lnSpc>
                        <a:spcBef>
                          <a:spcPts val="360"/>
                        </a:spcBef>
                      </a:pPr>
                      <a:r>
                        <a:rPr sz="900" dirty="0">
                          <a:latin typeface="Calibri"/>
                          <a:cs typeface="Calibri"/>
                        </a:rPr>
                        <a:t>0</a:t>
                      </a:r>
                      <a:endParaRPr sz="900">
                        <a:latin typeface="Calibri"/>
                        <a:cs typeface="Calibri"/>
                      </a:endParaRPr>
                    </a:p>
                    <a:p>
                      <a:pPr marL="333375">
                        <a:lnSpc>
                          <a:spcPct val="100000"/>
                        </a:lnSpc>
                        <a:spcBef>
                          <a:spcPts val="360"/>
                        </a:spcBef>
                      </a:pPr>
                      <a:r>
                        <a:rPr sz="900" spc="-25" dirty="0">
                          <a:latin typeface="Calibri"/>
                          <a:cs typeface="Calibri"/>
                        </a:rPr>
                        <a:t>-</a:t>
                      </a:r>
                      <a:r>
                        <a:rPr sz="900" spc="-50" dirty="0">
                          <a:latin typeface="Calibri"/>
                          <a:cs typeface="Calibri"/>
                        </a:rPr>
                        <a:t>1</a:t>
                      </a:r>
                      <a:endParaRPr sz="900">
                        <a:latin typeface="Calibri"/>
                        <a:cs typeface="Calibri"/>
                      </a:endParaRPr>
                    </a:p>
                    <a:p>
                      <a:pPr marL="333375">
                        <a:lnSpc>
                          <a:spcPct val="100000"/>
                        </a:lnSpc>
                        <a:spcBef>
                          <a:spcPts val="360"/>
                        </a:spcBef>
                      </a:pPr>
                      <a:r>
                        <a:rPr sz="900" spc="-25" dirty="0">
                          <a:latin typeface="Calibri"/>
                          <a:cs typeface="Calibri"/>
                        </a:rPr>
                        <a:t>-</a:t>
                      </a:r>
                      <a:r>
                        <a:rPr sz="900" spc="-50" dirty="0">
                          <a:latin typeface="Calibri"/>
                          <a:cs typeface="Calibri"/>
                        </a:rPr>
                        <a:t>2</a:t>
                      </a:r>
                      <a:endParaRPr sz="900">
                        <a:latin typeface="Calibri"/>
                        <a:cs typeface="Calibri"/>
                      </a:endParaRPr>
                    </a:p>
                  </a:txBody>
                  <a:tcPr marL="0" marR="0" marT="56515" marB="0">
                    <a:lnL w="19050">
                      <a:solidFill>
                        <a:srgbClr val="000000"/>
                      </a:solidFill>
                      <a:prstDash val="solid"/>
                    </a:lnL>
                    <a:lnR w="19050">
                      <a:solidFill>
                        <a:srgbClr val="000000"/>
                      </a:solidFill>
                      <a:prstDash val="solid"/>
                    </a:lnR>
                    <a:lnT w="19050">
                      <a:solidFill>
                        <a:srgbClr val="000000"/>
                      </a:solidFill>
                      <a:prstDash val="solid"/>
                    </a:lnT>
                    <a:lnB w="19050">
                      <a:solidFill>
                        <a:srgbClr val="000000"/>
                      </a:solidFill>
                      <a:prstDash val="solid"/>
                    </a:lnB>
                  </a:tcPr>
                </a:tc>
                <a:tc>
                  <a:txBody>
                    <a:bodyPr/>
                    <a:lstStyle/>
                    <a:p>
                      <a:pPr marL="293370">
                        <a:lnSpc>
                          <a:spcPct val="100000"/>
                        </a:lnSpc>
                        <a:spcBef>
                          <a:spcPts val="445"/>
                        </a:spcBef>
                      </a:pPr>
                      <a:r>
                        <a:rPr sz="900" dirty="0">
                          <a:latin typeface="Calibri"/>
                          <a:cs typeface="Calibri"/>
                        </a:rPr>
                        <a:t>2</a:t>
                      </a:r>
                      <a:endParaRPr sz="900">
                        <a:latin typeface="Calibri"/>
                        <a:cs typeface="Calibri"/>
                      </a:endParaRPr>
                    </a:p>
                    <a:p>
                      <a:pPr marL="293370">
                        <a:lnSpc>
                          <a:spcPct val="100000"/>
                        </a:lnSpc>
                        <a:spcBef>
                          <a:spcPts val="355"/>
                        </a:spcBef>
                      </a:pPr>
                      <a:r>
                        <a:rPr sz="900" dirty="0">
                          <a:latin typeface="Calibri"/>
                          <a:cs typeface="Calibri"/>
                        </a:rPr>
                        <a:t>1</a:t>
                      </a:r>
                      <a:endParaRPr sz="900">
                        <a:latin typeface="Calibri"/>
                        <a:cs typeface="Calibri"/>
                      </a:endParaRPr>
                    </a:p>
                    <a:p>
                      <a:pPr marL="293370">
                        <a:lnSpc>
                          <a:spcPct val="100000"/>
                        </a:lnSpc>
                        <a:spcBef>
                          <a:spcPts val="360"/>
                        </a:spcBef>
                      </a:pPr>
                      <a:r>
                        <a:rPr sz="900" dirty="0">
                          <a:latin typeface="Calibri"/>
                          <a:cs typeface="Calibri"/>
                        </a:rPr>
                        <a:t>0</a:t>
                      </a:r>
                      <a:endParaRPr sz="900">
                        <a:latin typeface="Calibri"/>
                        <a:cs typeface="Calibri"/>
                      </a:endParaRPr>
                    </a:p>
                    <a:p>
                      <a:pPr marL="259715">
                        <a:lnSpc>
                          <a:spcPct val="100000"/>
                        </a:lnSpc>
                        <a:spcBef>
                          <a:spcPts val="360"/>
                        </a:spcBef>
                      </a:pPr>
                      <a:r>
                        <a:rPr sz="900" spc="-25" dirty="0">
                          <a:latin typeface="Calibri"/>
                          <a:cs typeface="Calibri"/>
                        </a:rPr>
                        <a:t>-</a:t>
                      </a:r>
                      <a:r>
                        <a:rPr sz="900" spc="-50" dirty="0">
                          <a:latin typeface="Calibri"/>
                          <a:cs typeface="Calibri"/>
                        </a:rPr>
                        <a:t>1</a:t>
                      </a:r>
                      <a:endParaRPr sz="900">
                        <a:latin typeface="Calibri"/>
                        <a:cs typeface="Calibri"/>
                      </a:endParaRPr>
                    </a:p>
                    <a:p>
                      <a:pPr marL="259715">
                        <a:lnSpc>
                          <a:spcPct val="100000"/>
                        </a:lnSpc>
                        <a:spcBef>
                          <a:spcPts val="360"/>
                        </a:spcBef>
                      </a:pPr>
                      <a:r>
                        <a:rPr sz="900" spc="-25" dirty="0">
                          <a:latin typeface="Calibri"/>
                          <a:cs typeface="Calibri"/>
                        </a:rPr>
                        <a:t>-</a:t>
                      </a:r>
                      <a:r>
                        <a:rPr sz="900" spc="-50" dirty="0">
                          <a:latin typeface="Calibri"/>
                          <a:cs typeface="Calibri"/>
                        </a:rPr>
                        <a:t>2</a:t>
                      </a:r>
                      <a:endParaRPr sz="900">
                        <a:latin typeface="Calibri"/>
                        <a:cs typeface="Calibri"/>
                      </a:endParaRPr>
                    </a:p>
                  </a:txBody>
                  <a:tcPr marL="0" marR="0" marT="56515" marB="0">
                    <a:lnL w="19050">
                      <a:solidFill>
                        <a:srgbClr val="000000"/>
                      </a:solidFill>
                      <a:prstDash val="solid"/>
                    </a:lnL>
                    <a:lnR w="19050">
                      <a:solidFill>
                        <a:srgbClr val="000000"/>
                      </a:solidFill>
                      <a:prstDash val="solid"/>
                    </a:lnR>
                    <a:lnT w="19050">
                      <a:solidFill>
                        <a:srgbClr val="000000"/>
                      </a:solidFill>
                      <a:prstDash val="solid"/>
                    </a:lnT>
                    <a:lnB w="19050">
                      <a:solidFill>
                        <a:srgbClr val="000000"/>
                      </a:solidFill>
                      <a:prstDash val="solid"/>
                    </a:lnB>
                  </a:tcPr>
                </a:tc>
                <a:extLst>
                  <a:ext uri="{0D108BD9-81ED-4DB2-BD59-A6C34878D82A}">
                    <a16:rowId xmlns:a16="http://schemas.microsoft.com/office/drawing/2014/main" val="10003"/>
                  </a:ext>
                </a:extLst>
              </a:tr>
              <a:tr h="1006475">
                <a:tc>
                  <a:txBody>
                    <a:bodyPr/>
                    <a:lstStyle/>
                    <a:p>
                      <a:pPr marL="180975" marR="160020" indent="26670" algn="ctr">
                        <a:lnSpc>
                          <a:spcPct val="108700"/>
                        </a:lnSpc>
                        <a:spcBef>
                          <a:spcPts val="25"/>
                        </a:spcBef>
                      </a:pPr>
                      <a:r>
                        <a:rPr sz="1050" b="1" spc="-10" dirty="0">
                          <a:latin typeface="Arial"/>
                          <a:cs typeface="Arial"/>
                        </a:rPr>
                        <a:t>Allele Difference </a:t>
                      </a:r>
                      <a:r>
                        <a:rPr sz="1050" b="1" dirty="0">
                          <a:latin typeface="Arial"/>
                          <a:cs typeface="Arial"/>
                        </a:rPr>
                        <a:t>(</a:t>
                      </a:r>
                      <a:r>
                        <a:rPr sz="1050" b="1" dirty="0">
                          <a:solidFill>
                            <a:srgbClr val="4F81BC"/>
                          </a:solidFill>
                          <a:latin typeface="Arial"/>
                          <a:cs typeface="Arial"/>
                        </a:rPr>
                        <a:t>A-</a:t>
                      </a:r>
                      <a:r>
                        <a:rPr sz="1050" b="1" spc="-25" dirty="0">
                          <a:solidFill>
                            <a:srgbClr val="4F81BC"/>
                          </a:solidFill>
                          <a:latin typeface="Arial"/>
                          <a:cs typeface="Arial"/>
                        </a:rPr>
                        <a:t>B</a:t>
                      </a:r>
                      <a:r>
                        <a:rPr sz="1050" b="1" spc="-25" dirty="0">
                          <a:latin typeface="Arial"/>
                          <a:cs typeface="Arial"/>
                        </a:rPr>
                        <a:t>)</a:t>
                      </a:r>
                      <a:endParaRPr sz="1050">
                        <a:latin typeface="Arial"/>
                        <a:cs typeface="Arial"/>
                      </a:endParaRPr>
                    </a:p>
                  </a:txBody>
                  <a:tcPr marL="0" marR="0" marT="3175" marB="0" vert="vert270">
                    <a:lnL w="9525">
                      <a:solidFill>
                        <a:srgbClr val="000000"/>
                      </a:solidFill>
                      <a:prstDash val="solid"/>
                    </a:lnL>
                    <a:lnR w="19050">
                      <a:solidFill>
                        <a:srgbClr val="000000"/>
                      </a:solidFill>
                      <a:prstDash val="solid"/>
                    </a:lnR>
                    <a:lnT w="19050">
                      <a:solidFill>
                        <a:srgbClr val="000000"/>
                      </a:solidFill>
                      <a:prstDash val="solid"/>
                    </a:lnT>
                    <a:lnB w="19050">
                      <a:solidFill>
                        <a:srgbClr val="000000"/>
                      </a:solidFill>
                      <a:prstDash val="solid"/>
                    </a:lnB>
                    <a:solidFill>
                      <a:srgbClr val="FFFFFF"/>
                    </a:solidFill>
                  </a:tcPr>
                </a:tc>
                <a:tc>
                  <a:txBody>
                    <a:bodyPr/>
                    <a:lstStyle/>
                    <a:p>
                      <a:pPr marL="306705">
                        <a:lnSpc>
                          <a:spcPct val="100000"/>
                        </a:lnSpc>
                        <a:spcBef>
                          <a:spcPts val="445"/>
                        </a:spcBef>
                      </a:pPr>
                      <a:r>
                        <a:rPr sz="900" dirty="0">
                          <a:latin typeface="Calibri"/>
                          <a:cs typeface="Calibri"/>
                        </a:rPr>
                        <a:t>2</a:t>
                      </a:r>
                      <a:endParaRPr sz="900">
                        <a:latin typeface="Calibri"/>
                        <a:cs typeface="Calibri"/>
                      </a:endParaRPr>
                    </a:p>
                    <a:p>
                      <a:pPr marL="306705">
                        <a:lnSpc>
                          <a:spcPct val="100000"/>
                        </a:lnSpc>
                        <a:spcBef>
                          <a:spcPts val="355"/>
                        </a:spcBef>
                      </a:pPr>
                      <a:r>
                        <a:rPr sz="900" dirty="0">
                          <a:latin typeface="Calibri"/>
                          <a:cs typeface="Calibri"/>
                        </a:rPr>
                        <a:t>1</a:t>
                      </a:r>
                      <a:endParaRPr sz="900">
                        <a:latin typeface="Calibri"/>
                        <a:cs typeface="Calibri"/>
                      </a:endParaRPr>
                    </a:p>
                    <a:p>
                      <a:pPr marL="306705">
                        <a:lnSpc>
                          <a:spcPct val="100000"/>
                        </a:lnSpc>
                        <a:spcBef>
                          <a:spcPts val="360"/>
                        </a:spcBef>
                      </a:pPr>
                      <a:r>
                        <a:rPr sz="900" dirty="0">
                          <a:latin typeface="Calibri"/>
                          <a:cs typeface="Calibri"/>
                        </a:rPr>
                        <a:t>0</a:t>
                      </a:r>
                      <a:endParaRPr sz="900">
                        <a:latin typeface="Calibri"/>
                        <a:cs typeface="Calibri"/>
                      </a:endParaRPr>
                    </a:p>
                    <a:p>
                      <a:pPr marL="273050">
                        <a:lnSpc>
                          <a:spcPct val="100000"/>
                        </a:lnSpc>
                        <a:spcBef>
                          <a:spcPts val="360"/>
                        </a:spcBef>
                      </a:pPr>
                      <a:r>
                        <a:rPr sz="900" spc="-25" dirty="0">
                          <a:latin typeface="Calibri"/>
                          <a:cs typeface="Calibri"/>
                        </a:rPr>
                        <a:t>-</a:t>
                      </a:r>
                      <a:r>
                        <a:rPr sz="900" spc="-50" dirty="0">
                          <a:latin typeface="Calibri"/>
                          <a:cs typeface="Calibri"/>
                        </a:rPr>
                        <a:t>1</a:t>
                      </a:r>
                      <a:endParaRPr sz="900">
                        <a:latin typeface="Calibri"/>
                        <a:cs typeface="Calibri"/>
                      </a:endParaRPr>
                    </a:p>
                    <a:p>
                      <a:pPr marL="273050">
                        <a:lnSpc>
                          <a:spcPct val="100000"/>
                        </a:lnSpc>
                        <a:spcBef>
                          <a:spcPts val="360"/>
                        </a:spcBef>
                      </a:pPr>
                      <a:r>
                        <a:rPr sz="900" spc="-25" dirty="0">
                          <a:latin typeface="Calibri"/>
                          <a:cs typeface="Calibri"/>
                        </a:rPr>
                        <a:t>-</a:t>
                      </a:r>
                      <a:r>
                        <a:rPr sz="900" spc="-50" dirty="0">
                          <a:latin typeface="Calibri"/>
                          <a:cs typeface="Calibri"/>
                        </a:rPr>
                        <a:t>2</a:t>
                      </a:r>
                      <a:endParaRPr sz="900">
                        <a:latin typeface="Calibri"/>
                        <a:cs typeface="Calibri"/>
                      </a:endParaRPr>
                    </a:p>
                  </a:txBody>
                  <a:tcPr marL="0" marR="0" marT="56515" marB="0">
                    <a:lnL w="19050">
                      <a:solidFill>
                        <a:srgbClr val="000000"/>
                      </a:solidFill>
                      <a:prstDash val="solid"/>
                    </a:lnL>
                    <a:lnR w="19050">
                      <a:solidFill>
                        <a:srgbClr val="000000"/>
                      </a:solidFill>
                      <a:prstDash val="solid"/>
                    </a:lnR>
                    <a:lnT w="19050">
                      <a:solidFill>
                        <a:srgbClr val="000000"/>
                      </a:solidFill>
                      <a:prstDash val="solid"/>
                    </a:lnT>
                    <a:lnB w="19050">
                      <a:solidFill>
                        <a:srgbClr val="000000"/>
                      </a:solidFill>
                      <a:prstDash val="solid"/>
                    </a:lnB>
                  </a:tcPr>
                </a:tc>
                <a:tc>
                  <a:txBody>
                    <a:bodyPr/>
                    <a:lstStyle/>
                    <a:p>
                      <a:pPr marL="340360">
                        <a:lnSpc>
                          <a:spcPct val="100000"/>
                        </a:lnSpc>
                        <a:spcBef>
                          <a:spcPts val="445"/>
                        </a:spcBef>
                      </a:pPr>
                      <a:r>
                        <a:rPr sz="900" dirty="0">
                          <a:latin typeface="Calibri"/>
                          <a:cs typeface="Calibri"/>
                        </a:rPr>
                        <a:t>2</a:t>
                      </a:r>
                      <a:endParaRPr sz="900">
                        <a:latin typeface="Calibri"/>
                        <a:cs typeface="Calibri"/>
                      </a:endParaRPr>
                    </a:p>
                    <a:p>
                      <a:pPr marL="340360">
                        <a:lnSpc>
                          <a:spcPct val="100000"/>
                        </a:lnSpc>
                        <a:spcBef>
                          <a:spcPts val="355"/>
                        </a:spcBef>
                      </a:pPr>
                      <a:r>
                        <a:rPr sz="900" dirty="0">
                          <a:latin typeface="Calibri"/>
                          <a:cs typeface="Calibri"/>
                        </a:rPr>
                        <a:t>1</a:t>
                      </a:r>
                      <a:endParaRPr sz="900">
                        <a:latin typeface="Calibri"/>
                        <a:cs typeface="Calibri"/>
                      </a:endParaRPr>
                    </a:p>
                    <a:p>
                      <a:pPr marL="340360">
                        <a:lnSpc>
                          <a:spcPct val="100000"/>
                        </a:lnSpc>
                        <a:spcBef>
                          <a:spcPts val="360"/>
                        </a:spcBef>
                      </a:pPr>
                      <a:r>
                        <a:rPr sz="900" dirty="0">
                          <a:latin typeface="Calibri"/>
                          <a:cs typeface="Calibri"/>
                        </a:rPr>
                        <a:t>0</a:t>
                      </a:r>
                      <a:endParaRPr sz="900">
                        <a:latin typeface="Calibri"/>
                        <a:cs typeface="Calibri"/>
                      </a:endParaRPr>
                    </a:p>
                    <a:p>
                      <a:pPr marL="306070">
                        <a:lnSpc>
                          <a:spcPct val="100000"/>
                        </a:lnSpc>
                        <a:spcBef>
                          <a:spcPts val="360"/>
                        </a:spcBef>
                      </a:pPr>
                      <a:r>
                        <a:rPr sz="900" spc="-25" dirty="0">
                          <a:latin typeface="Calibri"/>
                          <a:cs typeface="Calibri"/>
                        </a:rPr>
                        <a:t>-</a:t>
                      </a:r>
                      <a:r>
                        <a:rPr sz="900" spc="-50" dirty="0">
                          <a:latin typeface="Calibri"/>
                          <a:cs typeface="Calibri"/>
                        </a:rPr>
                        <a:t>1</a:t>
                      </a:r>
                      <a:endParaRPr sz="900">
                        <a:latin typeface="Calibri"/>
                        <a:cs typeface="Calibri"/>
                      </a:endParaRPr>
                    </a:p>
                    <a:p>
                      <a:pPr marL="306070">
                        <a:lnSpc>
                          <a:spcPct val="100000"/>
                        </a:lnSpc>
                        <a:spcBef>
                          <a:spcPts val="360"/>
                        </a:spcBef>
                      </a:pPr>
                      <a:r>
                        <a:rPr sz="900" spc="-25" dirty="0">
                          <a:latin typeface="Calibri"/>
                          <a:cs typeface="Calibri"/>
                        </a:rPr>
                        <a:t>-</a:t>
                      </a:r>
                      <a:r>
                        <a:rPr sz="900" spc="-50" dirty="0">
                          <a:latin typeface="Calibri"/>
                          <a:cs typeface="Calibri"/>
                        </a:rPr>
                        <a:t>2</a:t>
                      </a:r>
                      <a:endParaRPr sz="900">
                        <a:latin typeface="Calibri"/>
                        <a:cs typeface="Calibri"/>
                      </a:endParaRPr>
                    </a:p>
                  </a:txBody>
                  <a:tcPr marL="0" marR="0" marT="56515" marB="0">
                    <a:lnL w="19050">
                      <a:solidFill>
                        <a:srgbClr val="000000"/>
                      </a:solidFill>
                      <a:prstDash val="solid"/>
                    </a:lnL>
                    <a:lnR w="19050">
                      <a:solidFill>
                        <a:srgbClr val="000000"/>
                      </a:solidFill>
                      <a:prstDash val="solid"/>
                    </a:lnR>
                    <a:lnT w="19050">
                      <a:solidFill>
                        <a:srgbClr val="000000"/>
                      </a:solidFill>
                      <a:prstDash val="solid"/>
                    </a:lnT>
                    <a:lnB w="19050">
                      <a:solidFill>
                        <a:srgbClr val="000000"/>
                      </a:solidFill>
                      <a:prstDash val="solid"/>
                    </a:lnB>
                  </a:tcPr>
                </a:tc>
                <a:tc>
                  <a:txBody>
                    <a:bodyPr/>
                    <a:lstStyle/>
                    <a:p>
                      <a:pPr marL="367665">
                        <a:lnSpc>
                          <a:spcPct val="100000"/>
                        </a:lnSpc>
                        <a:spcBef>
                          <a:spcPts val="445"/>
                        </a:spcBef>
                      </a:pPr>
                      <a:r>
                        <a:rPr sz="900" dirty="0">
                          <a:latin typeface="Calibri"/>
                          <a:cs typeface="Calibri"/>
                        </a:rPr>
                        <a:t>2</a:t>
                      </a:r>
                      <a:endParaRPr sz="900">
                        <a:latin typeface="Calibri"/>
                        <a:cs typeface="Calibri"/>
                      </a:endParaRPr>
                    </a:p>
                    <a:p>
                      <a:pPr marL="367665">
                        <a:lnSpc>
                          <a:spcPct val="100000"/>
                        </a:lnSpc>
                        <a:spcBef>
                          <a:spcPts val="355"/>
                        </a:spcBef>
                      </a:pPr>
                      <a:r>
                        <a:rPr sz="900" dirty="0">
                          <a:latin typeface="Calibri"/>
                          <a:cs typeface="Calibri"/>
                        </a:rPr>
                        <a:t>1</a:t>
                      </a:r>
                      <a:endParaRPr sz="900">
                        <a:latin typeface="Calibri"/>
                        <a:cs typeface="Calibri"/>
                      </a:endParaRPr>
                    </a:p>
                    <a:p>
                      <a:pPr marL="367665">
                        <a:lnSpc>
                          <a:spcPct val="100000"/>
                        </a:lnSpc>
                        <a:spcBef>
                          <a:spcPts val="360"/>
                        </a:spcBef>
                      </a:pPr>
                      <a:r>
                        <a:rPr sz="900" dirty="0">
                          <a:latin typeface="Calibri"/>
                          <a:cs typeface="Calibri"/>
                        </a:rPr>
                        <a:t>0</a:t>
                      </a:r>
                      <a:endParaRPr sz="900">
                        <a:latin typeface="Calibri"/>
                        <a:cs typeface="Calibri"/>
                      </a:endParaRPr>
                    </a:p>
                    <a:p>
                      <a:pPr marL="333375">
                        <a:lnSpc>
                          <a:spcPct val="100000"/>
                        </a:lnSpc>
                        <a:spcBef>
                          <a:spcPts val="360"/>
                        </a:spcBef>
                      </a:pPr>
                      <a:r>
                        <a:rPr sz="900" spc="-25" dirty="0">
                          <a:latin typeface="Calibri"/>
                          <a:cs typeface="Calibri"/>
                        </a:rPr>
                        <a:t>-</a:t>
                      </a:r>
                      <a:r>
                        <a:rPr sz="900" spc="-50" dirty="0">
                          <a:latin typeface="Calibri"/>
                          <a:cs typeface="Calibri"/>
                        </a:rPr>
                        <a:t>1</a:t>
                      </a:r>
                      <a:endParaRPr sz="900">
                        <a:latin typeface="Calibri"/>
                        <a:cs typeface="Calibri"/>
                      </a:endParaRPr>
                    </a:p>
                    <a:p>
                      <a:pPr marL="333375">
                        <a:lnSpc>
                          <a:spcPct val="100000"/>
                        </a:lnSpc>
                        <a:spcBef>
                          <a:spcPts val="360"/>
                        </a:spcBef>
                      </a:pPr>
                      <a:r>
                        <a:rPr sz="900" spc="-25" dirty="0">
                          <a:latin typeface="Calibri"/>
                          <a:cs typeface="Calibri"/>
                        </a:rPr>
                        <a:t>-</a:t>
                      </a:r>
                      <a:r>
                        <a:rPr sz="900" spc="-50" dirty="0">
                          <a:latin typeface="Calibri"/>
                          <a:cs typeface="Calibri"/>
                        </a:rPr>
                        <a:t>2</a:t>
                      </a:r>
                      <a:endParaRPr sz="900">
                        <a:latin typeface="Calibri"/>
                        <a:cs typeface="Calibri"/>
                      </a:endParaRPr>
                    </a:p>
                  </a:txBody>
                  <a:tcPr marL="0" marR="0" marT="56515" marB="0">
                    <a:lnL w="19050">
                      <a:solidFill>
                        <a:srgbClr val="000000"/>
                      </a:solidFill>
                      <a:prstDash val="solid"/>
                    </a:lnL>
                    <a:lnR w="19050">
                      <a:solidFill>
                        <a:srgbClr val="000000"/>
                      </a:solidFill>
                      <a:prstDash val="solid"/>
                    </a:lnR>
                    <a:lnT w="19050">
                      <a:solidFill>
                        <a:srgbClr val="000000"/>
                      </a:solidFill>
                      <a:prstDash val="solid"/>
                    </a:lnT>
                    <a:lnB w="19050">
                      <a:solidFill>
                        <a:srgbClr val="000000"/>
                      </a:solidFill>
                      <a:prstDash val="solid"/>
                    </a:lnB>
                  </a:tcPr>
                </a:tc>
                <a:tc>
                  <a:txBody>
                    <a:bodyPr/>
                    <a:lstStyle/>
                    <a:p>
                      <a:pPr marL="293370">
                        <a:lnSpc>
                          <a:spcPct val="100000"/>
                        </a:lnSpc>
                        <a:spcBef>
                          <a:spcPts val="445"/>
                        </a:spcBef>
                      </a:pPr>
                      <a:r>
                        <a:rPr sz="900" dirty="0">
                          <a:latin typeface="Calibri"/>
                          <a:cs typeface="Calibri"/>
                        </a:rPr>
                        <a:t>2</a:t>
                      </a:r>
                      <a:endParaRPr sz="900">
                        <a:latin typeface="Calibri"/>
                        <a:cs typeface="Calibri"/>
                      </a:endParaRPr>
                    </a:p>
                    <a:p>
                      <a:pPr marL="293370">
                        <a:lnSpc>
                          <a:spcPct val="100000"/>
                        </a:lnSpc>
                        <a:spcBef>
                          <a:spcPts val="355"/>
                        </a:spcBef>
                      </a:pPr>
                      <a:r>
                        <a:rPr sz="900" dirty="0">
                          <a:latin typeface="Calibri"/>
                          <a:cs typeface="Calibri"/>
                        </a:rPr>
                        <a:t>1</a:t>
                      </a:r>
                      <a:endParaRPr sz="900">
                        <a:latin typeface="Calibri"/>
                        <a:cs typeface="Calibri"/>
                      </a:endParaRPr>
                    </a:p>
                    <a:p>
                      <a:pPr marL="293370">
                        <a:lnSpc>
                          <a:spcPct val="100000"/>
                        </a:lnSpc>
                        <a:spcBef>
                          <a:spcPts val="360"/>
                        </a:spcBef>
                      </a:pPr>
                      <a:r>
                        <a:rPr sz="900" dirty="0">
                          <a:latin typeface="Calibri"/>
                          <a:cs typeface="Calibri"/>
                        </a:rPr>
                        <a:t>0</a:t>
                      </a:r>
                      <a:endParaRPr sz="900">
                        <a:latin typeface="Calibri"/>
                        <a:cs typeface="Calibri"/>
                      </a:endParaRPr>
                    </a:p>
                    <a:p>
                      <a:pPr marL="259715">
                        <a:lnSpc>
                          <a:spcPct val="100000"/>
                        </a:lnSpc>
                        <a:spcBef>
                          <a:spcPts val="360"/>
                        </a:spcBef>
                      </a:pPr>
                      <a:r>
                        <a:rPr sz="900" spc="-25" dirty="0">
                          <a:latin typeface="Calibri"/>
                          <a:cs typeface="Calibri"/>
                        </a:rPr>
                        <a:t>-</a:t>
                      </a:r>
                      <a:r>
                        <a:rPr sz="900" spc="-50" dirty="0">
                          <a:latin typeface="Calibri"/>
                          <a:cs typeface="Calibri"/>
                        </a:rPr>
                        <a:t>1</a:t>
                      </a:r>
                      <a:endParaRPr sz="900">
                        <a:latin typeface="Calibri"/>
                        <a:cs typeface="Calibri"/>
                      </a:endParaRPr>
                    </a:p>
                    <a:p>
                      <a:pPr marL="259715">
                        <a:lnSpc>
                          <a:spcPct val="100000"/>
                        </a:lnSpc>
                        <a:spcBef>
                          <a:spcPts val="360"/>
                        </a:spcBef>
                      </a:pPr>
                      <a:r>
                        <a:rPr sz="900" spc="-25" dirty="0">
                          <a:latin typeface="Calibri"/>
                          <a:cs typeface="Calibri"/>
                        </a:rPr>
                        <a:t>-</a:t>
                      </a:r>
                      <a:r>
                        <a:rPr sz="900" spc="-50" dirty="0">
                          <a:latin typeface="Calibri"/>
                          <a:cs typeface="Calibri"/>
                        </a:rPr>
                        <a:t>2</a:t>
                      </a:r>
                      <a:endParaRPr sz="900">
                        <a:latin typeface="Calibri"/>
                        <a:cs typeface="Calibri"/>
                      </a:endParaRPr>
                    </a:p>
                  </a:txBody>
                  <a:tcPr marL="0" marR="0" marT="56515" marB="0">
                    <a:lnL w="19050">
                      <a:solidFill>
                        <a:srgbClr val="000000"/>
                      </a:solidFill>
                      <a:prstDash val="solid"/>
                    </a:lnL>
                    <a:lnR w="19050">
                      <a:solidFill>
                        <a:srgbClr val="000000"/>
                      </a:solidFill>
                      <a:prstDash val="solid"/>
                    </a:lnR>
                    <a:lnT w="19050">
                      <a:solidFill>
                        <a:srgbClr val="000000"/>
                      </a:solidFill>
                      <a:prstDash val="solid"/>
                    </a:lnT>
                    <a:lnB w="19050">
                      <a:solidFill>
                        <a:srgbClr val="000000"/>
                      </a:solidFill>
                      <a:prstDash val="solid"/>
                    </a:lnB>
                  </a:tcPr>
                </a:tc>
                <a:extLst>
                  <a:ext uri="{0D108BD9-81ED-4DB2-BD59-A6C34878D82A}">
                    <a16:rowId xmlns:a16="http://schemas.microsoft.com/office/drawing/2014/main" val="10004"/>
                  </a:ext>
                </a:extLst>
              </a:tr>
              <a:tr h="1006475">
                <a:tc>
                  <a:txBody>
                    <a:bodyPr/>
                    <a:lstStyle/>
                    <a:p>
                      <a:pPr marL="214629" marR="208915" indent="160655">
                        <a:lnSpc>
                          <a:spcPct val="108600"/>
                        </a:lnSpc>
                        <a:spcBef>
                          <a:spcPts val="765"/>
                        </a:spcBef>
                      </a:pPr>
                      <a:r>
                        <a:rPr sz="1050" b="1" spc="-25" dirty="0">
                          <a:latin typeface="Arial"/>
                          <a:cs typeface="Arial"/>
                        </a:rPr>
                        <a:t>BAF </a:t>
                      </a:r>
                      <a:r>
                        <a:rPr sz="1050" b="1" spc="-10" dirty="0">
                          <a:latin typeface="Arial"/>
                          <a:cs typeface="Arial"/>
                        </a:rPr>
                        <a:t>(</a:t>
                      </a:r>
                      <a:r>
                        <a:rPr sz="1050" b="1" spc="-10" dirty="0">
                          <a:solidFill>
                            <a:srgbClr val="4F81BC"/>
                          </a:solidFill>
                          <a:latin typeface="Arial"/>
                          <a:cs typeface="Arial"/>
                        </a:rPr>
                        <a:t>B/(A+B)</a:t>
                      </a:r>
                      <a:r>
                        <a:rPr sz="1050" b="1" spc="-10" dirty="0">
                          <a:latin typeface="Arial"/>
                          <a:cs typeface="Arial"/>
                        </a:rPr>
                        <a:t>)</a:t>
                      </a:r>
                      <a:endParaRPr sz="1050">
                        <a:latin typeface="Arial"/>
                        <a:cs typeface="Arial"/>
                      </a:endParaRPr>
                    </a:p>
                  </a:txBody>
                  <a:tcPr marL="0" marR="0" marT="97155" marB="0" vert="vert270">
                    <a:lnL w="9525">
                      <a:solidFill>
                        <a:srgbClr val="000000"/>
                      </a:solidFill>
                      <a:prstDash val="solid"/>
                    </a:lnL>
                    <a:lnR w="19050">
                      <a:solidFill>
                        <a:srgbClr val="000000"/>
                      </a:solidFill>
                      <a:prstDash val="solid"/>
                    </a:lnR>
                    <a:lnT w="19050">
                      <a:solidFill>
                        <a:srgbClr val="000000"/>
                      </a:solidFill>
                      <a:prstDash val="solid"/>
                    </a:lnT>
                    <a:lnB w="19050">
                      <a:solidFill>
                        <a:srgbClr val="000000"/>
                      </a:solidFill>
                      <a:prstDash val="solid"/>
                    </a:lnB>
                    <a:solidFill>
                      <a:srgbClr val="FFFFFF"/>
                    </a:solidFill>
                  </a:tcPr>
                </a:tc>
                <a:tc>
                  <a:txBody>
                    <a:bodyPr/>
                    <a:lstStyle/>
                    <a:p>
                      <a:pPr marL="273050">
                        <a:lnSpc>
                          <a:spcPct val="100000"/>
                        </a:lnSpc>
                        <a:spcBef>
                          <a:spcPts val="440"/>
                        </a:spcBef>
                      </a:pPr>
                      <a:r>
                        <a:rPr sz="900" dirty="0">
                          <a:latin typeface="Calibri"/>
                          <a:cs typeface="Calibri"/>
                        </a:rPr>
                        <a:t>1</a:t>
                      </a:r>
                      <a:endParaRPr sz="900">
                        <a:latin typeface="Calibri"/>
                        <a:cs typeface="Calibri"/>
                      </a:endParaRPr>
                    </a:p>
                    <a:p>
                      <a:pPr>
                        <a:lnSpc>
                          <a:spcPct val="100000"/>
                        </a:lnSpc>
                      </a:pPr>
                      <a:endParaRPr sz="900">
                        <a:latin typeface="Times New Roman"/>
                        <a:cs typeface="Times New Roman"/>
                      </a:endParaRPr>
                    </a:p>
                    <a:p>
                      <a:pPr>
                        <a:lnSpc>
                          <a:spcPct val="100000"/>
                        </a:lnSpc>
                      </a:pPr>
                      <a:endParaRPr sz="900">
                        <a:latin typeface="Times New Roman"/>
                        <a:cs typeface="Times New Roman"/>
                      </a:endParaRPr>
                    </a:p>
                    <a:p>
                      <a:pPr>
                        <a:lnSpc>
                          <a:spcPct val="100000"/>
                        </a:lnSpc>
                      </a:pPr>
                      <a:endParaRPr sz="900">
                        <a:latin typeface="Times New Roman"/>
                        <a:cs typeface="Times New Roman"/>
                      </a:endParaRPr>
                    </a:p>
                    <a:p>
                      <a:pPr>
                        <a:lnSpc>
                          <a:spcPct val="100000"/>
                        </a:lnSpc>
                      </a:pPr>
                      <a:endParaRPr sz="900">
                        <a:latin typeface="Times New Roman"/>
                        <a:cs typeface="Times New Roman"/>
                      </a:endParaRPr>
                    </a:p>
                    <a:p>
                      <a:pPr marL="273050">
                        <a:lnSpc>
                          <a:spcPct val="100000"/>
                        </a:lnSpc>
                        <a:spcBef>
                          <a:spcPts val="540"/>
                        </a:spcBef>
                      </a:pPr>
                      <a:r>
                        <a:rPr sz="900" dirty="0">
                          <a:latin typeface="Calibri"/>
                          <a:cs typeface="Calibri"/>
                        </a:rPr>
                        <a:t>0</a:t>
                      </a:r>
                      <a:endParaRPr sz="900">
                        <a:latin typeface="Calibri"/>
                        <a:cs typeface="Calibri"/>
                      </a:endParaRPr>
                    </a:p>
                  </a:txBody>
                  <a:tcPr marL="0" marR="0" marT="55880" marB="0">
                    <a:lnL w="19050">
                      <a:solidFill>
                        <a:srgbClr val="000000"/>
                      </a:solidFill>
                      <a:prstDash val="solid"/>
                    </a:lnL>
                    <a:lnR w="19050">
                      <a:solidFill>
                        <a:srgbClr val="000000"/>
                      </a:solidFill>
                      <a:prstDash val="solid"/>
                    </a:lnR>
                    <a:lnT w="19050">
                      <a:solidFill>
                        <a:srgbClr val="000000"/>
                      </a:solidFill>
                      <a:prstDash val="solid"/>
                    </a:lnT>
                    <a:lnB w="19050">
                      <a:solidFill>
                        <a:srgbClr val="000000"/>
                      </a:solidFill>
                      <a:prstDash val="solid"/>
                    </a:lnB>
                  </a:tcPr>
                </a:tc>
                <a:tc>
                  <a:txBody>
                    <a:bodyPr/>
                    <a:lstStyle/>
                    <a:p>
                      <a:pPr marL="306070">
                        <a:lnSpc>
                          <a:spcPct val="100000"/>
                        </a:lnSpc>
                        <a:spcBef>
                          <a:spcPts val="440"/>
                        </a:spcBef>
                      </a:pPr>
                      <a:r>
                        <a:rPr sz="900" dirty="0">
                          <a:latin typeface="Calibri"/>
                          <a:cs typeface="Calibri"/>
                        </a:rPr>
                        <a:t>1</a:t>
                      </a:r>
                      <a:endParaRPr sz="900">
                        <a:latin typeface="Calibri"/>
                        <a:cs typeface="Calibri"/>
                      </a:endParaRPr>
                    </a:p>
                    <a:p>
                      <a:pPr>
                        <a:lnSpc>
                          <a:spcPct val="100000"/>
                        </a:lnSpc>
                      </a:pPr>
                      <a:endParaRPr sz="900">
                        <a:latin typeface="Times New Roman"/>
                        <a:cs typeface="Times New Roman"/>
                      </a:endParaRPr>
                    </a:p>
                    <a:p>
                      <a:pPr>
                        <a:lnSpc>
                          <a:spcPct val="100000"/>
                        </a:lnSpc>
                      </a:pPr>
                      <a:endParaRPr sz="900">
                        <a:latin typeface="Times New Roman"/>
                        <a:cs typeface="Times New Roman"/>
                      </a:endParaRPr>
                    </a:p>
                    <a:p>
                      <a:pPr>
                        <a:lnSpc>
                          <a:spcPct val="100000"/>
                        </a:lnSpc>
                      </a:pPr>
                      <a:endParaRPr sz="900">
                        <a:latin typeface="Times New Roman"/>
                        <a:cs typeface="Times New Roman"/>
                      </a:endParaRPr>
                    </a:p>
                    <a:p>
                      <a:pPr>
                        <a:lnSpc>
                          <a:spcPct val="100000"/>
                        </a:lnSpc>
                      </a:pPr>
                      <a:endParaRPr sz="900">
                        <a:latin typeface="Times New Roman"/>
                        <a:cs typeface="Times New Roman"/>
                      </a:endParaRPr>
                    </a:p>
                    <a:p>
                      <a:pPr marL="306070">
                        <a:lnSpc>
                          <a:spcPct val="100000"/>
                        </a:lnSpc>
                        <a:spcBef>
                          <a:spcPts val="540"/>
                        </a:spcBef>
                      </a:pPr>
                      <a:r>
                        <a:rPr sz="900" dirty="0">
                          <a:latin typeface="Calibri"/>
                          <a:cs typeface="Calibri"/>
                        </a:rPr>
                        <a:t>0</a:t>
                      </a:r>
                      <a:endParaRPr sz="900">
                        <a:latin typeface="Calibri"/>
                        <a:cs typeface="Calibri"/>
                      </a:endParaRPr>
                    </a:p>
                  </a:txBody>
                  <a:tcPr marL="0" marR="0" marT="55880" marB="0">
                    <a:lnL w="19050">
                      <a:solidFill>
                        <a:srgbClr val="000000"/>
                      </a:solidFill>
                      <a:prstDash val="solid"/>
                    </a:lnL>
                    <a:lnR w="19050">
                      <a:solidFill>
                        <a:srgbClr val="000000"/>
                      </a:solidFill>
                      <a:prstDash val="solid"/>
                    </a:lnR>
                    <a:lnT w="19050">
                      <a:solidFill>
                        <a:srgbClr val="000000"/>
                      </a:solidFill>
                      <a:prstDash val="solid"/>
                    </a:lnT>
                    <a:lnB w="19050">
                      <a:solidFill>
                        <a:srgbClr val="000000"/>
                      </a:solidFill>
                      <a:prstDash val="solid"/>
                    </a:lnB>
                  </a:tcPr>
                </a:tc>
                <a:tc>
                  <a:txBody>
                    <a:bodyPr/>
                    <a:lstStyle/>
                    <a:p>
                      <a:pPr marL="333375">
                        <a:lnSpc>
                          <a:spcPct val="100000"/>
                        </a:lnSpc>
                        <a:spcBef>
                          <a:spcPts val="440"/>
                        </a:spcBef>
                      </a:pPr>
                      <a:r>
                        <a:rPr sz="900" dirty="0">
                          <a:latin typeface="Calibri"/>
                          <a:cs typeface="Calibri"/>
                        </a:rPr>
                        <a:t>1</a:t>
                      </a:r>
                      <a:endParaRPr sz="900">
                        <a:latin typeface="Calibri"/>
                        <a:cs typeface="Calibri"/>
                      </a:endParaRPr>
                    </a:p>
                    <a:p>
                      <a:pPr>
                        <a:lnSpc>
                          <a:spcPct val="100000"/>
                        </a:lnSpc>
                      </a:pPr>
                      <a:endParaRPr sz="900">
                        <a:latin typeface="Times New Roman"/>
                        <a:cs typeface="Times New Roman"/>
                      </a:endParaRPr>
                    </a:p>
                    <a:p>
                      <a:pPr>
                        <a:lnSpc>
                          <a:spcPct val="100000"/>
                        </a:lnSpc>
                      </a:pPr>
                      <a:endParaRPr sz="900">
                        <a:latin typeface="Times New Roman"/>
                        <a:cs typeface="Times New Roman"/>
                      </a:endParaRPr>
                    </a:p>
                    <a:p>
                      <a:pPr>
                        <a:lnSpc>
                          <a:spcPct val="100000"/>
                        </a:lnSpc>
                      </a:pPr>
                      <a:endParaRPr sz="900">
                        <a:latin typeface="Times New Roman"/>
                        <a:cs typeface="Times New Roman"/>
                      </a:endParaRPr>
                    </a:p>
                    <a:p>
                      <a:pPr>
                        <a:lnSpc>
                          <a:spcPct val="100000"/>
                        </a:lnSpc>
                      </a:pPr>
                      <a:endParaRPr sz="900">
                        <a:latin typeface="Times New Roman"/>
                        <a:cs typeface="Times New Roman"/>
                      </a:endParaRPr>
                    </a:p>
                    <a:p>
                      <a:pPr marL="333375">
                        <a:lnSpc>
                          <a:spcPct val="100000"/>
                        </a:lnSpc>
                        <a:spcBef>
                          <a:spcPts val="540"/>
                        </a:spcBef>
                      </a:pPr>
                      <a:r>
                        <a:rPr sz="900" dirty="0">
                          <a:latin typeface="Calibri"/>
                          <a:cs typeface="Calibri"/>
                        </a:rPr>
                        <a:t>0</a:t>
                      </a:r>
                      <a:endParaRPr sz="900">
                        <a:latin typeface="Calibri"/>
                        <a:cs typeface="Calibri"/>
                      </a:endParaRPr>
                    </a:p>
                  </a:txBody>
                  <a:tcPr marL="0" marR="0" marT="55880" marB="0">
                    <a:lnL w="19050">
                      <a:solidFill>
                        <a:srgbClr val="000000"/>
                      </a:solidFill>
                      <a:prstDash val="solid"/>
                    </a:lnL>
                    <a:lnR w="19050">
                      <a:solidFill>
                        <a:srgbClr val="000000"/>
                      </a:solidFill>
                      <a:prstDash val="solid"/>
                    </a:lnR>
                    <a:lnT w="19050">
                      <a:solidFill>
                        <a:srgbClr val="000000"/>
                      </a:solidFill>
                      <a:prstDash val="solid"/>
                    </a:lnT>
                    <a:lnB w="19050">
                      <a:solidFill>
                        <a:srgbClr val="000000"/>
                      </a:solidFill>
                      <a:prstDash val="solid"/>
                    </a:lnB>
                  </a:tcPr>
                </a:tc>
                <a:tc>
                  <a:txBody>
                    <a:bodyPr/>
                    <a:lstStyle/>
                    <a:p>
                      <a:pPr marL="259715">
                        <a:lnSpc>
                          <a:spcPct val="100000"/>
                        </a:lnSpc>
                        <a:spcBef>
                          <a:spcPts val="440"/>
                        </a:spcBef>
                      </a:pPr>
                      <a:r>
                        <a:rPr sz="900" dirty="0">
                          <a:latin typeface="Calibri"/>
                          <a:cs typeface="Calibri"/>
                        </a:rPr>
                        <a:t>1</a:t>
                      </a:r>
                      <a:endParaRPr sz="900">
                        <a:latin typeface="Calibri"/>
                        <a:cs typeface="Calibri"/>
                      </a:endParaRPr>
                    </a:p>
                    <a:p>
                      <a:pPr>
                        <a:lnSpc>
                          <a:spcPct val="100000"/>
                        </a:lnSpc>
                      </a:pPr>
                      <a:endParaRPr sz="900">
                        <a:latin typeface="Times New Roman"/>
                        <a:cs typeface="Times New Roman"/>
                      </a:endParaRPr>
                    </a:p>
                    <a:p>
                      <a:pPr>
                        <a:lnSpc>
                          <a:spcPct val="100000"/>
                        </a:lnSpc>
                      </a:pPr>
                      <a:endParaRPr sz="900">
                        <a:latin typeface="Times New Roman"/>
                        <a:cs typeface="Times New Roman"/>
                      </a:endParaRPr>
                    </a:p>
                    <a:p>
                      <a:pPr>
                        <a:lnSpc>
                          <a:spcPct val="100000"/>
                        </a:lnSpc>
                      </a:pPr>
                      <a:endParaRPr sz="900">
                        <a:latin typeface="Times New Roman"/>
                        <a:cs typeface="Times New Roman"/>
                      </a:endParaRPr>
                    </a:p>
                    <a:p>
                      <a:pPr>
                        <a:lnSpc>
                          <a:spcPct val="100000"/>
                        </a:lnSpc>
                      </a:pPr>
                      <a:endParaRPr sz="900">
                        <a:latin typeface="Times New Roman"/>
                        <a:cs typeface="Times New Roman"/>
                      </a:endParaRPr>
                    </a:p>
                    <a:p>
                      <a:pPr marL="259715">
                        <a:lnSpc>
                          <a:spcPct val="100000"/>
                        </a:lnSpc>
                        <a:spcBef>
                          <a:spcPts val="540"/>
                        </a:spcBef>
                      </a:pPr>
                      <a:r>
                        <a:rPr sz="900" dirty="0">
                          <a:latin typeface="Calibri"/>
                          <a:cs typeface="Calibri"/>
                        </a:rPr>
                        <a:t>0</a:t>
                      </a:r>
                      <a:endParaRPr sz="900">
                        <a:latin typeface="Calibri"/>
                        <a:cs typeface="Calibri"/>
                      </a:endParaRPr>
                    </a:p>
                  </a:txBody>
                  <a:tcPr marL="0" marR="0" marT="55880" marB="0">
                    <a:lnL w="19050">
                      <a:solidFill>
                        <a:srgbClr val="000000"/>
                      </a:solidFill>
                      <a:prstDash val="solid"/>
                    </a:lnL>
                    <a:lnR w="19050">
                      <a:solidFill>
                        <a:srgbClr val="000000"/>
                      </a:solidFill>
                      <a:prstDash val="solid"/>
                    </a:lnR>
                    <a:lnT w="19050">
                      <a:solidFill>
                        <a:srgbClr val="000000"/>
                      </a:solidFill>
                      <a:prstDash val="solid"/>
                    </a:lnT>
                    <a:lnB w="19050">
                      <a:solidFill>
                        <a:srgbClr val="000000"/>
                      </a:solidFill>
                      <a:prstDash val="solid"/>
                    </a:lnB>
                    <a:solidFill>
                      <a:srgbClr val="FFFFFF"/>
                    </a:solidFill>
                  </a:tcPr>
                </a:tc>
                <a:extLst>
                  <a:ext uri="{0D108BD9-81ED-4DB2-BD59-A6C34878D82A}">
                    <a16:rowId xmlns:a16="http://schemas.microsoft.com/office/drawing/2014/main" val="10005"/>
                  </a:ext>
                </a:extLst>
              </a:tr>
            </a:tbl>
          </a:graphicData>
        </a:graphic>
      </p:graphicFrame>
      <p:grpSp>
        <p:nvGrpSpPr>
          <p:cNvPr id="67" name="object 67"/>
          <p:cNvGrpSpPr/>
          <p:nvPr/>
        </p:nvGrpSpPr>
        <p:grpSpPr>
          <a:xfrm>
            <a:off x="9384167" y="5904995"/>
            <a:ext cx="1728470" cy="757555"/>
            <a:chOff x="9384167" y="5904995"/>
            <a:chExt cx="1728470" cy="757555"/>
          </a:xfrm>
        </p:grpSpPr>
        <p:sp>
          <p:nvSpPr>
            <p:cNvPr id="68" name="object 68"/>
            <p:cNvSpPr/>
            <p:nvPr/>
          </p:nvSpPr>
          <p:spPr>
            <a:xfrm>
              <a:off x="9384167" y="5921751"/>
              <a:ext cx="1711960" cy="730885"/>
            </a:xfrm>
            <a:custGeom>
              <a:avLst/>
              <a:gdLst/>
              <a:ahLst/>
              <a:cxnLst/>
              <a:rect l="l" t="t" r="r" b="b"/>
              <a:pathLst>
                <a:path w="1711959" h="730884">
                  <a:moveTo>
                    <a:pt x="33425" y="0"/>
                  </a:moveTo>
                  <a:lnTo>
                    <a:pt x="1711371" y="0"/>
                  </a:lnTo>
                </a:path>
                <a:path w="1711959" h="730884">
                  <a:moveTo>
                    <a:pt x="33425" y="730576"/>
                  </a:moveTo>
                  <a:lnTo>
                    <a:pt x="33425" y="0"/>
                  </a:lnTo>
                </a:path>
                <a:path w="1711959" h="730884">
                  <a:moveTo>
                    <a:pt x="0" y="730576"/>
                  </a:moveTo>
                  <a:lnTo>
                    <a:pt x="33425" y="730576"/>
                  </a:lnTo>
                </a:path>
                <a:path w="1711959" h="730884">
                  <a:moveTo>
                    <a:pt x="0" y="0"/>
                  </a:moveTo>
                  <a:lnTo>
                    <a:pt x="33425" y="0"/>
                  </a:lnTo>
                </a:path>
                <a:path w="1711959" h="730884">
                  <a:moveTo>
                    <a:pt x="33425" y="730576"/>
                  </a:moveTo>
                  <a:lnTo>
                    <a:pt x="1711371" y="730576"/>
                  </a:lnTo>
                </a:path>
              </a:pathLst>
            </a:custGeom>
            <a:ln w="6700">
              <a:solidFill>
                <a:srgbClr val="85858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9" name="object 69"/>
            <p:cNvSpPr/>
            <p:nvPr/>
          </p:nvSpPr>
          <p:spPr>
            <a:xfrm>
              <a:off x="9414243" y="5905004"/>
              <a:ext cx="1290320" cy="757555"/>
            </a:xfrm>
            <a:custGeom>
              <a:avLst/>
              <a:gdLst/>
              <a:ahLst/>
              <a:cxnLst/>
              <a:rect l="l" t="t" r="r" b="b"/>
              <a:pathLst>
                <a:path w="1290320" h="757554">
                  <a:moveTo>
                    <a:pt x="33426" y="7505"/>
                  </a:moveTo>
                  <a:lnTo>
                    <a:pt x="25958" y="0"/>
                  </a:lnTo>
                  <a:lnTo>
                    <a:pt x="7467" y="0"/>
                  </a:lnTo>
                  <a:lnTo>
                    <a:pt x="0" y="7505"/>
                  </a:lnTo>
                  <a:lnTo>
                    <a:pt x="0" y="26009"/>
                  </a:lnTo>
                  <a:lnTo>
                    <a:pt x="7467" y="33515"/>
                  </a:lnTo>
                  <a:lnTo>
                    <a:pt x="25958" y="33515"/>
                  </a:lnTo>
                  <a:lnTo>
                    <a:pt x="33426" y="26009"/>
                  </a:lnTo>
                  <a:lnTo>
                    <a:pt x="33426" y="16751"/>
                  </a:lnTo>
                  <a:lnTo>
                    <a:pt x="33426" y="7505"/>
                  </a:lnTo>
                  <a:close/>
                </a:path>
                <a:path w="1290320" h="757554">
                  <a:moveTo>
                    <a:pt x="53479" y="369443"/>
                  </a:moveTo>
                  <a:lnTo>
                    <a:pt x="46012" y="361937"/>
                  </a:lnTo>
                  <a:lnTo>
                    <a:pt x="27520" y="361937"/>
                  </a:lnTo>
                  <a:lnTo>
                    <a:pt x="20053" y="369443"/>
                  </a:lnTo>
                  <a:lnTo>
                    <a:pt x="20053" y="387946"/>
                  </a:lnTo>
                  <a:lnTo>
                    <a:pt x="27520" y="395452"/>
                  </a:lnTo>
                  <a:lnTo>
                    <a:pt x="46012" y="395452"/>
                  </a:lnTo>
                  <a:lnTo>
                    <a:pt x="53479" y="387946"/>
                  </a:lnTo>
                  <a:lnTo>
                    <a:pt x="53479" y="378688"/>
                  </a:lnTo>
                  <a:lnTo>
                    <a:pt x="53479" y="369443"/>
                  </a:lnTo>
                  <a:close/>
                </a:path>
                <a:path w="1290320" h="757554">
                  <a:moveTo>
                    <a:pt x="66852" y="731380"/>
                  </a:moveTo>
                  <a:lnTo>
                    <a:pt x="59385" y="723874"/>
                  </a:lnTo>
                  <a:lnTo>
                    <a:pt x="40894" y="723874"/>
                  </a:lnTo>
                  <a:lnTo>
                    <a:pt x="33426" y="731380"/>
                  </a:lnTo>
                  <a:lnTo>
                    <a:pt x="33426" y="749884"/>
                  </a:lnTo>
                  <a:lnTo>
                    <a:pt x="40894" y="757377"/>
                  </a:lnTo>
                  <a:lnTo>
                    <a:pt x="59385" y="757377"/>
                  </a:lnTo>
                  <a:lnTo>
                    <a:pt x="66852" y="749884"/>
                  </a:lnTo>
                  <a:lnTo>
                    <a:pt x="66852" y="740625"/>
                  </a:lnTo>
                  <a:lnTo>
                    <a:pt x="66852" y="731380"/>
                  </a:lnTo>
                  <a:close/>
                </a:path>
                <a:path w="1290320" h="757554">
                  <a:moveTo>
                    <a:pt x="86906" y="7505"/>
                  </a:moveTo>
                  <a:lnTo>
                    <a:pt x="79438" y="0"/>
                  </a:lnTo>
                  <a:lnTo>
                    <a:pt x="60947" y="0"/>
                  </a:lnTo>
                  <a:lnTo>
                    <a:pt x="53479" y="7505"/>
                  </a:lnTo>
                  <a:lnTo>
                    <a:pt x="53479" y="26009"/>
                  </a:lnTo>
                  <a:lnTo>
                    <a:pt x="60947" y="33515"/>
                  </a:lnTo>
                  <a:lnTo>
                    <a:pt x="79438" y="33515"/>
                  </a:lnTo>
                  <a:lnTo>
                    <a:pt x="86906" y="26009"/>
                  </a:lnTo>
                  <a:lnTo>
                    <a:pt x="86906" y="16751"/>
                  </a:lnTo>
                  <a:lnTo>
                    <a:pt x="86906" y="7505"/>
                  </a:lnTo>
                  <a:close/>
                </a:path>
                <a:path w="1290320" h="757554">
                  <a:moveTo>
                    <a:pt x="100279" y="369443"/>
                  </a:moveTo>
                  <a:lnTo>
                    <a:pt x="92811" y="361937"/>
                  </a:lnTo>
                  <a:lnTo>
                    <a:pt x="74320" y="361937"/>
                  </a:lnTo>
                  <a:lnTo>
                    <a:pt x="66852" y="369443"/>
                  </a:lnTo>
                  <a:lnTo>
                    <a:pt x="66852" y="387946"/>
                  </a:lnTo>
                  <a:lnTo>
                    <a:pt x="74320" y="395452"/>
                  </a:lnTo>
                  <a:lnTo>
                    <a:pt x="92811" y="395452"/>
                  </a:lnTo>
                  <a:lnTo>
                    <a:pt x="100279" y="387946"/>
                  </a:lnTo>
                  <a:lnTo>
                    <a:pt x="100279" y="378688"/>
                  </a:lnTo>
                  <a:lnTo>
                    <a:pt x="100279" y="369443"/>
                  </a:lnTo>
                  <a:close/>
                </a:path>
                <a:path w="1290320" h="757554">
                  <a:moveTo>
                    <a:pt x="120332" y="731380"/>
                  </a:moveTo>
                  <a:lnTo>
                    <a:pt x="112864" y="723874"/>
                  </a:lnTo>
                  <a:lnTo>
                    <a:pt x="94373" y="723874"/>
                  </a:lnTo>
                  <a:lnTo>
                    <a:pt x="86906" y="731380"/>
                  </a:lnTo>
                  <a:lnTo>
                    <a:pt x="86906" y="749884"/>
                  </a:lnTo>
                  <a:lnTo>
                    <a:pt x="94373" y="757377"/>
                  </a:lnTo>
                  <a:lnTo>
                    <a:pt x="112864" y="757377"/>
                  </a:lnTo>
                  <a:lnTo>
                    <a:pt x="120332" y="749884"/>
                  </a:lnTo>
                  <a:lnTo>
                    <a:pt x="120332" y="740625"/>
                  </a:lnTo>
                  <a:lnTo>
                    <a:pt x="120332" y="731380"/>
                  </a:lnTo>
                  <a:close/>
                </a:path>
                <a:path w="1290320" h="757554">
                  <a:moveTo>
                    <a:pt x="133705" y="7505"/>
                  </a:moveTo>
                  <a:lnTo>
                    <a:pt x="126238" y="0"/>
                  </a:lnTo>
                  <a:lnTo>
                    <a:pt x="107746" y="0"/>
                  </a:lnTo>
                  <a:lnTo>
                    <a:pt x="100279" y="7505"/>
                  </a:lnTo>
                  <a:lnTo>
                    <a:pt x="100279" y="26009"/>
                  </a:lnTo>
                  <a:lnTo>
                    <a:pt x="107746" y="33515"/>
                  </a:lnTo>
                  <a:lnTo>
                    <a:pt x="126238" y="33515"/>
                  </a:lnTo>
                  <a:lnTo>
                    <a:pt x="133705" y="26009"/>
                  </a:lnTo>
                  <a:lnTo>
                    <a:pt x="133705" y="16751"/>
                  </a:lnTo>
                  <a:lnTo>
                    <a:pt x="133705" y="7505"/>
                  </a:lnTo>
                  <a:close/>
                </a:path>
                <a:path w="1290320" h="757554">
                  <a:moveTo>
                    <a:pt x="153758" y="369443"/>
                  </a:moveTo>
                  <a:lnTo>
                    <a:pt x="146291" y="361937"/>
                  </a:lnTo>
                  <a:lnTo>
                    <a:pt x="127800" y="361937"/>
                  </a:lnTo>
                  <a:lnTo>
                    <a:pt x="120332" y="369443"/>
                  </a:lnTo>
                  <a:lnTo>
                    <a:pt x="120332" y="387946"/>
                  </a:lnTo>
                  <a:lnTo>
                    <a:pt x="127800" y="395452"/>
                  </a:lnTo>
                  <a:lnTo>
                    <a:pt x="146291" y="395452"/>
                  </a:lnTo>
                  <a:lnTo>
                    <a:pt x="153758" y="387946"/>
                  </a:lnTo>
                  <a:lnTo>
                    <a:pt x="153758" y="378688"/>
                  </a:lnTo>
                  <a:lnTo>
                    <a:pt x="153758" y="369443"/>
                  </a:lnTo>
                  <a:close/>
                </a:path>
                <a:path w="1290320" h="757554">
                  <a:moveTo>
                    <a:pt x="167132" y="731380"/>
                  </a:moveTo>
                  <a:lnTo>
                    <a:pt x="159664" y="723874"/>
                  </a:lnTo>
                  <a:lnTo>
                    <a:pt x="141160" y="723874"/>
                  </a:lnTo>
                  <a:lnTo>
                    <a:pt x="133705" y="731380"/>
                  </a:lnTo>
                  <a:lnTo>
                    <a:pt x="133705" y="749884"/>
                  </a:lnTo>
                  <a:lnTo>
                    <a:pt x="141160" y="757377"/>
                  </a:lnTo>
                  <a:lnTo>
                    <a:pt x="159664" y="757377"/>
                  </a:lnTo>
                  <a:lnTo>
                    <a:pt x="167132" y="749884"/>
                  </a:lnTo>
                  <a:lnTo>
                    <a:pt x="167132" y="740625"/>
                  </a:lnTo>
                  <a:lnTo>
                    <a:pt x="167132" y="731380"/>
                  </a:lnTo>
                  <a:close/>
                </a:path>
                <a:path w="1290320" h="757554">
                  <a:moveTo>
                    <a:pt x="187185" y="7505"/>
                  </a:moveTo>
                  <a:lnTo>
                    <a:pt x="179717" y="0"/>
                  </a:lnTo>
                  <a:lnTo>
                    <a:pt x="161226" y="0"/>
                  </a:lnTo>
                  <a:lnTo>
                    <a:pt x="153758" y="7505"/>
                  </a:lnTo>
                  <a:lnTo>
                    <a:pt x="153758" y="26009"/>
                  </a:lnTo>
                  <a:lnTo>
                    <a:pt x="161226" y="33515"/>
                  </a:lnTo>
                  <a:lnTo>
                    <a:pt x="179717" y="33515"/>
                  </a:lnTo>
                  <a:lnTo>
                    <a:pt x="187185" y="26009"/>
                  </a:lnTo>
                  <a:lnTo>
                    <a:pt x="187185" y="16751"/>
                  </a:lnTo>
                  <a:lnTo>
                    <a:pt x="187185" y="7505"/>
                  </a:lnTo>
                  <a:close/>
                </a:path>
                <a:path w="1290320" h="757554">
                  <a:moveTo>
                    <a:pt x="200558" y="369443"/>
                  </a:moveTo>
                  <a:lnTo>
                    <a:pt x="193090" y="361937"/>
                  </a:lnTo>
                  <a:lnTo>
                    <a:pt x="174586" y="361937"/>
                  </a:lnTo>
                  <a:lnTo>
                    <a:pt x="167132" y="369443"/>
                  </a:lnTo>
                  <a:lnTo>
                    <a:pt x="167132" y="387946"/>
                  </a:lnTo>
                  <a:lnTo>
                    <a:pt x="174586" y="395452"/>
                  </a:lnTo>
                  <a:lnTo>
                    <a:pt x="193090" y="395452"/>
                  </a:lnTo>
                  <a:lnTo>
                    <a:pt x="200558" y="387946"/>
                  </a:lnTo>
                  <a:lnTo>
                    <a:pt x="200558" y="378688"/>
                  </a:lnTo>
                  <a:lnTo>
                    <a:pt x="200558" y="369443"/>
                  </a:lnTo>
                  <a:close/>
                </a:path>
                <a:path w="1290320" h="757554">
                  <a:moveTo>
                    <a:pt x="220611" y="731380"/>
                  </a:moveTo>
                  <a:lnTo>
                    <a:pt x="213144" y="723874"/>
                  </a:lnTo>
                  <a:lnTo>
                    <a:pt x="194652" y="723874"/>
                  </a:lnTo>
                  <a:lnTo>
                    <a:pt x="187185" y="731380"/>
                  </a:lnTo>
                  <a:lnTo>
                    <a:pt x="187185" y="749884"/>
                  </a:lnTo>
                  <a:lnTo>
                    <a:pt x="194652" y="757377"/>
                  </a:lnTo>
                  <a:lnTo>
                    <a:pt x="213144" y="757377"/>
                  </a:lnTo>
                  <a:lnTo>
                    <a:pt x="220611" y="749884"/>
                  </a:lnTo>
                  <a:lnTo>
                    <a:pt x="220611" y="740625"/>
                  </a:lnTo>
                  <a:lnTo>
                    <a:pt x="220611" y="731380"/>
                  </a:lnTo>
                  <a:close/>
                </a:path>
                <a:path w="1290320" h="757554">
                  <a:moveTo>
                    <a:pt x="233972" y="7505"/>
                  </a:moveTo>
                  <a:lnTo>
                    <a:pt x="226517" y="0"/>
                  </a:lnTo>
                  <a:lnTo>
                    <a:pt x="208013" y="0"/>
                  </a:lnTo>
                  <a:lnTo>
                    <a:pt x="200558" y="7505"/>
                  </a:lnTo>
                  <a:lnTo>
                    <a:pt x="200558" y="26009"/>
                  </a:lnTo>
                  <a:lnTo>
                    <a:pt x="208013" y="33515"/>
                  </a:lnTo>
                  <a:lnTo>
                    <a:pt x="226517" y="33515"/>
                  </a:lnTo>
                  <a:lnTo>
                    <a:pt x="233972" y="26009"/>
                  </a:lnTo>
                  <a:lnTo>
                    <a:pt x="233972" y="16751"/>
                  </a:lnTo>
                  <a:lnTo>
                    <a:pt x="233972" y="7505"/>
                  </a:lnTo>
                  <a:close/>
                </a:path>
                <a:path w="1290320" h="757554">
                  <a:moveTo>
                    <a:pt x="254038" y="369443"/>
                  </a:moveTo>
                  <a:lnTo>
                    <a:pt x="246570" y="361937"/>
                  </a:lnTo>
                  <a:lnTo>
                    <a:pt x="228066" y="361937"/>
                  </a:lnTo>
                  <a:lnTo>
                    <a:pt x="220611" y="369443"/>
                  </a:lnTo>
                  <a:lnTo>
                    <a:pt x="220611" y="387946"/>
                  </a:lnTo>
                  <a:lnTo>
                    <a:pt x="228066" y="395452"/>
                  </a:lnTo>
                  <a:lnTo>
                    <a:pt x="246570" y="395452"/>
                  </a:lnTo>
                  <a:lnTo>
                    <a:pt x="254038" y="387946"/>
                  </a:lnTo>
                  <a:lnTo>
                    <a:pt x="254038" y="378688"/>
                  </a:lnTo>
                  <a:lnTo>
                    <a:pt x="254038" y="369443"/>
                  </a:lnTo>
                  <a:close/>
                </a:path>
                <a:path w="1290320" h="757554">
                  <a:moveTo>
                    <a:pt x="267398" y="731380"/>
                  </a:moveTo>
                  <a:lnTo>
                    <a:pt x="259943" y="723874"/>
                  </a:lnTo>
                  <a:lnTo>
                    <a:pt x="241439" y="723874"/>
                  </a:lnTo>
                  <a:lnTo>
                    <a:pt x="233972" y="731380"/>
                  </a:lnTo>
                  <a:lnTo>
                    <a:pt x="233972" y="749884"/>
                  </a:lnTo>
                  <a:lnTo>
                    <a:pt x="241439" y="757377"/>
                  </a:lnTo>
                  <a:lnTo>
                    <a:pt x="259943" y="757377"/>
                  </a:lnTo>
                  <a:lnTo>
                    <a:pt x="267398" y="749884"/>
                  </a:lnTo>
                  <a:lnTo>
                    <a:pt x="267398" y="740625"/>
                  </a:lnTo>
                  <a:lnTo>
                    <a:pt x="267398" y="731380"/>
                  </a:lnTo>
                  <a:close/>
                </a:path>
                <a:path w="1290320" h="757554">
                  <a:moveTo>
                    <a:pt x="287451" y="7505"/>
                  </a:moveTo>
                  <a:lnTo>
                    <a:pt x="279996" y="0"/>
                  </a:lnTo>
                  <a:lnTo>
                    <a:pt x="261493" y="0"/>
                  </a:lnTo>
                  <a:lnTo>
                    <a:pt x="254038" y="7505"/>
                  </a:lnTo>
                  <a:lnTo>
                    <a:pt x="254038" y="26009"/>
                  </a:lnTo>
                  <a:lnTo>
                    <a:pt x="261493" y="33515"/>
                  </a:lnTo>
                  <a:lnTo>
                    <a:pt x="279996" y="33515"/>
                  </a:lnTo>
                  <a:lnTo>
                    <a:pt x="287451" y="26009"/>
                  </a:lnTo>
                  <a:lnTo>
                    <a:pt x="287451" y="16751"/>
                  </a:lnTo>
                  <a:lnTo>
                    <a:pt x="287451" y="7505"/>
                  </a:lnTo>
                  <a:close/>
                </a:path>
                <a:path w="1290320" h="757554">
                  <a:moveTo>
                    <a:pt x="300824" y="369443"/>
                  </a:moveTo>
                  <a:lnTo>
                    <a:pt x="293357" y="361937"/>
                  </a:lnTo>
                  <a:lnTo>
                    <a:pt x="274866" y="361937"/>
                  </a:lnTo>
                  <a:lnTo>
                    <a:pt x="267398" y="369443"/>
                  </a:lnTo>
                  <a:lnTo>
                    <a:pt x="267398" y="387946"/>
                  </a:lnTo>
                  <a:lnTo>
                    <a:pt x="274866" y="395452"/>
                  </a:lnTo>
                  <a:lnTo>
                    <a:pt x="293357" y="395452"/>
                  </a:lnTo>
                  <a:lnTo>
                    <a:pt x="300824" y="387946"/>
                  </a:lnTo>
                  <a:lnTo>
                    <a:pt x="300824" y="378688"/>
                  </a:lnTo>
                  <a:lnTo>
                    <a:pt x="300824" y="369443"/>
                  </a:lnTo>
                  <a:close/>
                </a:path>
                <a:path w="1290320" h="757554">
                  <a:moveTo>
                    <a:pt x="320878" y="731380"/>
                  </a:moveTo>
                  <a:lnTo>
                    <a:pt x="313423" y="723874"/>
                  </a:lnTo>
                  <a:lnTo>
                    <a:pt x="294919" y="723874"/>
                  </a:lnTo>
                  <a:lnTo>
                    <a:pt x="287451" y="731380"/>
                  </a:lnTo>
                  <a:lnTo>
                    <a:pt x="287451" y="749884"/>
                  </a:lnTo>
                  <a:lnTo>
                    <a:pt x="294919" y="757377"/>
                  </a:lnTo>
                  <a:lnTo>
                    <a:pt x="313423" y="757377"/>
                  </a:lnTo>
                  <a:lnTo>
                    <a:pt x="320878" y="749884"/>
                  </a:lnTo>
                  <a:lnTo>
                    <a:pt x="320878" y="740625"/>
                  </a:lnTo>
                  <a:lnTo>
                    <a:pt x="320878" y="731380"/>
                  </a:lnTo>
                  <a:close/>
                </a:path>
                <a:path w="1290320" h="757554">
                  <a:moveTo>
                    <a:pt x="334251" y="7505"/>
                  </a:moveTo>
                  <a:lnTo>
                    <a:pt x="326783" y="0"/>
                  </a:lnTo>
                  <a:lnTo>
                    <a:pt x="308292" y="0"/>
                  </a:lnTo>
                  <a:lnTo>
                    <a:pt x="300824" y="7505"/>
                  </a:lnTo>
                  <a:lnTo>
                    <a:pt x="300824" y="26009"/>
                  </a:lnTo>
                  <a:lnTo>
                    <a:pt x="308292" y="33515"/>
                  </a:lnTo>
                  <a:lnTo>
                    <a:pt x="326783" y="33515"/>
                  </a:lnTo>
                  <a:lnTo>
                    <a:pt x="334251" y="26009"/>
                  </a:lnTo>
                  <a:lnTo>
                    <a:pt x="334251" y="16751"/>
                  </a:lnTo>
                  <a:lnTo>
                    <a:pt x="334251" y="7505"/>
                  </a:lnTo>
                  <a:close/>
                </a:path>
                <a:path w="1290320" h="757554">
                  <a:moveTo>
                    <a:pt x="354304" y="369443"/>
                  </a:moveTo>
                  <a:lnTo>
                    <a:pt x="346837" y="361937"/>
                  </a:lnTo>
                  <a:lnTo>
                    <a:pt x="328345" y="361937"/>
                  </a:lnTo>
                  <a:lnTo>
                    <a:pt x="320878" y="369443"/>
                  </a:lnTo>
                  <a:lnTo>
                    <a:pt x="320878" y="387946"/>
                  </a:lnTo>
                  <a:lnTo>
                    <a:pt x="328345" y="395452"/>
                  </a:lnTo>
                  <a:lnTo>
                    <a:pt x="346837" y="395452"/>
                  </a:lnTo>
                  <a:lnTo>
                    <a:pt x="354304" y="387946"/>
                  </a:lnTo>
                  <a:lnTo>
                    <a:pt x="354304" y="378688"/>
                  </a:lnTo>
                  <a:lnTo>
                    <a:pt x="354304" y="369443"/>
                  </a:lnTo>
                  <a:close/>
                </a:path>
                <a:path w="1290320" h="757554">
                  <a:moveTo>
                    <a:pt x="367677" y="731380"/>
                  </a:moveTo>
                  <a:lnTo>
                    <a:pt x="360210" y="723874"/>
                  </a:lnTo>
                  <a:lnTo>
                    <a:pt x="341718" y="723874"/>
                  </a:lnTo>
                  <a:lnTo>
                    <a:pt x="334251" y="731380"/>
                  </a:lnTo>
                  <a:lnTo>
                    <a:pt x="334251" y="749884"/>
                  </a:lnTo>
                  <a:lnTo>
                    <a:pt x="341718" y="757377"/>
                  </a:lnTo>
                  <a:lnTo>
                    <a:pt x="360210" y="757377"/>
                  </a:lnTo>
                  <a:lnTo>
                    <a:pt x="367677" y="749884"/>
                  </a:lnTo>
                  <a:lnTo>
                    <a:pt x="367677" y="740625"/>
                  </a:lnTo>
                  <a:lnTo>
                    <a:pt x="367677" y="731380"/>
                  </a:lnTo>
                  <a:close/>
                </a:path>
                <a:path w="1290320" h="757554">
                  <a:moveTo>
                    <a:pt x="387731" y="7505"/>
                  </a:moveTo>
                  <a:lnTo>
                    <a:pt x="380263" y="0"/>
                  </a:lnTo>
                  <a:lnTo>
                    <a:pt x="361772" y="0"/>
                  </a:lnTo>
                  <a:lnTo>
                    <a:pt x="354304" y="7505"/>
                  </a:lnTo>
                  <a:lnTo>
                    <a:pt x="354304" y="26009"/>
                  </a:lnTo>
                  <a:lnTo>
                    <a:pt x="361772" y="33515"/>
                  </a:lnTo>
                  <a:lnTo>
                    <a:pt x="380263" y="33515"/>
                  </a:lnTo>
                  <a:lnTo>
                    <a:pt x="387731" y="26009"/>
                  </a:lnTo>
                  <a:lnTo>
                    <a:pt x="387731" y="16751"/>
                  </a:lnTo>
                  <a:lnTo>
                    <a:pt x="387731" y="7505"/>
                  </a:lnTo>
                  <a:close/>
                </a:path>
                <a:path w="1290320" h="757554">
                  <a:moveTo>
                    <a:pt x="401104" y="369443"/>
                  </a:moveTo>
                  <a:lnTo>
                    <a:pt x="393636" y="361937"/>
                  </a:lnTo>
                  <a:lnTo>
                    <a:pt x="375145" y="361937"/>
                  </a:lnTo>
                  <a:lnTo>
                    <a:pt x="367677" y="369443"/>
                  </a:lnTo>
                  <a:lnTo>
                    <a:pt x="367677" y="387946"/>
                  </a:lnTo>
                  <a:lnTo>
                    <a:pt x="375145" y="395452"/>
                  </a:lnTo>
                  <a:lnTo>
                    <a:pt x="393636" y="395452"/>
                  </a:lnTo>
                  <a:lnTo>
                    <a:pt x="401104" y="387946"/>
                  </a:lnTo>
                  <a:lnTo>
                    <a:pt x="401104" y="378688"/>
                  </a:lnTo>
                  <a:lnTo>
                    <a:pt x="401104" y="369443"/>
                  </a:lnTo>
                  <a:close/>
                </a:path>
                <a:path w="1290320" h="757554">
                  <a:moveTo>
                    <a:pt x="421157" y="731380"/>
                  </a:moveTo>
                  <a:lnTo>
                    <a:pt x="413689" y="723874"/>
                  </a:lnTo>
                  <a:lnTo>
                    <a:pt x="395198" y="723874"/>
                  </a:lnTo>
                  <a:lnTo>
                    <a:pt x="387731" y="731380"/>
                  </a:lnTo>
                  <a:lnTo>
                    <a:pt x="387731" y="749884"/>
                  </a:lnTo>
                  <a:lnTo>
                    <a:pt x="395198" y="757377"/>
                  </a:lnTo>
                  <a:lnTo>
                    <a:pt x="413689" y="757377"/>
                  </a:lnTo>
                  <a:lnTo>
                    <a:pt x="421157" y="749884"/>
                  </a:lnTo>
                  <a:lnTo>
                    <a:pt x="421157" y="740625"/>
                  </a:lnTo>
                  <a:lnTo>
                    <a:pt x="421157" y="731380"/>
                  </a:lnTo>
                  <a:close/>
                </a:path>
                <a:path w="1290320" h="757554">
                  <a:moveTo>
                    <a:pt x="434530" y="7505"/>
                  </a:moveTo>
                  <a:lnTo>
                    <a:pt x="427062" y="0"/>
                  </a:lnTo>
                  <a:lnTo>
                    <a:pt x="408571" y="0"/>
                  </a:lnTo>
                  <a:lnTo>
                    <a:pt x="401104" y="7505"/>
                  </a:lnTo>
                  <a:lnTo>
                    <a:pt x="401104" y="26009"/>
                  </a:lnTo>
                  <a:lnTo>
                    <a:pt x="408571" y="33515"/>
                  </a:lnTo>
                  <a:lnTo>
                    <a:pt x="427062" y="33515"/>
                  </a:lnTo>
                  <a:lnTo>
                    <a:pt x="434530" y="26009"/>
                  </a:lnTo>
                  <a:lnTo>
                    <a:pt x="434530" y="16751"/>
                  </a:lnTo>
                  <a:lnTo>
                    <a:pt x="434530" y="7505"/>
                  </a:lnTo>
                  <a:close/>
                </a:path>
                <a:path w="1290320" h="757554">
                  <a:moveTo>
                    <a:pt x="454583" y="369443"/>
                  </a:moveTo>
                  <a:lnTo>
                    <a:pt x="447116" y="361937"/>
                  </a:lnTo>
                  <a:lnTo>
                    <a:pt x="428625" y="361937"/>
                  </a:lnTo>
                  <a:lnTo>
                    <a:pt x="421157" y="369443"/>
                  </a:lnTo>
                  <a:lnTo>
                    <a:pt x="421157" y="387946"/>
                  </a:lnTo>
                  <a:lnTo>
                    <a:pt x="428625" y="395452"/>
                  </a:lnTo>
                  <a:lnTo>
                    <a:pt x="447116" y="395452"/>
                  </a:lnTo>
                  <a:lnTo>
                    <a:pt x="454583" y="387946"/>
                  </a:lnTo>
                  <a:lnTo>
                    <a:pt x="454583" y="378688"/>
                  </a:lnTo>
                  <a:lnTo>
                    <a:pt x="454583" y="369443"/>
                  </a:lnTo>
                  <a:close/>
                </a:path>
                <a:path w="1290320" h="757554">
                  <a:moveTo>
                    <a:pt x="467956" y="731380"/>
                  </a:moveTo>
                  <a:lnTo>
                    <a:pt x="460489" y="723874"/>
                  </a:lnTo>
                  <a:lnTo>
                    <a:pt x="441998" y="723874"/>
                  </a:lnTo>
                  <a:lnTo>
                    <a:pt x="434530" y="731380"/>
                  </a:lnTo>
                  <a:lnTo>
                    <a:pt x="434530" y="749884"/>
                  </a:lnTo>
                  <a:lnTo>
                    <a:pt x="441998" y="757377"/>
                  </a:lnTo>
                  <a:lnTo>
                    <a:pt x="460489" y="757377"/>
                  </a:lnTo>
                  <a:lnTo>
                    <a:pt x="467956" y="749884"/>
                  </a:lnTo>
                  <a:lnTo>
                    <a:pt x="467956" y="740625"/>
                  </a:lnTo>
                  <a:lnTo>
                    <a:pt x="467956" y="731380"/>
                  </a:lnTo>
                  <a:close/>
                </a:path>
                <a:path w="1290320" h="757554">
                  <a:moveTo>
                    <a:pt x="488010" y="7505"/>
                  </a:moveTo>
                  <a:lnTo>
                    <a:pt x="480542" y="0"/>
                  </a:lnTo>
                  <a:lnTo>
                    <a:pt x="462051" y="0"/>
                  </a:lnTo>
                  <a:lnTo>
                    <a:pt x="454583" y="7505"/>
                  </a:lnTo>
                  <a:lnTo>
                    <a:pt x="454583" y="26009"/>
                  </a:lnTo>
                  <a:lnTo>
                    <a:pt x="462051" y="33515"/>
                  </a:lnTo>
                  <a:lnTo>
                    <a:pt x="480542" y="33515"/>
                  </a:lnTo>
                  <a:lnTo>
                    <a:pt x="488010" y="26009"/>
                  </a:lnTo>
                  <a:lnTo>
                    <a:pt x="488010" y="16751"/>
                  </a:lnTo>
                  <a:lnTo>
                    <a:pt x="488010" y="7505"/>
                  </a:lnTo>
                  <a:close/>
                </a:path>
                <a:path w="1290320" h="757554">
                  <a:moveTo>
                    <a:pt x="508063" y="369443"/>
                  </a:moveTo>
                  <a:lnTo>
                    <a:pt x="500595" y="361937"/>
                  </a:lnTo>
                  <a:lnTo>
                    <a:pt x="482104" y="361937"/>
                  </a:lnTo>
                  <a:lnTo>
                    <a:pt x="474637" y="369443"/>
                  </a:lnTo>
                  <a:lnTo>
                    <a:pt x="474637" y="387946"/>
                  </a:lnTo>
                  <a:lnTo>
                    <a:pt x="482104" y="395452"/>
                  </a:lnTo>
                  <a:lnTo>
                    <a:pt x="500595" y="395452"/>
                  </a:lnTo>
                  <a:lnTo>
                    <a:pt x="508063" y="387946"/>
                  </a:lnTo>
                  <a:lnTo>
                    <a:pt x="508063" y="378688"/>
                  </a:lnTo>
                  <a:lnTo>
                    <a:pt x="508063" y="369443"/>
                  </a:lnTo>
                  <a:close/>
                </a:path>
                <a:path w="1290320" h="757554">
                  <a:moveTo>
                    <a:pt x="608342" y="7505"/>
                  </a:moveTo>
                  <a:lnTo>
                    <a:pt x="600875" y="0"/>
                  </a:lnTo>
                  <a:lnTo>
                    <a:pt x="582383" y="0"/>
                  </a:lnTo>
                  <a:lnTo>
                    <a:pt x="574916" y="7505"/>
                  </a:lnTo>
                  <a:lnTo>
                    <a:pt x="574916" y="26009"/>
                  </a:lnTo>
                  <a:lnTo>
                    <a:pt x="582383" y="33515"/>
                  </a:lnTo>
                  <a:lnTo>
                    <a:pt x="600875" y="33515"/>
                  </a:lnTo>
                  <a:lnTo>
                    <a:pt x="608342" y="26009"/>
                  </a:lnTo>
                  <a:lnTo>
                    <a:pt x="608342" y="16751"/>
                  </a:lnTo>
                  <a:lnTo>
                    <a:pt x="608342" y="7505"/>
                  </a:lnTo>
                  <a:close/>
                </a:path>
                <a:path w="1290320" h="757554">
                  <a:moveTo>
                    <a:pt x="621715" y="369443"/>
                  </a:moveTo>
                  <a:lnTo>
                    <a:pt x="614248" y="361937"/>
                  </a:lnTo>
                  <a:lnTo>
                    <a:pt x="595744" y="361937"/>
                  </a:lnTo>
                  <a:lnTo>
                    <a:pt x="588289" y="369443"/>
                  </a:lnTo>
                  <a:lnTo>
                    <a:pt x="588289" y="387946"/>
                  </a:lnTo>
                  <a:lnTo>
                    <a:pt x="595744" y="395452"/>
                  </a:lnTo>
                  <a:lnTo>
                    <a:pt x="614248" y="395452"/>
                  </a:lnTo>
                  <a:lnTo>
                    <a:pt x="621715" y="387946"/>
                  </a:lnTo>
                  <a:lnTo>
                    <a:pt x="621715" y="378688"/>
                  </a:lnTo>
                  <a:lnTo>
                    <a:pt x="621715" y="369443"/>
                  </a:lnTo>
                  <a:close/>
                </a:path>
                <a:path w="1290320" h="757554">
                  <a:moveTo>
                    <a:pt x="641769" y="731380"/>
                  </a:moveTo>
                  <a:lnTo>
                    <a:pt x="634301" y="723874"/>
                  </a:lnTo>
                  <a:lnTo>
                    <a:pt x="615810" y="723874"/>
                  </a:lnTo>
                  <a:lnTo>
                    <a:pt x="608342" y="731380"/>
                  </a:lnTo>
                  <a:lnTo>
                    <a:pt x="608342" y="749884"/>
                  </a:lnTo>
                  <a:lnTo>
                    <a:pt x="615810" y="757377"/>
                  </a:lnTo>
                  <a:lnTo>
                    <a:pt x="634301" y="757377"/>
                  </a:lnTo>
                  <a:lnTo>
                    <a:pt x="641769" y="749884"/>
                  </a:lnTo>
                  <a:lnTo>
                    <a:pt x="641769" y="740625"/>
                  </a:lnTo>
                  <a:lnTo>
                    <a:pt x="641769" y="731380"/>
                  </a:lnTo>
                  <a:close/>
                </a:path>
                <a:path w="1290320" h="757554">
                  <a:moveTo>
                    <a:pt x="655129" y="7505"/>
                  </a:moveTo>
                  <a:lnTo>
                    <a:pt x="647674" y="0"/>
                  </a:lnTo>
                  <a:lnTo>
                    <a:pt x="629170" y="0"/>
                  </a:lnTo>
                  <a:lnTo>
                    <a:pt x="621715" y="7505"/>
                  </a:lnTo>
                  <a:lnTo>
                    <a:pt x="621715" y="26009"/>
                  </a:lnTo>
                  <a:lnTo>
                    <a:pt x="629170" y="33515"/>
                  </a:lnTo>
                  <a:lnTo>
                    <a:pt x="647674" y="33515"/>
                  </a:lnTo>
                  <a:lnTo>
                    <a:pt x="655129" y="26009"/>
                  </a:lnTo>
                  <a:lnTo>
                    <a:pt x="655129" y="16751"/>
                  </a:lnTo>
                  <a:lnTo>
                    <a:pt x="655129" y="7505"/>
                  </a:lnTo>
                  <a:close/>
                </a:path>
                <a:path w="1290320" h="757554">
                  <a:moveTo>
                    <a:pt x="675195" y="369443"/>
                  </a:moveTo>
                  <a:lnTo>
                    <a:pt x="667727" y="361937"/>
                  </a:lnTo>
                  <a:lnTo>
                    <a:pt x="649224" y="361937"/>
                  </a:lnTo>
                  <a:lnTo>
                    <a:pt x="641769" y="369443"/>
                  </a:lnTo>
                  <a:lnTo>
                    <a:pt x="641769" y="387946"/>
                  </a:lnTo>
                  <a:lnTo>
                    <a:pt x="649224" y="395452"/>
                  </a:lnTo>
                  <a:lnTo>
                    <a:pt x="667727" y="395452"/>
                  </a:lnTo>
                  <a:lnTo>
                    <a:pt x="675195" y="387946"/>
                  </a:lnTo>
                  <a:lnTo>
                    <a:pt x="675195" y="378688"/>
                  </a:lnTo>
                  <a:lnTo>
                    <a:pt x="675195" y="369443"/>
                  </a:lnTo>
                  <a:close/>
                </a:path>
                <a:path w="1290320" h="757554">
                  <a:moveTo>
                    <a:pt x="688555" y="731380"/>
                  </a:moveTo>
                  <a:lnTo>
                    <a:pt x="681101" y="723874"/>
                  </a:lnTo>
                  <a:lnTo>
                    <a:pt x="662597" y="723874"/>
                  </a:lnTo>
                  <a:lnTo>
                    <a:pt x="655129" y="731380"/>
                  </a:lnTo>
                  <a:lnTo>
                    <a:pt x="655129" y="749884"/>
                  </a:lnTo>
                  <a:lnTo>
                    <a:pt x="662597" y="757377"/>
                  </a:lnTo>
                  <a:lnTo>
                    <a:pt x="681101" y="757377"/>
                  </a:lnTo>
                  <a:lnTo>
                    <a:pt x="688555" y="749884"/>
                  </a:lnTo>
                  <a:lnTo>
                    <a:pt x="688555" y="740625"/>
                  </a:lnTo>
                  <a:lnTo>
                    <a:pt x="688555" y="731380"/>
                  </a:lnTo>
                  <a:close/>
                </a:path>
                <a:path w="1290320" h="757554">
                  <a:moveTo>
                    <a:pt x="708609" y="7505"/>
                  </a:moveTo>
                  <a:lnTo>
                    <a:pt x="701154" y="0"/>
                  </a:lnTo>
                  <a:lnTo>
                    <a:pt x="682650" y="0"/>
                  </a:lnTo>
                  <a:lnTo>
                    <a:pt x="675195" y="7505"/>
                  </a:lnTo>
                  <a:lnTo>
                    <a:pt x="675195" y="26009"/>
                  </a:lnTo>
                  <a:lnTo>
                    <a:pt x="682650" y="33515"/>
                  </a:lnTo>
                  <a:lnTo>
                    <a:pt x="701154" y="33515"/>
                  </a:lnTo>
                  <a:lnTo>
                    <a:pt x="708609" y="26009"/>
                  </a:lnTo>
                  <a:lnTo>
                    <a:pt x="708609" y="16751"/>
                  </a:lnTo>
                  <a:lnTo>
                    <a:pt x="708609" y="7505"/>
                  </a:lnTo>
                  <a:close/>
                </a:path>
                <a:path w="1290320" h="757554">
                  <a:moveTo>
                    <a:pt x="721982" y="369443"/>
                  </a:moveTo>
                  <a:lnTo>
                    <a:pt x="714514" y="361937"/>
                  </a:lnTo>
                  <a:lnTo>
                    <a:pt x="696023" y="361937"/>
                  </a:lnTo>
                  <a:lnTo>
                    <a:pt x="688555" y="369443"/>
                  </a:lnTo>
                  <a:lnTo>
                    <a:pt x="688555" y="387946"/>
                  </a:lnTo>
                  <a:lnTo>
                    <a:pt x="696023" y="395452"/>
                  </a:lnTo>
                  <a:lnTo>
                    <a:pt x="714514" y="395452"/>
                  </a:lnTo>
                  <a:lnTo>
                    <a:pt x="721982" y="387946"/>
                  </a:lnTo>
                  <a:lnTo>
                    <a:pt x="721982" y="378688"/>
                  </a:lnTo>
                  <a:lnTo>
                    <a:pt x="721982" y="369443"/>
                  </a:lnTo>
                  <a:close/>
                </a:path>
                <a:path w="1290320" h="757554">
                  <a:moveTo>
                    <a:pt x="742035" y="731380"/>
                  </a:moveTo>
                  <a:lnTo>
                    <a:pt x="734580" y="723874"/>
                  </a:lnTo>
                  <a:lnTo>
                    <a:pt x="716076" y="723874"/>
                  </a:lnTo>
                  <a:lnTo>
                    <a:pt x="708609" y="731380"/>
                  </a:lnTo>
                  <a:lnTo>
                    <a:pt x="708609" y="749884"/>
                  </a:lnTo>
                  <a:lnTo>
                    <a:pt x="716076" y="757377"/>
                  </a:lnTo>
                  <a:lnTo>
                    <a:pt x="734580" y="757377"/>
                  </a:lnTo>
                  <a:lnTo>
                    <a:pt x="742035" y="749884"/>
                  </a:lnTo>
                  <a:lnTo>
                    <a:pt x="742035" y="740625"/>
                  </a:lnTo>
                  <a:lnTo>
                    <a:pt x="742035" y="731380"/>
                  </a:lnTo>
                  <a:close/>
                </a:path>
                <a:path w="1290320" h="757554">
                  <a:moveTo>
                    <a:pt x="755408" y="7505"/>
                  </a:moveTo>
                  <a:lnTo>
                    <a:pt x="747941" y="0"/>
                  </a:lnTo>
                  <a:lnTo>
                    <a:pt x="729449" y="0"/>
                  </a:lnTo>
                  <a:lnTo>
                    <a:pt x="721982" y="7505"/>
                  </a:lnTo>
                  <a:lnTo>
                    <a:pt x="721982" y="26009"/>
                  </a:lnTo>
                  <a:lnTo>
                    <a:pt x="729449" y="33515"/>
                  </a:lnTo>
                  <a:lnTo>
                    <a:pt x="747941" y="33515"/>
                  </a:lnTo>
                  <a:lnTo>
                    <a:pt x="755408" y="26009"/>
                  </a:lnTo>
                  <a:lnTo>
                    <a:pt x="755408" y="16751"/>
                  </a:lnTo>
                  <a:lnTo>
                    <a:pt x="755408" y="7505"/>
                  </a:lnTo>
                  <a:close/>
                </a:path>
                <a:path w="1290320" h="757554">
                  <a:moveTo>
                    <a:pt x="775462" y="369443"/>
                  </a:moveTo>
                  <a:lnTo>
                    <a:pt x="768007" y="361937"/>
                  </a:lnTo>
                  <a:lnTo>
                    <a:pt x="749503" y="361937"/>
                  </a:lnTo>
                  <a:lnTo>
                    <a:pt x="742035" y="369443"/>
                  </a:lnTo>
                  <a:lnTo>
                    <a:pt x="742035" y="387946"/>
                  </a:lnTo>
                  <a:lnTo>
                    <a:pt x="749503" y="395452"/>
                  </a:lnTo>
                  <a:lnTo>
                    <a:pt x="768007" y="395452"/>
                  </a:lnTo>
                  <a:lnTo>
                    <a:pt x="775462" y="387946"/>
                  </a:lnTo>
                  <a:lnTo>
                    <a:pt x="775462" y="378688"/>
                  </a:lnTo>
                  <a:lnTo>
                    <a:pt x="775462" y="369443"/>
                  </a:lnTo>
                  <a:close/>
                </a:path>
                <a:path w="1290320" h="757554">
                  <a:moveTo>
                    <a:pt x="788835" y="731380"/>
                  </a:moveTo>
                  <a:lnTo>
                    <a:pt x="781367" y="723874"/>
                  </a:lnTo>
                  <a:lnTo>
                    <a:pt x="762876" y="723874"/>
                  </a:lnTo>
                  <a:lnTo>
                    <a:pt x="755408" y="731380"/>
                  </a:lnTo>
                  <a:lnTo>
                    <a:pt x="755408" y="749884"/>
                  </a:lnTo>
                  <a:lnTo>
                    <a:pt x="762876" y="757377"/>
                  </a:lnTo>
                  <a:lnTo>
                    <a:pt x="781367" y="757377"/>
                  </a:lnTo>
                  <a:lnTo>
                    <a:pt x="788835" y="749884"/>
                  </a:lnTo>
                  <a:lnTo>
                    <a:pt x="788835" y="740625"/>
                  </a:lnTo>
                  <a:lnTo>
                    <a:pt x="788835" y="731380"/>
                  </a:lnTo>
                  <a:close/>
                </a:path>
                <a:path w="1290320" h="757554">
                  <a:moveTo>
                    <a:pt x="808888" y="7505"/>
                  </a:moveTo>
                  <a:lnTo>
                    <a:pt x="801420" y="0"/>
                  </a:lnTo>
                  <a:lnTo>
                    <a:pt x="782929" y="0"/>
                  </a:lnTo>
                  <a:lnTo>
                    <a:pt x="775462" y="7505"/>
                  </a:lnTo>
                  <a:lnTo>
                    <a:pt x="775462" y="26009"/>
                  </a:lnTo>
                  <a:lnTo>
                    <a:pt x="782929" y="33515"/>
                  </a:lnTo>
                  <a:lnTo>
                    <a:pt x="801420" y="33515"/>
                  </a:lnTo>
                  <a:lnTo>
                    <a:pt x="808888" y="26009"/>
                  </a:lnTo>
                  <a:lnTo>
                    <a:pt x="808888" y="16751"/>
                  </a:lnTo>
                  <a:lnTo>
                    <a:pt x="808888" y="7505"/>
                  </a:lnTo>
                  <a:close/>
                </a:path>
                <a:path w="1290320" h="757554">
                  <a:moveTo>
                    <a:pt x="822261" y="369443"/>
                  </a:moveTo>
                  <a:lnTo>
                    <a:pt x="814793" y="361937"/>
                  </a:lnTo>
                  <a:lnTo>
                    <a:pt x="796302" y="361937"/>
                  </a:lnTo>
                  <a:lnTo>
                    <a:pt x="788835" y="369443"/>
                  </a:lnTo>
                  <a:lnTo>
                    <a:pt x="788835" y="387946"/>
                  </a:lnTo>
                  <a:lnTo>
                    <a:pt x="796302" y="395452"/>
                  </a:lnTo>
                  <a:lnTo>
                    <a:pt x="814793" y="395452"/>
                  </a:lnTo>
                  <a:lnTo>
                    <a:pt x="822261" y="387946"/>
                  </a:lnTo>
                  <a:lnTo>
                    <a:pt x="822261" y="378688"/>
                  </a:lnTo>
                  <a:lnTo>
                    <a:pt x="822261" y="369443"/>
                  </a:lnTo>
                  <a:close/>
                </a:path>
                <a:path w="1290320" h="757554">
                  <a:moveTo>
                    <a:pt x="842314" y="731380"/>
                  </a:moveTo>
                  <a:lnTo>
                    <a:pt x="834847" y="723874"/>
                  </a:lnTo>
                  <a:lnTo>
                    <a:pt x="816356" y="723874"/>
                  </a:lnTo>
                  <a:lnTo>
                    <a:pt x="808888" y="731380"/>
                  </a:lnTo>
                  <a:lnTo>
                    <a:pt x="808888" y="749884"/>
                  </a:lnTo>
                  <a:lnTo>
                    <a:pt x="816356" y="757377"/>
                  </a:lnTo>
                  <a:lnTo>
                    <a:pt x="834847" y="757377"/>
                  </a:lnTo>
                  <a:lnTo>
                    <a:pt x="842314" y="749884"/>
                  </a:lnTo>
                  <a:lnTo>
                    <a:pt x="842314" y="740625"/>
                  </a:lnTo>
                  <a:lnTo>
                    <a:pt x="842314" y="731380"/>
                  </a:lnTo>
                  <a:close/>
                </a:path>
                <a:path w="1290320" h="757554">
                  <a:moveTo>
                    <a:pt x="855687" y="7505"/>
                  </a:moveTo>
                  <a:lnTo>
                    <a:pt x="848220" y="0"/>
                  </a:lnTo>
                  <a:lnTo>
                    <a:pt x="829729" y="0"/>
                  </a:lnTo>
                  <a:lnTo>
                    <a:pt x="822261" y="7505"/>
                  </a:lnTo>
                  <a:lnTo>
                    <a:pt x="822261" y="26009"/>
                  </a:lnTo>
                  <a:lnTo>
                    <a:pt x="829729" y="33515"/>
                  </a:lnTo>
                  <a:lnTo>
                    <a:pt x="848220" y="33515"/>
                  </a:lnTo>
                  <a:lnTo>
                    <a:pt x="855687" y="26009"/>
                  </a:lnTo>
                  <a:lnTo>
                    <a:pt x="855687" y="16751"/>
                  </a:lnTo>
                  <a:lnTo>
                    <a:pt x="855687" y="7505"/>
                  </a:lnTo>
                  <a:close/>
                </a:path>
                <a:path w="1290320" h="757554">
                  <a:moveTo>
                    <a:pt x="875741" y="369443"/>
                  </a:moveTo>
                  <a:lnTo>
                    <a:pt x="868273" y="361937"/>
                  </a:lnTo>
                  <a:lnTo>
                    <a:pt x="849782" y="361937"/>
                  </a:lnTo>
                  <a:lnTo>
                    <a:pt x="842314" y="369443"/>
                  </a:lnTo>
                  <a:lnTo>
                    <a:pt x="842314" y="387946"/>
                  </a:lnTo>
                  <a:lnTo>
                    <a:pt x="849782" y="395452"/>
                  </a:lnTo>
                  <a:lnTo>
                    <a:pt x="868273" y="395452"/>
                  </a:lnTo>
                  <a:lnTo>
                    <a:pt x="875741" y="387946"/>
                  </a:lnTo>
                  <a:lnTo>
                    <a:pt x="875741" y="378688"/>
                  </a:lnTo>
                  <a:lnTo>
                    <a:pt x="875741" y="369443"/>
                  </a:lnTo>
                  <a:close/>
                </a:path>
                <a:path w="1290320" h="757554">
                  <a:moveTo>
                    <a:pt x="889114" y="731380"/>
                  </a:moveTo>
                  <a:lnTo>
                    <a:pt x="881646" y="723874"/>
                  </a:lnTo>
                  <a:lnTo>
                    <a:pt x="863155" y="723874"/>
                  </a:lnTo>
                  <a:lnTo>
                    <a:pt x="855687" y="731380"/>
                  </a:lnTo>
                  <a:lnTo>
                    <a:pt x="855687" y="749884"/>
                  </a:lnTo>
                  <a:lnTo>
                    <a:pt x="863155" y="757377"/>
                  </a:lnTo>
                  <a:lnTo>
                    <a:pt x="881646" y="757377"/>
                  </a:lnTo>
                  <a:lnTo>
                    <a:pt x="889114" y="749884"/>
                  </a:lnTo>
                  <a:lnTo>
                    <a:pt x="889114" y="740625"/>
                  </a:lnTo>
                  <a:lnTo>
                    <a:pt x="889114" y="731380"/>
                  </a:lnTo>
                  <a:close/>
                </a:path>
                <a:path w="1290320" h="757554">
                  <a:moveTo>
                    <a:pt x="909167" y="7505"/>
                  </a:moveTo>
                  <a:lnTo>
                    <a:pt x="901700" y="0"/>
                  </a:lnTo>
                  <a:lnTo>
                    <a:pt x="883208" y="0"/>
                  </a:lnTo>
                  <a:lnTo>
                    <a:pt x="875741" y="7505"/>
                  </a:lnTo>
                  <a:lnTo>
                    <a:pt x="875741" y="26009"/>
                  </a:lnTo>
                  <a:lnTo>
                    <a:pt x="883208" y="33515"/>
                  </a:lnTo>
                  <a:lnTo>
                    <a:pt x="901700" y="33515"/>
                  </a:lnTo>
                  <a:lnTo>
                    <a:pt x="909167" y="26009"/>
                  </a:lnTo>
                  <a:lnTo>
                    <a:pt x="909167" y="16751"/>
                  </a:lnTo>
                  <a:lnTo>
                    <a:pt x="909167" y="7505"/>
                  </a:lnTo>
                  <a:close/>
                </a:path>
                <a:path w="1290320" h="757554">
                  <a:moveTo>
                    <a:pt x="922540" y="369443"/>
                  </a:moveTo>
                  <a:lnTo>
                    <a:pt x="915073" y="361937"/>
                  </a:lnTo>
                  <a:lnTo>
                    <a:pt x="896581" y="361937"/>
                  </a:lnTo>
                  <a:lnTo>
                    <a:pt x="889114" y="369443"/>
                  </a:lnTo>
                  <a:lnTo>
                    <a:pt x="889114" y="387946"/>
                  </a:lnTo>
                  <a:lnTo>
                    <a:pt x="896581" y="395452"/>
                  </a:lnTo>
                  <a:lnTo>
                    <a:pt x="915073" y="395452"/>
                  </a:lnTo>
                  <a:lnTo>
                    <a:pt x="922540" y="387946"/>
                  </a:lnTo>
                  <a:lnTo>
                    <a:pt x="922540" y="378688"/>
                  </a:lnTo>
                  <a:lnTo>
                    <a:pt x="922540" y="369443"/>
                  </a:lnTo>
                  <a:close/>
                </a:path>
                <a:path w="1290320" h="757554">
                  <a:moveTo>
                    <a:pt x="942594" y="731380"/>
                  </a:moveTo>
                  <a:lnTo>
                    <a:pt x="935126" y="723874"/>
                  </a:lnTo>
                  <a:lnTo>
                    <a:pt x="916635" y="723874"/>
                  </a:lnTo>
                  <a:lnTo>
                    <a:pt x="909167" y="731380"/>
                  </a:lnTo>
                  <a:lnTo>
                    <a:pt x="909167" y="749884"/>
                  </a:lnTo>
                  <a:lnTo>
                    <a:pt x="916635" y="757377"/>
                  </a:lnTo>
                  <a:lnTo>
                    <a:pt x="935126" y="757377"/>
                  </a:lnTo>
                  <a:lnTo>
                    <a:pt x="942594" y="749884"/>
                  </a:lnTo>
                  <a:lnTo>
                    <a:pt x="942594" y="740625"/>
                  </a:lnTo>
                  <a:lnTo>
                    <a:pt x="942594" y="731380"/>
                  </a:lnTo>
                  <a:close/>
                </a:path>
                <a:path w="1290320" h="757554">
                  <a:moveTo>
                    <a:pt x="955967" y="7505"/>
                  </a:moveTo>
                  <a:lnTo>
                    <a:pt x="948499" y="0"/>
                  </a:lnTo>
                  <a:lnTo>
                    <a:pt x="929995" y="0"/>
                  </a:lnTo>
                  <a:lnTo>
                    <a:pt x="922540" y="7505"/>
                  </a:lnTo>
                  <a:lnTo>
                    <a:pt x="922540" y="26009"/>
                  </a:lnTo>
                  <a:lnTo>
                    <a:pt x="929995" y="33515"/>
                  </a:lnTo>
                  <a:lnTo>
                    <a:pt x="948499" y="33515"/>
                  </a:lnTo>
                  <a:lnTo>
                    <a:pt x="955967" y="26009"/>
                  </a:lnTo>
                  <a:lnTo>
                    <a:pt x="955967" y="16751"/>
                  </a:lnTo>
                  <a:lnTo>
                    <a:pt x="955967" y="7505"/>
                  </a:lnTo>
                  <a:close/>
                </a:path>
                <a:path w="1290320" h="757554">
                  <a:moveTo>
                    <a:pt x="976020" y="369443"/>
                  </a:moveTo>
                  <a:lnTo>
                    <a:pt x="968552" y="361937"/>
                  </a:lnTo>
                  <a:lnTo>
                    <a:pt x="950061" y="361937"/>
                  </a:lnTo>
                  <a:lnTo>
                    <a:pt x="942594" y="369443"/>
                  </a:lnTo>
                  <a:lnTo>
                    <a:pt x="942594" y="387946"/>
                  </a:lnTo>
                  <a:lnTo>
                    <a:pt x="950061" y="395452"/>
                  </a:lnTo>
                  <a:lnTo>
                    <a:pt x="968552" y="395452"/>
                  </a:lnTo>
                  <a:lnTo>
                    <a:pt x="976020" y="387946"/>
                  </a:lnTo>
                  <a:lnTo>
                    <a:pt x="976020" y="378688"/>
                  </a:lnTo>
                  <a:lnTo>
                    <a:pt x="976020" y="369443"/>
                  </a:lnTo>
                  <a:close/>
                </a:path>
                <a:path w="1290320" h="757554">
                  <a:moveTo>
                    <a:pt x="989393" y="731380"/>
                  </a:moveTo>
                  <a:lnTo>
                    <a:pt x="981925" y="723874"/>
                  </a:lnTo>
                  <a:lnTo>
                    <a:pt x="963422" y="723874"/>
                  </a:lnTo>
                  <a:lnTo>
                    <a:pt x="955967" y="731380"/>
                  </a:lnTo>
                  <a:lnTo>
                    <a:pt x="955967" y="749884"/>
                  </a:lnTo>
                  <a:lnTo>
                    <a:pt x="963422" y="757377"/>
                  </a:lnTo>
                  <a:lnTo>
                    <a:pt x="981925" y="757377"/>
                  </a:lnTo>
                  <a:lnTo>
                    <a:pt x="989393" y="749884"/>
                  </a:lnTo>
                  <a:lnTo>
                    <a:pt x="989393" y="740625"/>
                  </a:lnTo>
                  <a:lnTo>
                    <a:pt x="989393" y="731380"/>
                  </a:lnTo>
                  <a:close/>
                </a:path>
                <a:path w="1290320" h="757554">
                  <a:moveTo>
                    <a:pt x="1009446" y="7505"/>
                  </a:moveTo>
                  <a:lnTo>
                    <a:pt x="1001979" y="0"/>
                  </a:lnTo>
                  <a:lnTo>
                    <a:pt x="983488" y="0"/>
                  </a:lnTo>
                  <a:lnTo>
                    <a:pt x="976020" y="7505"/>
                  </a:lnTo>
                  <a:lnTo>
                    <a:pt x="976020" y="26009"/>
                  </a:lnTo>
                  <a:lnTo>
                    <a:pt x="983488" y="33515"/>
                  </a:lnTo>
                  <a:lnTo>
                    <a:pt x="1001979" y="33515"/>
                  </a:lnTo>
                  <a:lnTo>
                    <a:pt x="1009446" y="26009"/>
                  </a:lnTo>
                  <a:lnTo>
                    <a:pt x="1009446" y="16751"/>
                  </a:lnTo>
                  <a:lnTo>
                    <a:pt x="1009446" y="7505"/>
                  </a:lnTo>
                  <a:close/>
                </a:path>
                <a:path w="1290320" h="757554">
                  <a:moveTo>
                    <a:pt x="1022807" y="369443"/>
                  </a:moveTo>
                  <a:lnTo>
                    <a:pt x="1015352" y="361937"/>
                  </a:lnTo>
                  <a:lnTo>
                    <a:pt x="996848" y="361937"/>
                  </a:lnTo>
                  <a:lnTo>
                    <a:pt x="989393" y="369443"/>
                  </a:lnTo>
                  <a:lnTo>
                    <a:pt x="989393" y="387946"/>
                  </a:lnTo>
                  <a:lnTo>
                    <a:pt x="996848" y="395452"/>
                  </a:lnTo>
                  <a:lnTo>
                    <a:pt x="1015352" y="395452"/>
                  </a:lnTo>
                  <a:lnTo>
                    <a:pt x="1022807" y="387946"/>
                  </a:lnTo>
                  <a:lnTo>
                    <a:pt x="1022807" y="378688"/>
                  </a:lnTo>
                  <a:lnTo>
                    <a:pt x="1022807" y="369443"/>
                  </a:lnTo>
                  <a:close/>
                </a:path>
                <a:path w="1290320" h="757554">
                  <a:moveTo>
                    <a:pt x="1042873" y="731380"/>
                  </a:moveTo>
                  <a:lnTo>
                    <a:pt x="1035405" y="723874"/>
                  </a:lnTo>
                  <a:lnTo>
                    <a:pt x="1016901" y="723874"/>
                  </a:lnTo>
                  <a:lnTo>
                    <a:pt x="1009446" y="731380"/>
                  </a:lnTo>
                  <a:lnTo>
                    <a:pt x="1009446" y="749884"/>
                  </a:lnTo>
                  <a:lnTo>
                    <a:pt x="1016901" y="757377"/>
                  </a:lnTo>
                  <a:lnTo>
                    <a:pt x="1035405" y="757377"/>
                  </a:lnTo>
                  <a:lnTo>
                    <a:pt x="1042873" y="749884"/>
                  </a:lnTo>
                  <a:lnTo>
                    <a:pt x="1042873" y="740625"/>
                  </a:lnTo>
                  <a:lnTo>
                    <a:pt x="1042873" y="731380"/>
                  </a:lnTo>
                  <a:close/>
                </a:path>
                <a:path w="1290320" h="757554">
                  <a:moveTo>
                    <a:pt x="1056233" y="7505"/>
                  </a:moveTo>
                  <a:lnTo>
                    <a:pt x="1048778" y="0"/>
                  </a:lnTo>
                  <a:lnTo>
                    <a:pt x="1030274" y="0"/>
                  </a:lnTo>
                  <a:lnTo>
                    <a:pt x="1022807" y="7505"/>
                  </a:lnTo>
                  <a:lnTo>
                    <a:pt x="1022807" y="26009"/>
                  </a:lnTo>
                  <a:lnTo>
                    <a:pt x="1030274" y="33515"/>
                  </a:lnTo>
                  <a:lnTo>
                    <a:pt x="1048778" y="33515"/>
                  </a:lnTo>
                  <a:lnTo>
                    <a:pt x="1056233" y="26009"/>
                  </a:lnTo>
                  <a:lnTo>
                    <a:pt x="1056233" y="16751"/>
                  </a:lnTo>
                  <a:lnTo>
                    <a:pt x="1056233" y="7505"/>
                  </a:lnTo>
                  <a:close/>
                </a:path>
                <a:path w="1290320" h="757554">
                  <a:moveTo>
                    <a:pt x="1076286" y="369443"/>
                  </a:moveTo>
                  <a:lnTo>
                    <a:pt x="1068832" y="361937"/>
                  </a:lnTo>
                  <a:lnTo>
                    <a:pt x="1050328" y="361937"/>
                  </a:lnTo>
                  <a:lnTo>
                    <a:pt x="1042873" y="369443"/>
                  </a:lnTo>
                  <a:lnTo>
                    <a:pt x="1042873" y="387946"/>
                  </a:lnTo>
                  <a:lnTo>
                    <a:pt x="1050328" y="395452"/>
                  </a:lnTo>
                  <a:lnTo>
                    <a:pt x="1068832" y="395452"/>
                  </a:lnTo>
                  <a:lnTo>
                    <a:pt x="1076286" y="387946"/>
                  </a:lnTo>
                  <a:lnTo>
                    <a:pt x="1076286" y="378688"/>
                  </a:lnTo>
                  <a:lnTo>
                    <a:pt x="1076286" y="369443"/>
                  </a:lnTo>
                  <a:close/>
                </a:path>
                <a:path w="1290320" h="757554">
                  <a:moveTo>
                    <a:pt x="1089660" y="731380"/>
                  </a:moveTo>
                  <a:lnTo>
                    <a:pt x="1082192" y="723874"/>
                  </a:lnTo>
                  <a:lnTo>
                    <a:pt x="1063701" y="723874"/>
                  </a:lnTo>
                  <a:lnTo>
                    <a:pt x="1056233" y="731380"/>
                  </a:lnTo>
                  <a:lnTo>
                    <a:pt x="1056233" y="749884"/>
                  </a:lnTo>
                  <a:lnTo>
                    <a:pt x="1063701" y="757377"/>
                  </a:lnTo>
                  <a:lnTo>
                    <a:pt x="1082192" y="757377"/>
                  </a:lnTo>
                  <a:lnTo>
                    <a:pt x="1089660" y="749884"/>
                  </a:lnTo>
                  <a:lnTo>
                    <a:pt x="1089660" y="740625"/>
                  </a:lnTo>
                  <a:lnTo>
                    <a:pt x="1089660" y="731380"/>
                  </a:lnTo>
                  <a:close/>
                </a:path>
                <a:path w="1290320" h="757554">
                  <a:moveTo>
                    <a:pt x="1109713" y="7505"/>
                  </a:moveTo>
                  <a:lnTo>
                    <a:pt x="1102258" y="0"/>
                  </a:lnTo>
                  <a:lnTo>
                    <a:pt x="1083754" y="0"/>
                  </a:lnTo>
                  <a:lnTo>
                    <a:pt x="1076286" y="7505"/>
                  </a:lnTo>
                  <a:lnTo>
                    <a:pt x="1076286" y="26009"/>
                  </a:lnTo>
                  <a:lnTo>
                    <a:pt x="1083754" y="33515"/>
                  </a:lnTo>
                  <a:lnTo>
                    <a:pt x="1102258" y="33515"/>
                  </a:lnTo>
                  <a:lnTo>
                    <a:pt x="1109713" y="26009"/>
                  </a:lnTo>
                  <a:lnTo>
                    <a:pt x="1109713" y="16751"/>
                  </a:lnTo>
                  <a:lnTo>
                    <a:pt x="1109713" y="7505"/>
                  </a:lnTo>
                  <a:close/>
                </a:path>
                <a:path w="1290320" h="757554">
                  <a:moveTo>
                    <a:pt x="1123086" y="369443"/>
                  </a:moveTo>
                  <a:lnTo>
                    <a:pt x="1115618" y="361937"/>
                  </a:lnTo>
                  <a:lnTo>
                    <a:pt x="1097127" y="361937"/>
                  </a:lnTo>
                  <a:lnTo>
                    <a:pt x="1089660" y="369443"/>
                  </a:lnTo>
                  <a:lnTo>
                    <a:pt x="1089660" y="387946"/>
                  </a:lnTo>
                  <a:lnTo>
                    <a:pt x="1097127" y="395452"/>
                  </a:lnTo>
                  <a:lnTo>
                    <a:pt x="1115618" y="395452"/>
                  </a:lnTo>
                  <a:lnTo>
                    <a:pt x="1123086" y="387946"/>
                  </a:lnTo>
                  <a:lnTo>
                    <a:pt x="1123086" y="378688"/>
                  </a:lnTo>
                  <a:lnTo>
                    <a:pt x="1123086" y="369443"/>
                  </a:lnTo>
                  <a:close/>
                </a:path>
                <a:path w="1290320" h="757554">
                  <a:moveTo>
                    <a:pt x="1143139" y="731380"/>
                  </a:moveTo>
                  <a:lnTo>
                    <a:pt x="1135672" y="723874"/>
                  </a:lnTo>
                  <a:lnTo>
                    <a:pt x="1117180" y="723874"/>
                  </a:lnTo>
                  <a:lnTo>
                    <a:pt x="1109713" y="731380"/>
                  </a:lnTo>
                  <a:lnTo>
                    <a:pt x="1109713" y="749884"/>
                  </a:lnTo>
                  <a:lnTo>
                    <a:pt x="1117180" y="757377"/>
                  </a:lnTo>
                  <a:lnTo>
                    <a:pt x="1135672" y="757377"/>
                  </a:lnTo>
                  <a:lnTo>
                    <a:pt x="1143139" y="749884"/>
                  </a:lnTo>
                  <a:lnTo>
                    <a:pt x="1143139" y="740625"/>
                  </a:lnTo>
                  <a:lnTo>
                    <a:pt x="1143139" y="731380"/>
                  </a:lnTo>
                  <a:close/>
                </a:path>
                <a:path w="1290320" h="757554">
                  <a:moveTo>
                    <a:pt x="1156512" y="7505"/>
                  </a:moveTo>
                  <a:lnTo>
                    <a:pt x="1149045" y="0"/>
                  </a:lnTo>
                  <a:lnTo>
                    <a:pt x="1130554" y="0"/>
                  </a:lnTo>
                  <a:lnTo>
                    <a:pt x="1123086" y="7505"/>
                  </a:lnTo>
                  <a:lnTo>
                    <a:pt x="1123086" y="26009"/>
                  </a:lnTo>
                  <a:lnTo>
                    <a:pt x="1130554" y="33515"/>
                  </a:lnTo>
                  <a:lnTo>
                    <a:pt x="1149045" y="33515"/>
                  </a:lnTo>
                  <a:lnTo>
                    <a:pt x="1156512" y="26009"/>
                  </a:lnTo>
                  <a:lnTo>
                    <a:pt x="1156512" y="16751"/>
                  </a:lnTo>
                  <a:lnTo>
                    <a:pt x="1156512" y="7505"/>
                  </a:lnTo>
                  <a:close/>
                </a:path>
                <a:path w="1290320" h="757554">
                  <a:moveTo>
                    <a:pt x="1176566" y="369443"/>
                  </a:moveTo>
                  <a:lnTo>
                    <a:pt x="1169098" y="361937"/>
                  </a:lnTo>
                  <a:lnTo>
                    <a:pt x="1150607" y="361937"/>
                  </a:lnTo>
                  <a:lnTo>
                    <a:pt x="1143139" y="369443"/>
                  </a:lnTo>
                  <a:lnTo>
                    <a:pt x="1143139" y="387946"/>
                  </a:lnTo>
                  <a:lnTo>
                    <a:pt x="1150607" y="395452"/>
                  </a:lnTo>
                  <a:lnTo>
                    <a:pt x="1169098" y="395452"/>
                  </a:lnTo>
                  <a:lnTo>
                    <a:pt x="1176566" y="387946"/>
                  </a:lnTo>
                  <a:lnTo>
                    <a:pt x="1176566" y="378688"/>
                  </a:lnTo>
                  <a:lnTo>
                    <a:pt x="1176566" y="369443"/>
                  </a:lnTo>
                  <a:close/>
                </a:path>
                <a:path w="1290320" h="757554">
                  <a:moveTo>
                    <a:pt x="1189939" y="731380"/>
                  </a:moveTo>
                  <a:lnTo>
                    <a:pt x="1182471" y="723874"/>
                  </a:lnTo>
                  <a:lnTo>
                    <a:pt x="1163980" y="723874"/>
                  </a:lnTo>
                  <a:lnTo>
                    <a:pt x="1156512" y="731380"/>
                  </a:lnTo>
                  <a:lnTo>
                    <a:pt x="1156512" y="749884"/>
                  </a:lnTo>
                  <a:lnTo>
                    <a:pt x="1163980" y="757377"/>
                  </a:lnTo>
                  <a:lnTo>
                    <a:pt x="1182471" y="757377"/>
                  </a:lnTo>
                  <a:lnTo>
                    <a:pt x="1189939" y="749884"/>
                  </a:lnTo>
                  <a:lnTo>
                    <a:pt x="1189939" y="740625"/>
                  </a:lnTo>
                  <a:lnTo>
                    <a:pt x="1189939" y="731380"/>
                  </a:lnTo>
                  <a:close/>
                </a:path>
                <a:path w="1290320" h="757554">
                  <a:moveTo>
                    <a:pt x="1209992" y="7505"/>
                  </a:moveTo>
                  <a:lnTo>
                    <a:pt x="1202524" y="0"/>
                  </a:lnTo>
                  <a:lnTo>
                    <a:pt x="1184033" y="0"/>
                  </a:lnTo>
                  <a:lnTo>
                    <a:pt x="1176566" y="7505"/>
                  </a:lnTo>
                  <a:lnTo>
                    <a:pt x="1176566" y="26009"/>
                  </a:lnTo>
                  <a:lnTo>
                    <a:pt x="1184033" y="33515"/>
                  </a:lnTo>
                  <a:lnTo>
                    <a:pt x="1202524" y="33515"/>
                  </a:lnTo>
                  <a:lnTo>
                    <a:pt x="1209992" y="26009"/>
                  </a:lnTo>
                  <a:lnTo>
                    <a:pt x="1209992" y="16751"/>
                  </a:lnTo>
                  <a:lnTo>
                    <a:pt x="1209992" y="7505"/>
                  </a:lnTo>
                  <a:close/>
                </a:path>
                <a:path w="1290320" h="757554">
                  <a:moveTo>
                    <a:pt x="1223365" y="476681"/>
                  </a:moveTo>
                  <a:lnTo>
                    <a:pt x="1215898" y="469176"/>
                  </a:lnTo>
                  <a:lnTo>
                    <a:pt x="1197406" y="469176"/>
                  </a:lnTo>
                  <a:lnTo>
                    <a:pt x="1189939" y="476681"/>
                  </a:lnTo>
                  <a:lnTo>
                    <a:pt x="1189939" y="495185"/>
                  </a:lnTo>
                  <a:lnTo>
                    <a:pt x="1197406" y="502691"/>
                  </a:lnTo>
                  <a:lnTo>
                    <a:pt x="1215898" y="502691"/>
                  </a:lnTo>
                  <a:lnTo>
                    <a:pt x="1223365" y="495185"/>
                  </a:lnTo>
                  <a:lnTo>
                    <a:pt x="1223365" y="485927"/>
                  </a:lnTo>
                  <a:lnTo>
                    <a:pt x="1223365" y="476681"/>
                  </a:lnTo>
                  <a:close/>
                </a:path>
                <a:path w="1290320" h="757554">
                  <a:moveTo>
                    <a:pt x="1243418" y="731380"/>
                  </a:moveTo>
                  <a:lnTo>
                    <a:pt x="1235951" y="723874"/>
                  </a:lnTo>
                  <a:lnTo>
                    <a:pt x="1217460" y="723874"/>
                  </a:lnTo>
                  <a:lnTo>
                    <a:pt x="1209992" y="731380"/>
                  </a:lnTo>
                  <a:lnTo>
                    <a:pt x="1209992" y="749884"/>
                  </a:lnTo>
                  <a:lnTo>
                    <a:pt x="1217460" y="757377"/>
                  </a:lnTo>
                  <a:lnTo>
                    <a:pt x="1235951" y="757377"/>
                  </a:lnTo>
                  <a:lnTo>
                    <a:pt x="1243418" y="749884"/>
                  </a:lnTo>
                  <a:lnTo>
                    <a:pt x="1243418" y="740625"/>
                  </a:lnTo>
                  <a:lnTo>
                    <a:pt x="1243418" y="731380"/>
                  </a:lnTo>
                  <a:close/>
                </a:path>
                <a:path w="1290320" h="757554">
                  <a:moveTo>
                    <a:pt x="1256792" y="262204"/>
                  </a:moveTo>
                  <a:lnTo>
                    <a:pt x="1249324" y="254698"/>
                  </a:lnTo>
                  <a:lnTo>
                    <a:pt x="1230833" y="254698"/>
                  </a:lnTo>
                  <a:lnTo>
                    <a:pt x="1223365" y="262204"/>
                  </a:lnTo>
                  <a:lnTo>
                    <a:pt x="1223365" y="280708"/>
                  </a:lnTo>
                  <a:lnTo>
                    <a:pt x="1230833" y="288201"/>
                  </a:lnTo>
                  <a:lnTo>
                    <a:pt x="1249324" y="288201"/>
                  </a:lnTo>
                  <a:lnTo>
                    <a:pt x="1256792" y="280708"/>
                  </a:lnTo>
                  <a:lnTo>
                    <a:pt x="1256792" y="271449"/>
                  </a:lnTo>
                  <a:lnTo>
                    <a:pt x="1256792" y="262204"/>
                  </a:lnTo>
                  <a:close/>
                </a:path>
                <a:path w="1290320" h="757554">
                  <a:moveTo>
                    <a:pt x="1276845" y="476681"/>
                  </a:moveTo>
                  <a:lnTo>
                    <a:pt x="1269377" y="469176"/>
                  </a:lnTo>
                  <a:lnTo>
                    <a:pt x="1250886" y="469176"/>
                  </a:lnTo>
                  <a:lnTo>
                    <a:pt x="1243418" y="476681"/>
                  </a:lnTo>
                  <a:lnTo>
                    <a:pt x="1243418" y="495185"/>
                  </a:lnTo>
                  <a:lnTo>
                    <a:pt x="1250886" y="502691"/>
                  </a:lnTo>
                  <a:lnTo>
                    <a:pt x="1269377" y="502691"/>
                  </a:lnTo>
                  <a:lnTo>
                    <a:pt x="1276845" y="495185"/>
                  </a:lnTo>
                  <a:lnTo>
                    <a:pt x="1276845" y="485927"/>
                  </a:lnTo>
                  <a:lnTo>
                    <a:pt x="1276845" y="476681"/>
                  </a:lnTo>
                  <a:close/>
                </a:path>
                <a:path w="1290320" h="757554">
                  <a:moveTo>
                    <a:pt x="1290218" y="731380"/>
                  </a:moveTo>
                  <a:lnTo>
                    <a:pt x="1282750" y="723874"/>
                  </a:lnTo>
                  <a:lnTo>
                    <a:pt x="1264259" y="723874"/>
                  </a:lnTo>
                  <a:lnTo>
                    <a:pt x="1256792" y="731380"/>
                  </a:lnTo>
                  <a:lnTo>
                    <a:pt x="1256792" y="749884"/>
                  </a:lnTo>
                  <a:lnTo>
                    <a:pt x="1264259" y="757377"/>
                  </a:lnTo>
                  <a:lnTo>
                    <a:pt x="1282750" y="757377"/>
                  </a:lnTo>
                  <a:lnTo>
                    <a:pt x="1290218" y="749884"/>
                  </a:lnTo>
                  <a:lnTo>
                    <a:pt x="1290218" y="740625"/>
                  </a:lnTo>
                  <a:lnTo>
                    <a:pt x="1290218" y="731380"/>
                  </a:lnTo>
                  <a:close/>
                </a:path>
              </a:pathLst>
            </a:custGeom>
            <a:solidFill>
              <a:srgbClr val="1F487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0" name="object 70"/>
            <p:cNvSpPr/>
            <p:nvPr/>
          </p:nvSpPr>
          <p:spPr>
            <a:xfrm>
              <a:off x="10671035" y="5905004"/>
              <a:ext cx="441325" cy="757555"/>
            </a:xfrm>
            <a:custGeom>
              <a:avLst/>
              <a:gdLst/>
              <a:ahLst/>
              <a:cxnLst/>
              <a:rect l="l" t="t" r="r" b="b"/>
              <a:pathLst>
                <a:path w="441325" h="757554">
                  <a:moveTo>
                    <a:pt x="33426" y="731380"/>
                  </a:moveTo>
                  <a:lnTo>
                    <a:pt x="25958" y="723874"/>
                  </a:lnTo>
                  <a:lnTo>
                    <a:pt x="7467" y="723874"/>
                  </a:lnTo>
                  <a:lnTo>
                    <a:pt x="0" y="731380"/>
                  </a:lnTo>
                  <a:lnTo>
                    <a:pt x="0" y="749884"/>
                  </a:lnTo>
                  <a:lnTo>
                    <a:pt x="7467" y="757377"/>
                  </a:lnTo>
                  <a:lnTo>
                    <a:pt x="25958" y="757377"/>
                  </a:lnTo>
                  <a:lnTo>
                    <a:pt x="33426" y="749884"/>
                  </a:lnTo>
                  <a:lnTo>
                    <a:pt x="33426" y="740625"/>
                  </a:lnTo>
                  <a:lnTo>
                    <a:pt x="33426" y="731380"/>
                  </a:lnTo>
                  <a:close/>
                </a:path>
                <a:path w="441325" h="757554">
                  <a:moveTo>
                    <a:pt x="53479" y="7505"/>
                  </a:moveTo>
                  <a:lnTo>
                    <a:pt x="46012" y="0"/>
                  </a:lnTo>
                  <a:lnTo>
                    <a:pt x="27520" y="0"/>
                  </a:lnTo>
                  <a:lnTo>
                    <a:pt x="20053" y="7505"/>
                  </a:lnTo>
                  <a:lnTo>
                    <a:pt x="20053" y="26009"/>
                  </a:lnTo>
                  <a:lnTo>
                    <a:pt x="27520" y="33515"/>
                  </a:lnTo>
                  <a:lnTo>
                    <a:pt x="46012" y="33515"/>
                  </a:lnTo>
                  <a:lnTo>
                    <a:pt x="53479" y="26009"/>
                  </a:lnTo>
                  <a:lnTo>
                    <a:pt x="53479" y="16751"/>
                  </a:lnTo>
                  <a:lnTo>
                    <a:pt x="53479" y="7505"/>
                  </a:lnTo>
                  <a:close/>
                </a:path>
                <a:path w="441325" h="757554">
                  <a:moveTo>
                    <a:pt x="66852" y="262204"/>
                  </a:moveTo>
                  <a:lnTo>
                    <a:pt x="59385" y="254698"/>
                  </a:lnTo>
                  <a:lnTo>
                    <a:pt x="40881" y="254698"/>
                  </a:lnTo>
                  <a:lnTo>
                    <a:pt x="33426" y="262204"/>
                  </a:lnTo>
                  <a:lnTo>
                    <a:pt x="33426" y="280708"/>
                  </a:lnTo>
                  <a:lnTo>
                    <a:pt x="40881" y="288201"/>
                  </a:lnTo>
                  <a:lnTo>
                    <a:pt x="59385" y="288201"/>
                  </a:lnTo>
                  <a:lnTo>
                    <a:pt x="66852" y="280708"/>
                  </a:lnTo>
                  <a:lnTo>
                    <a:pt x="66852" y="271449"/>
                  </a:lnTo>
                  <a:lnTo>
                    <a:pt x="66852" y="262204"/>
                  </a:lnTo>
                  <a:close/>
                </a:path>
                <a:path w="441325" h="757554">
                  <a:moveTo>
                    <a:pt x="86906" y="731380"/>
                  </a:moveTo>
                  <a:lnTo>
                    <a:pt x="79438" y="723874"/>
                  </a:lnTo>
                  <a:lnTo>
                    <a:pt x="60947" y="723874"/>
                  </a:lnTo>
                  <a:lnTo>
                    <a:pt x="53479" y="731380"/>
                  </a:lnTo>
                  <a:lnTo>
                    <a:pt x="53479" y="749884"/>
                  </a:lnTo>
                  <a:lnTo>
                    <a:pt x="60947" y="757377"/>
                  </a:lnTo>
                  <a:lnTo>
                    <a:pt x="79438" y="757377"/>
                  </a:lnTo>
                  <a:lnTo>
                    <a:pt x="86906" y="749884"/>
                  </a:lnTo>
                  <a:lnTo>
                    <a:pt x="86906" y="740625"/>
                  </a:lnTo>
                  <a:lnTo>
                    <a:pt x="86906" y="731380"/>
                  </a:lnTo>
                  <a:close/>
                </a:path>
                <a:path w="441325" h="757554">
                  <a:moveTo>
                    <a:pt x="100266" y="7505"/>
                  </a:moveTo>
                  <a:lnTo>
                    <a:pt x="92811" y="0"/>
                  </a:lnTo>
                  <a:lnTo>
                    <a:pt x="74307" y="0"/>
                  </a:lnTo>
                  <a:lnTo>
                    <a:pt x="66852" y="7505"/>
                  </a:lnTo>
                  <a:lnTo>
                    <a:pt x="66852" y="26009"/>
                  </a:lnTo>
                  <a:lnTo>
                    <a:pt x="74307" y="33515"/>
                  </a:lnTo>
                  <a:lnTo>
                    <a:pt x="92811" y="33515"/>
                  </a:lnTo>
                  <a:lnTo>
                    <a:pt x="100266" y="26009"/>
                  </a:lnTo>
                  <a:lnTo>
                    <a:pt x="100266" y="16751"/>
                  </a:lnTo>
                  <a:lnTo>
                    <a:pt x="100266" y="7505"/>
                  </a:lnTo>
                  <a:close/>
                </a:path>
                <a:path w="441325" h="757554">
                  <a:moveTo>
                    <a:pt x="120332" y="476681"/>
                  </a:moveTo>
                  <a:lnTo>
                    <a:pt x="112864" y="469176"/>
                  </a:lnTo>
                  <a:lnTo>
                    <a:pt x="94373" y="469176"/>
                  </a:lnTo>
                  <a:lnTo>
                    <a:pt x="86906" y="476681"/>
                  </a:lnTo>
                  <a:lnTo>
                    <a:pt x="86906" y="495185"/>
                  </a:lnTo>
                  <a:lnTo>
                    <a:pt x="94373" y="502691"/>
                  </a:lnTo>
                  <a:lnTo>
                    <a:pt x="112864" y="502691"/>
                  </a:lnTo>
                  <a:lnTo>
                    <a:pt x="120332" y="495185"/>
                  </a:lnTo>
                  <a:lnTo>
                    <a:pt x="120332" y="485927"/>
                  </a:lnTo>
                  <a:lnTo>
                    <a:pt x="120332" y="476681"/>
                  </a:lnTo>
                  <a:close/>
                </a:path>
                <a:path w="441325" h="757554">
                  <a:moveTo>
                    <a:pt x="140385" y="731380"/>
                  </a:moveTo>
                  <a:lnTo>
                    <a:pt x="132918" y="723874"/>
                  </a:lnTo>
                  <a:lnTo>
                    <a:pt x="114427" y="723874"/>
                  </a:lnTo>
                  <a:lnTo>
                    <a:pt x="106959" y="731380"/>
                  </a:lnTo>
                  <a:lnTo>
                    <a:pt x="106959" y="749884"/>
                  </a:lnTo>
                  <a:lnTo>
                    <a:pt x="114427" y="757377"/>
                  </a:lnTo>
                  <a:lnTo>
                    <a:pt x="132918" y="757377"/>
                  </a:lnTo>
                  <a:lnTo>
                    <a:pt x="140385" y="749884"/>
                  </a:lnTo>
                  <a:lnTo>
                    <a:pt x="140385" y="740625"/>
                  </a:lnTo>
                  <a:lnTo>
                    <a:pt x="140385" y="731380"/>
                  </a:lnTo>
                  <a:close/>
                </a:path>
                <a:path w="441325" h="757554">
                  <a:moveTo>
                    <a:pt x="153758" y="7505"/>
                  </a:moveTo>
                  <a:lnTo>
                    <a:pt x="146291" y="0"/>
                  </a:lnTo>
                  <a:lnTo>
                    <a:pt x="127787" y="0"/>
                  </a:lnTo>
                  <a:lnTo>
                    <a:pt x="120332" y="7505"/>
                  </a:lnTo>
                  <a:lnTo>
                    <a:pt x="120332" y="26009"/>
                  </a:lnTo>
                  <a:lnTo>
                    <a:pt x="127787" y="33515"/>
                  </a:lnTo>
                  <a:lnTo>
                    <a:pt x="146291" y="33515"/>
                  </a:lnTo>
                  <a:lnTo>
                    <a:pt x="153758" y="26009"/>
                  </a:lnTo>
                  <a:lnTo>
                    <a:pt x="153758" y="16751"/>
                  </a:lnTo>
                  <a:lnTo>
                    <a:pt x="153758" y="7505"/>
                  </a:lnTo>
                  <a:close/>
                </a:path>
                <a:path w="441325" h="757554">
                  <a:moveTo>
                    <a:pt x="173812" y="262204"/>
                  </a:moveTo>
                  <a:lnTo>
                    <a:pt x="166344" y="254698"/>
                  </a:lnTo>
                  <a:lnTo>
                    <a:pt x="147853" y="254698"/>
                  </a:lnTo>
                  <a:lnTo>
                    <a:pt x="140385" y="262204"/>
                  </a:lnTo>
                  <a:lnTo>
                    <a:pt x="140385" y="280708"/>
                  </a:lnTo>
                  <a:lnTo>
                    <a:pt x="147853" y="288201"/>
                  </a:lnTo>
                  <a:lnTo>
                    <a:pt x="166344" y="288201"/>
                  </a:lnTo>
                  <a:lnTo>
                    <a:pt x="173812" y="280708"/>
                  </a:lnTo>
                  <a:lnTo>
                    <a:pt x="173812" y="271449"/>
                  </a:lnTo>
                  <a:lnTo>
                    <a:pt x="173812" y="262204"/>
                  </a:lnTo>
                  <a:close/>
                </a:path>
                <a:path w="441325" h="757554">
                  <a:moveTo>
                    <a:pt x="187172" y="731380"/>
                  </a:moveTo>
                  <a:lnTo>
                    <a:pt x="179717" y="723874"/>
                  </a:lnTo>
                  <a:lnTo>
                    <a:pt x="161213" y="723874"/>
                  </a:lnTo>
                  <a:lnTo>
                    <a:pt x="153758" y="731380"/>
                  </a:lnTo>
                  <a:lnTo>
                    <a:pt x="153758" y="749884"/>
                  </a:lnTo>
                  <a:lnTo>
                    <a:pt x="161213" y="757377"/>
                  </a:lnTo>
                  <a:lnTo>
                    <a:pt x="179717" y="757377"/>
                  </a:lnTo>
                  <a:lnTo>
                    <a:pt x="187172" y="749884"/>
                  </a:lnTo>
                  <a:lnTo>
                    <a:pt x="187172" y="740625"/>
                  </a:lnTo>
                  <a:lnTo>
                    <a:pt x="187172" y="731380"/>
                  </a:lnTo>
                  <a:close/>
                </a:path>
                <a:path w="441325" h="757554">
                  <a:moveTo>
                    <a:pt x="207238" y="7505"/>
                  </a:moveTo>
                  <a:lnTo>
                    <a:pt x="199771" y="0"/>
                  </a:lnTo>
                  <a:lnTo>
                    <a:pt x="181267" y="0"/>
                  </a:lnTo>
                  <a:lnTo>
                    <a:pt x="173812" y="7505"/>
                  </a:lnTo>
                  <a:lnTo>
                    <a:pt x="173812" y="26009"/>
                  </a:lnTo>
                  <a:lnTo>
                    <a:pt x="181267" y="33515"/>
                  </a:lnTo>
                  <a:lnTo>
                    <a:pt x="199771" y="33515"/>
                  </a:lnTo>
                  <a:lnTo>
                    <a:pt x="207238" y="26009"/>
                  </a:lnTo>
                  <a:lnTo>
                    <a:pt x="207238" y="16751"/>
                  </a:lnTo>
                  <a:lnTo>
                    <a:pt x="207238" y="7505"/>
                  </a:lnTo>
                  <a:close/>
                </a:path>
                <a:path w="441325" h="757554">
                  <a:moveTo>
                    <a:pt x="220599" y="262204"/>
                  </a:moveTo>
                  <a:lnTo>
                    <a:pt x="213144" y="254698"/>
                  </a:lnTo>
                  <a:lnTo>
                    <a:pt x="194640" y="254698"/>
                  </a:lnTo>
                  <a:lnTo>
                    <a:pt x="187172" y="262204"/>
                  </a:lnTo>
                  <a:lnTo>
                    <a:pt x="187172" y="280708"/>
                  </a:lnTo>
                  <a:lnTo>
                    <a:pt x="194640" y="288201"/>
                  </a:lnTo>
                  <a:lnTo>
                    <a:pt x="213144" y="288201"/>
                  </a:lnTo>
                  <a:lnTo>
                    <a:pt x="220599" y="280708"/>
                  </a:lnTo>
                  <a:lnTo>
                    <a:pt x="220599" y="271449"/>
                  </a:lnTo>
                  <a:lnTo>
                    <a:pt x="220599" y="262204"/>
                  </a:lnTo>
                  <a:close/>
                </a:path>
                <a:path w="441325" h="757554">
                  <a:moveTo>
                    <a:pt x="240652" y="731380"/>
                  </a:moveTo>
                  <a:lnTo>
                    <a:pt x="233197" y="723874"/>
                  </a:lnTo>
                  <a:lnTo>
                    <a:pt x="214693" y="723874"/>
                  </a:lnTo>
                  <a:lnTo>
                    <a:pt x="207238" y="731380"/>
                  </a:lnTo>
                  <a:lnTo>
                    <a:pt x="207238" y="749884"/>
                  </a:lnTo>
                  <a:lnTo>
                    <a:pt x="214693" y="757377"/>
                  </a:lnTo>
                  <a:lnTo>
                    <a:pt x="233197" y="757377"/>
                  </a:lnTo>
                  <a:lnTo>
                    <a:pt x="240652" y="749884"/>
                  </a:lnTo>
                  <a:lnTo>
                    <a:pt x="240652" y="740625"/>
                  </a:lnTo>
                  <a:lnTo>
                    <a:pt x="240652" y="731380"/>
                  </a:lnTo>
                  <a:close/>
                </a:path>
                <a:path w="441325" h="757554">
                  <a:moveTo>
                    <a:pt x="254025" y="7505"/>
                  </a:moveTo>
                  <a:lnTo>
                    <a:pt x="246557" y="0"/>
                  </a:lnTo>
                  <a:lnTo>
                    <a:pt x="228066" y="0"/>
                  </a:lnTo>
                  <a:lnTo>
                    <a:pt x="220599" y="7505"/>
                  </a:lnTo>
                  <a:lnTo>
                    <a:pt x="220599" y="26009"/>
                  </a:lnTo>
                  <a:lnTo>
                    <a:pt x="228066" y="33515"/>
                  </a:lnTo>
                  <a:lnTo>
                    <a:pt x="246557" y="33515"/>
                  </a:lnTo>
                  <a:lnTo>
                    <a:pt x="254025" y="26009"/>
                  </a:lnTo>
                  <a:lnTo>
                    <a:pt x="254025" y="16751"/>
                  </a:lnTo>
                  <a:lnTo>
                    <a:pt x="254025" y="7505"/>
                  </a:lnTo>
                  <a:close/>
                </a:path>
                <a:path w="441325" h="757554">
                  <a:moveTo>
                    <a:pt x="274078" y="476681"/>
                  </a:moveTo>
                  <a:lnTo>
                    <a:pt x="266623" y="469176"/>
                  </a:lnTo>
                  <a:lnTo>
                    <a:pt x="248119" y="469176"/>
                  </a:lnTo>
                  <a:lnTo>
                    <a:pt x="240652" y="476681"/>
                  </a:lnTo>
                  <a:lnTo>
                    <a:pt x="240652" y="495185"/>
                  </a:lnTo>
                  <a:lnTo>
                    <a:pt x="248119" y="502691"/>
                  </a:lnTo>
                  <a:lnTo>
                    <a:pt x="266623" y="502691"/>
                  </a:lnTo>
                  <a:lnTo>
                    <a:pt x="274078" y="495185"/>
                  </a:lnTo>
                  <a:lnTo>
                    <a:pt x="274078" y="485927"/>
                  </a:lnTo>
                  <a:lnTo>
                    <a:pt x="274078" y="476681"/>
                  </a:lnTo>
                  <a:close/>
                </a:path>
                <a:path w="441325" h="757554">
                  <a:moveTo>
                    <a:pt x="287451" y="731380"/>
                  </a:moveTo>
                  <a:lnTo>
                    <a:pt x="279984" y="723874"/>
                  </a:lnTo>
                  <a:lnTo>
                    <a:pt x="261493" y="723874"/>
                  </a:lnTo>
                  <a:lnTo>
                    <a:pt x="254025" y="731380"/>
                  </a:lnTo>
                  <a:lnTo>
                    <a:pt x="254025" y="749884"/>
                  </a:lnTo>
                  <a:lnTo>
                    <a:pt x="261493" y="757377"/>
                  </a:lnTo>
                  <a:lnTo>
                    <a:pt x="279984" y="757377"/>
                  </a:lnTo>
                  <a:lnTo>
                    <a:pt x="287451" y="749884"/>
                  </a:lnTo>
                  <a:lnTo>
                    <a:pt x="287451" y="740625"/>
                  </a:lnTo>
                  <a:lnTo>
                    <a:pt x="287451" y="731380"/>
                  </a:lnTo>
                  <a:close/>
                </a:path>
                <a:path w="441325" h="757554">
                  <a:moveTo>
                    <a:pt x="307505" y="7505"/>
                  </a:moveTo>
                  <a:lnTo>
                    <a:pt x="300050" y="0"/>
                  </a:lnTo>
                  <a:lnTo>
                    <a:pt x="281546" y="0"/>
                  </a:lnTo>
                  <a:lnTo>
                    <a:pt x="274078" y="7505"/>
                  </a:lnTo>
                  <a:lnTo>
                    <a:pt x="274078" y="26009"/>
                  </a:lnTo>
                  <a:lnTo>
                    <a:pt x="281546" y="33515"/>
                  </a:lnTo>
                  <a:lnTo>
                    <a:pt x="300050" y="33515"/>
                  </a:lnTo>
                  <a:lnTo>
                    <a:pt x="307505" y="26009"/>
                  </a:lnTo>
                  <a:lnTo>
                    <a:pt x="307505" y="16751"/>
                  </a:lnTo>
                  <a:lnTo>
                    <a:pt x="307505" y="7505"/>
                  </a:lnTo>
                  <a:close/>
                </a:path>
                <a:path w="441325" h="757554">
                  <a:moveTo>
                    <a:pt x="320878" y="369443"/>
                  </a:moveTo>
                  <a:lnTo>
                    <a:pt x="313410" y="361937"/>
                  </a:lnTo>
                  <a:lnTo>
                    <a:pt x="294919" y="361937"/>
                  </a:lnTo>
                  <a:lnTo>
                    <a:pt x="287451" y="369443"/>
                  </a:lnTo>
                  <a:lnTo>
                    <a:pt x="287451" y="387946"/>
                  </a:lnTo>
                  <a:lnTo>
                    <a:pt x="294919" y="395452"/>
                  </a:lnTo>
                  <a:lnTo>
                    <a:pt x="313410" y="395452"/>
                  </a:lnTo>
                  <a:lnTo>
                    <a:pt x="320878" y="387946"/>
                  </a:lnTo>
                  <a:lnTo>
                    <a:pt x="320878" y="378688"/>
                  </a:lnTo>
                  <a:lnTo>
                    <a:pt x="320878" y="369443"/>
                  </a:lnTo>
                  <a:close/>
                </a:path>
                <a:path w="441325" h="757554">
                  <a:moveTo>
                    <a:pt x="340931" y="731380"/>
                  </a:moveTo>
                  <a:lnTo>
                    <a:pt x="333463" y="723874"/>
                  </a:lnTo>
                  <a:lnTo>
                    <a:pt x="314972" y="723874"/>
                  </a:lnTo>
                  <a:lnTo>
                    <a:pt x="307505" y="731380"/>
                  </a:lnTo>
                  <a:lnTo>
                    <a:pt x="307505" y="749884"/>
                  </a:lnTo>
                  <a:lnTo>
                    <a:pt x="314972" y="757377"/>
                  </a:lnTo>
                  <a:lnTo>
                    <a:pt x="333463" y="757377"/>
                  </a:lnTo>
                  <a:lnTo>
                    <a:pt x="340931" y="749884"/>
                  </a:lnTo>
                  <a:lnTo>
                    <a:pt x="340931" y="740625"/>
                  </a:lnTo>
                  <a:lnTo>
                    <a:pt x="340931" y="731380"/>
                  </a:lnTo>
                  <a:close/>
                </a:path>
                <a:path w="441325" h="757554">
                  <a:moveTo>
                    <a:pt x="354304" y="7505"/>
                  </a:moveTo>
                  <a:lnTo>
                    <a:pt x="346837" y="0"/>
                  </a:lnTo>
                  <a:lnTo>
                    <a:pt x="328345" y="0"/>
                  </a:lnTo>
                  <a:lnTo>
                    <a:pt x="320878" y="7505"/>
                  </a:lnTo>
                  <a:lnTo>
                    <a:pt x="320878" y="26009"/>
                  </a:lnTo>
                  <a:lnTo>
                    <a:pt x="328345" y="33515"/>
                  </a:lnTo>
                  <a:lnTo>
                    <a:pt x="346837" y="33515"/>
                  </a:lnTo>
                  <a:lnTo>
                    <a:pt x="354304" y="26009"/>
                  </a:lnTo>
                  <a:lnTo>
                    <a:pt x="354304" y="16751"/>
                  </a:lnTo>
                  <a:lnTo>
                    <a:pt x="354304" y="7505"/>
                  </a:lnTo>
                  <a:close/>
                </a:path>
                <a:path w="441325" h="757554">
                  <a:moveTo>
                    <a:pt x="374357" y="369443"/>
                  </a:moveTo>
                  <a:lnTo>
                    <a:pt x="366890" y="361937"/>
                  </a:lnTo>
                  <a:lnTo>
                    <a:pt x="348399" y="361937"/>
                  </a:lnTo>
                  <a:lnTo>
                    <a:pt x="340931" y="369443"/>
                  </a:lnTo>
                  <a:lnTo>
                    <a:pt x="340931" y="387946"/>
                  </a:lnTo>
                  <a:lnTo>
                    <a:pt x="348399" y="395452"/>
                  </a:lnTo>
                  <a:lnTo>
                    <a:pt x="366890" y="395452"/>
                  </a:lnTo>
                  <a:lnTo>
                    <a:pt x="374357" y="387946"/>
                  </a:lnTo>
                  <a:lnTo>
                    <a:pt x="374357" y="378688"/>
                  </a:lnTo>
                  <a:lnTo>
                    <a:pt x="374357" y="369443"/>
                  </a:lnTo>
                  <a:close/>
                </a:path>
                <a:path w="441325" h="757554">
                  <a:moveTo>
                    <a:pt x="387731" y="731380"/>
                  </a:moveTo>
                  <a:lnTo>
                    <a:pt x="380263" y="723874"/>
                  </a:lnTo>
                  <a:lnTo>
                    <a:pt x="361772" y="723874"/>
                  </a:lnTo>
                  <a:lnTo>
                    <a:pt x="354304" y="731380"/>
                  </a:lnTo>
                  <a:lnTo>
                    <a:pt x="354304" y="749884"/>
                  </a:lnTo>
                  <a:lnTo>
                    <a:pt x="361772" y="757377"/>
                  </a:lnTo>
                  <a:lnTo>
                    <a:pt x="380263" y="757377"/>
                  </a:lnTo>
                  <a:lnTo>
                    <a:pt x="387731" y="749884"/>
                  </a:lnTo>
                  <a:lnTo>
                    <a:pt x="387731" y="740625"/>
                  </a:lnTo>
                  <a:lnTo>
                    <a:pt x="387731" y="731380"/>
                  </a:lnTo>
                  <a:close/>
                </a:path>
                <a:path w="441325" h="757554">
                  <a:moveTo>
                    <a:pt x="407784" y="7505"/>
                  </a:moveTo>
                  <a:lnTo>
                    <a:pt x="400316" y="0"/>
                  </a:lnTo>
                  <a:lnTo>
                    <a:pt x="381825" y="0"/>
                  </a:lnTo>
                  <a:lnTo>
                    <a:pt x="374357" y="7505"/>
                  </a:lnTo>
                  <a:lnTo>
                    <a:pt x="374357" y="26009"/>
                  </a:lnTo>
                  <a:lnTo>
                    <a:pt x="381825" y="33515"/>
                  </a:lnTo>
                  <a:lnTo>
                    <a:pt x="400316" y="33515"/>
                  </a:lnTo>
                  <a:lnTo>
                    <a:pt x="407784" y="26009"/>
                  </a:lnTo>
                  <a:lnTo>
                    <a:pt x="407784" y="16751"/>
                  </a:lnTo>
                  <a:lnTo>
                    <a:pt x="407784" y="7505"/>
                  </a:lnTo>
                  <a:close/>
                </a:path>
                <a:path w="441325" h="757554">
                  <a:moveTo>
                    <a:pt x="421157" y="369443"/>
                  </a:moveTo>
                  <a:lnTo>
                    <a:pt x="413689" y="361937"/>
                  </a:lnTo>
                  <a:lnTo>
                    <a:pt x="395198" y="361937"/>
                  </a:lnTo>
                  <a:lnTo>
                    <a:pt x="387731" y="369443"/>
                  </a:lnTo>
                  <a:lnTo>
                    <a:pt x="387731" y="387946"/>
                  </a:lnTo>
                  <a:lnTo>
                    <a:pt x="395198" y="395452"/>
                  </a:lnTo>
                  <a:lnTo>
                    <a:pt x="413689" y="395452"/>
                  </a:lnTo>
                  <a:lnTo>
                    <a:pt x="421157" y="387946"/>
                  </a:lnTo>
                  <a:lnTo>
                    <a:pt x="421157" y="378688"/>
                  </a:lnTo>
                  <a:lnTo>
                    <a:pt x="421157" y="369443"/>
                  </a:lnTo>
                  <a:close/>
                </a:path>
                <a:path w="441325" h="757554">
                  <a:moveTo>
                    <a:pt x="441210" y="731380"/>
                  </a:moveTo>
                  <a:lnTo>
                    <a:pt x="433743" y="723874"/>
                  </a:lnTo>
                  <a:lnTo>
                    <a:pt x="415251" y="723874"/>
                  </a:lnTo>
                  <a:lnTo>
                    <a:pt x="407784" y="731380"/>
                  </a:lnTo>
                  <a:lnTo>
                    <a:pt x="407784" y="749884"/>
                  </a:lnTo>
                  <a:lnTo>
                    <a:pt x="415251" y="757377"/>
                  </a:lnTo>
                  <a:lnTo>
                    <a:pt x="433743" y="757377"/>
                  </a:lnTo>
                  <a:lnTo>
                    <a:pt x="441210" y="749884"/>
                  </a:lnTo>
                  <a:lnTo>
                    <a:pt x="441210" y="740625"/>
                  </a:lnTo>
                  <a:lnTo>
                    <a:pt x="441210" y="731380"/>
                  </a:lnTo>
                  <a:close/>
                </a:path>
              </a:pathLst>
            </a:custGeom>
            <a:solidFill>
              <a:srgbClr val="1F487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71" name="object 71"/>
          <p:cNvSpPr txBox="1">
            <a:spLocks noGrp="1"/>
          </p:cNvSpPr>
          <p:nvPr>
            <p:ph type="title"/>
          </p:nvPr>
        </p:nvSpPr>
        <p:spPr>
          <a:xfrm>
            <a:off x="292100" y="239979"/>
            <a:ext cx="7809865" cy="452120"/>
          </a:xfrm>
          <a:prstGeom prst="rect">
            <a:avLst/>
          </a:prstGeom>
        </p:spPr>
        <p:txBody>
          <a:bodyPr vert="horz" wrap="square" lIns="0" tIns="12065" rIns="0" bIns="0" rtlCol="0">
            <a:spAutoFit/>
          </a:bodyPr>
          <a:lstStyle/>
          <a:p>
            <a:pPr marL="12700">
              <a:lnSpc>
                <a:spcPct val="100000"/>
              </a:lnSpc>
              <a:spcBef>
                <a:spcPts val="95"/>
              </a:spcBef>
            </a:pPr>
            <a:r>
              <a:rPr>
                <a:solidFill>
                  <a:srgbClr val="E61216"/>
                </a:solidFill>
              </a:rPr>
              <a:t>CN</a:t>
            </a:r>
            <a:r>
              <a:rPr spc="-70">
                <a:solidFill>
                  <a:srgbClr val="E61216"/>
                </a:solidFill>
              </a:rPr>
              <a:t> </a:t>
            </a:r>
            <a:r>
              <a:rPr dirty="0">
                <a:solidFill>
                  <a:srgbClr val="E61216"/>
                </a:solidFill>
              </a:rPr>
              <a:t>and</a:t>
            </a:r>
            <a:r>
              <a:rPr spc="-60" dirty="0">
                <a:solidFill>
                  <a:srgbClr val="E61216"/>
                </a:solidFill>
              </a:rPr>
              <a:t> </a:t>
            </a:r>
            <a:r>
              <a:rPr dirty="0">
                <a:solidFill>
                  <a:srgbClr val="E61216"/>
                </a:solidFill>
              </a:rPr>
              <a:t>SNP</a:t>
            </a:r>
            <a:r>
              <a:rPr spc="-120" dirty="0">
                <a:solidFill>
                  <a:srgbClr val="E61216"/>
                </a:solidFill>
              </a:rPr>
              <a:t> </a:t>
            </a:r>
            <a:r>
              <a:rPr dirty="0">
                <a:solidFill>
                  <a:srgbClr val="E61216"/>
                </a:solidFill>
              </a:rPr>
              <a:t>track</a:t>
            </a:r>
            <a:r>
              <a:rPr spc="-65" dirty="0">
                <a:solidFill>
                  <a:srgbClr val="E61216"/>
                </a:solidFill>
              </a:rPr>
              <a:t> </a:t>
            </a:r>
            <a:r>
              <a:rPr spc="-10" dirty="0">
                <a:solidFill>
                  <a:srgbClr val="E61216"/>
                </a:solidFill>
              </a:rPr>
              <a:t>patterns…</a:t>
            </a:r>
          </a:p>
        </p:txBody>
      </p:sp>
      <p:sp>
        <p:nvSpPr>
          <p:cNvPr id="72" name="object 72"/>
          <p:cNvSpPr txBox="1">
            <a:spLocks noGrp="1"/>
          </p:cNvSpPr>
          <p:nvPr>
            <p:ph type="sldNum" sz="quarter" idx="7"/>
          </p:nvPr>
        </p:nvSpPr>
        <p:spPr>
          <a:prstGeom prst="rect">
            <a:avLst/>
          </a:prstGeom>
        </p:spPr>
        <p:txBody>
          <a:bodyPr vert="horz" wrap="square" lIns="0" tIns="0" rIns="0" bIns="0" rtlCol="0">
            <a:spAutoFit/>
          </a:bodyPr>
          <a:lstStyle/>
          <a:p>
            <a:pPr marL="38100" marR="0" lvl="0" indent="0" algn="l" defTabSz="914400" rtl="0" eaLnBrk="1" fontAlgn="auto" latinLnBrk="0" hangingPunct="1">
              <a:lnSpc>
                <a:spcPct val="100000"/>
              </a:lnSpc>
              <a:spcBef>
                <a:spcPts val="0"/>
              </a:spcBef>
              <a:spcAft>
                <a:spcPts val="0"/>
              </a:spcAft>
              <a:buClrTx/>
              <a:buSzTx/>
              <a:buFontTx/>
              <a:buNone/>
              <a:tabLst/>
              <a:defRPr/>
            </a:pPr>
            <a:fld id="{81D60167-4931-47E6-BA6A-407CBD079E47}" type="slidenum">
              <a:rPr kumimoji="0" sz="1000" b="0" i="0" u="none" strike="noStrike" kern="0" cap="none" spc="-25" normalizeH="0" baseline="0" noProof="0" dirty="0">
                <a:ln>
                  <a:noFill/>
                </a:ln>
                <a:solidFill>
                  <a:srgbClr val="535758"/>
                </a:solidFill>
                <a:effectLst/>
                <a:uLnTx/>
                <a:uFillTx/>
                <a:latin typeface="Arial"/>
                <a:ea typeface="+mn-ea"/>
                <a:cs typeface="Arial"/>
              </a:rPr>
              <a:pPr marL="38100" marR="0" lvl="0" indent="0" algn="l" defTabSz="914400" rtl="0" eaLnBrk="1" fontAlgn="auto" latinLnBrk="0" hangingPunct="1">
                <a:lnSpc>
                  <a:spcPct val="100000"/>
                </a:lnSpc>
                <a:spcBef>
                  <a:spcPts val="0"/>
                </a:spcBef>
                <a:spcAft>
                  <a:spcPts val="0"/>
                </a:spcAft>
                <a:buClrTx/>
                <a:buSzTx/>
                <a:buFontTx/>
                <a:buNone/>
                <a:tabLst/>
                <a:defRPr/>
              </a:pPr>
              <a:t>38</a:t>
            </a:fld>
            <a:endParaRPr kumimoji="0" sz="1000" b="0" i="0" u="none" strike="noStrike" kern="0" cap="none" spc="-25" normalizeH="0" baseline="0" noProof="0" dirty="0">
              <a:ln>
                <a:noFill/>
              </a:ln>
              <a:solidFill>
                <a:srgbClr val="535758"/>
              </a:solidFill>
              <a:effectLst/>
              <a:uLnTx/>
              <a:uFillTx/>
              <a:latin typeface="Arial"/>
              <a:ea typeface="+mn-ea"/>
              <a:cs typeface="Arial"/>
            </a:endParaRPr>
          </a:p>
        </p:txBody>
      </p:sp>
      <p:sp>
        <p:nvSpPr>
          <p:cNvPr id="73" name="Rectangle 72">
            <a:extLst>
              <a:ext uri="{FF2B5EF4-FFF2-40B4-BE49-F238E27FC236}">
                <a16:creationId xmlns:a16="http://schemas.microsoft.com/office/drawing/2014/main" id="{74A722D6-7FED-3B28-3B87-9142770D4FCF}"/>
              </a:ext>
            </a:extLst>
          </p:cNvPr>
          <p:cNvSpPr/>
          <p:nvPr/>
        </p:nvSpPr>
        <p:spPr>
          <a:xfrm>
            <a:off x="9862457" y="0"/>
            <a:ext cx="2211355" cy="76511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6633916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304800" y="1033272"/>
            <a:ext cx="11582400" cy="5451475"/>
            <a:chOff x="304800" y="1033272"/>
            <a:chExt cx="11582400" cy="5451475"/>
          </a:xfrm>
        </p:grpSpPr>
        <p:pic>
          <p:nvPicPr>
            <p:cNvPr id="3" name="object 3"/>
            <p:cNvPicPr/>
            <p:nvPr/>
          </p:nvPicPr>
          <p:blipFill>
            <a:blip r:embed="rId2" cstate="print"/>
            <a:stretch>
              <a:fillRect/>
            </a:stretch>
          </p:blipFill>
          <p:spPr>
            <a:xfrm>
              <a:off x="304800" y="1033272"/>
              <a:ext cx="11582400" cy="5451348"/>
            </a:xfrm>
            <a:prstGeom prst="rect">
              <a:avLst/>
            </a:prstGeom>
          </p:spPr>
        </p:pic>
        <p:pic>
          <p:nvPicPr>
            <p:cNvPr id="4" name="object 4"/>
            <p:cNvPicPr/>
            <p:nvPr/>
          </p:nvPicPr>
          <p:blipFill>
            <a:blip r:embed="rId3" cstate="print"/>
            <a:stretch>
              <a:fillRect/>
            </a:stretch>
          </p:blipFill>
          <p:spPr>
            <a:xfrm>
              <a:off x="6324600" y="4523231"/>
              <a:ext cx="2743200" cy="1301496"/>
            </a:xfrm>
            <a:prstGeom prst="rect">
              <a:avLst/>
            </a:prstGeom>
          </p:spPr>
        </p:pic>
      </p:grpSp>
      <p:sp>
        <p:nvSpPr>
          <p:cNvPr id="5" name="object 5"/>
          <p:cNvSpPr txBox="1">
            <a:spLocks noGrp="1"/>
          </p:cNvSpPr>
          <p:nvPr>
            <p:ph type="title"/>
          </p:nvPr>
        </p:nvSpPr>
        <p:spPr>
          <a:xfrm>
            <a:off x="292100" y="239979"/>
            <a:ext cx="3108325" cy="452120"/>
          </a:xfrm>
          <a:prstGeom prst="rect">
            <a:avLst/>
          </a:prstGeom>
        </p:spPr>
        <p:txBody>
          <a:bodyPr vert="horz" wrap="square" lIns="0" tIns="12065" rIns="0" bIns="0" rtlCol="0">
            <a:spAutoFit/>
          </a:bodyPr>
          <a:lstStyle/>
          <a:p>
            <a:pPr marL="12700">
              <a:lnSpc>
                <a:spcPct val="100000"/>
              </a:lnSpc>
              <a:spcBef>
                <a:spcPts val="95"/>
              </a:spcBef>
            </a:pPr>
            <a:r>
              <a:rPr dirty="0">
                <a:solidFill>
                  <a:srgbClr val="E61216"/>
                </a:solidFill>
              </a:rPr>
              <a:t>Example</a:t>
            </a:r>
            <a:r>
              <a:rPr spc="-50" dirty="0">
                <a:solidFill>
                  <a:srgbClr val="E61216"/>
                </a:solidFill>
              </a:rPr>
              <a:t> </a:t>
            </a:r>
            <a:r>
              <a:rPr dirty="0">
                <a:solidFill>
                  <a:srgbClr val="E61216"/>
                </a:solidFill>
              </a:rPr>
              <a:t>of</a:t>
            </a:r>
            <a:r>
              <a:rPr spc="-55" dirty="0">
                <a:solidFill>
                  <a:srgbClr val="E61216"/>
                </a:solidFill>
              </a:rPr>
              <a:t> </a:t>
            </a:r>
            <a:r>
              <a:rPr dirty="0">
                <a:solidFill>
                  <a:srgbClr val="E61216"/>
                </a:solidFill>
              </a:rPr>
              <a:t>a</a:t>
            </a:r>
            <a:r>
              <a:rPr spc="-55" dirty="0">
                <a:solidFill>
                  <a:srgbClr val="E61216"/>
                </a:solidFill>
              </a:rPr>
              <a:t> </a:t>
            </a:r>
            <a:r>
              <a:rPr spc="-20" dirty="0">
                <a:solidFill>
                  <a:srgbClr val="E61216"/>
                </a:solidFill>
              </a:rPr>
              <a:t>Gain</a:t>
            </a:r>
          </a:p>
        </p:txBody>
      </p:sp>
      <p:sp>
        <p:nvSpPr>
          <p:cNvPr id="6" name="object 6"/>
          <p:cNvSpPr txBox="1"/>
          <p:nvPr/>
        </p:nvSpPr>
        <p:spPr>
          <a:xfrm>
            <a:off x="53339" y="6627158"/>
            <a:ext cx="229235" cy="167005"/>
          </a:xfrm>
          <a:prstGeom prst="rect">
            <a:avLst/>
          </a:prstGeom>
        </p:spPr>
        <p:txBody>
          <a:bodyPr vert="horz" wrap="square" lIns="0" tIns="0" rIns="0" bIns="0" rtlCol="0">
            <a:spAutoFit/>
          </a:bodyPr>
          <a:lstStyle/>
          <a:p>
            <a:pPr marL="38100" marR="0" lvl="0" indent="0" algn="l" defTabSz="914400" rtl="0" eaLnBrk="1" fontAlgn="auto" latinLnBrk="0" hangingPunct="1">
              <a:lnSpc>
                <a:spcPct val="100000"/>
              </a:lnSpc>
              <a:spcBef>
                <a:spcPts val="0"/>
              </a:spcBef>
              <a:spcAft>
                <a:spcPts val="0"/>
              </a:spcAft>
              <a:buClrTx/>
              <a:buSzTx/>
              <a:buFontTx/>
              <a:buNone/>
              <a:tabLst/>
              <a:defRPr/>
            </a:pPr>
            <a:fld id="{81D60167-4931-47E6-BA6A-407CBD079E47}" type="slidenum">
              <a:rPr kumimoji="0" sz="1000" b="0" i="0" u="none" strike="noStrike" kern="0" cap="none" spc="-25" normalizeH="0" baseline="0" noProof="0" dirty="0">
                <a:ln>
                  <a:noFill/>
                </a:ln>
                <a:solidFill>
                  <a:srgbClr val="212121"/>
                </a:solidFill>
                <a:effectLst/>
                <a:uLnTx/>
                <a:uFillTx/>
                <a:latin typeface="Arial"/>
                <a:ea typeface="+mn-ea"/>
                <a:cs typeface="Arial"/>
              </a:rPr>
              <a:pPr marL="38100" marR="0" lvl="0" indent="0" algn="l" defTabSz="914400" rtl="0" eaLnBrk="1" fontAlgn="auto" latinLnBrk="0" hangingPunct="1">
                <a:lnSpc>
                  <a:spcPct val="100000"/>
                </a:lnSpc>
                <a:spcBef>
                  <a:spcPts val="0"/>
                </a:spcBef>
                <a:spcAft>
                  <a:spcPts val="0"/>
                </a:spcAft>
                <a:buClrTx/>
                <a:buSzTx/>
                <a:buFontTx/>
                <a:buNone/>
                <a:tabLst/>
                <a:defRPr/>
              </a:pPr>
              <a:t>39</a:t>
            </a:fld>
            <a:endParaRPr kumimoji="0" sz="100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7" name="object 7"/>
          <p:cNvSpPr txBox="1"/>
          <p:nvPr/>
        </p:nvSpPr>
        <p:spPr>
          <a:xfrm>
            <a:off x="396036" y="6631425"/>
            <a:ext cx="3474085" cy="167005"/>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000" b="0" i="0" u="none" strike="noStrike" kern="0" cap="none" spc="0" normalizeH="0" baseline="0" noProof="0" dirty="0">
                <a:ln>
                  <a:noFill/>
                </a:ln>
                <a:solidFill>
                  <a:srgbClr val="535758"/>
                </a:solidFill>
                <a:effectLst/>
                <a:uLnTx/>
                <a:uFillTx/>
                <a:latin typeface="Arial"/>
                <a:ea typeface="+mn-ea"/>
                <a:cs typeface="Arial"/>
              </a:rPr>
              <a:t>For</a:t>
            </a:r>
            <a:r>
              <a:rPr kumimoji="0" sz="1000" b="0" i="0" u="none" strike="noStrike" kern="0" cap="none" spc="-30" normalizeH="0" baseline="0" noProof="0" dirty="0">
                <a:ln>
                  <a:noFill/>
                </a:ln>
                <a:solidFill>
                  <a:srgbClr val="535758"/>
                </a:solidFill>
                <a:effectLst/>
                <a:uLnTx/>
                <a:uFillTx/>
                <a:latin typeface="Arial"/>
                <a:ea typeface="+mn-ea"/>
                <a:cs typeface="Arial"/>
              </a:rPr>
              <a:t> </a:t>
            </a:r>
            <a:r>
              <a:rPr kumimoji="0" sz="1000" b="0" i="0" u="none" strike="noStrike" kern="0" cap="none" spc="0" normalizeH="0" baseline="0" noProof="0" dirty="0">
                <a:ln>
                  <a:noFill/>
                </a:ln>
                <a:solidFill>
                  <a:srgbClr val="535758"/>
                </a:solidFill>
                <a:effectLst/>
                <a:uLnTx/>
                <a:uFillTx/>
                <a:latin typeface="Arial"/>
                <a:ea typeface="+mn-ea"/>
                <a:cs typeface="Arial"/>
              </a:rPr>
              <a:t>Research</a:t>
            </a:r>
            <a:r>
              <a:rPr kumimoji="0" sz="1000" b="0" i="0" u="none" strike="noStrike" kern="0" cap="none" spc="-35" normalizeH="0" baseline="0" noProof="0" dirty="0">
                <a:ln>
                  <a:noFill/>
                </a:ln>
                <a:solidFill>
                  <a:srgbClr val="535758"/>
                </a:solidFill>
                <a:effectLst/>
                <a:uLnTx/>
                <a:uFillTx/>
                <a:latin typeface="Arial"/>
                <a:ea typeface="+mn-ea"/>
                <a:cs typeface="Arial"/>
              </a:rPr>
              <a:t> </a:t>
            </a:r>
            <a:r>
              <a:rPr kumimoji="0" sz="1000" b="0" i="0" u="none" strike="noStrike" kern="0" cap="none" spc="0" normalizeH="0" baseline="0" noProof="0" dirty="0">
                <a:ln>
                  <a:noFill/>
                </a:ln>
                <a:solidFill>
                  <a:srgbClr val="535758"/>
                </a:solidFill>
                <a:effectLst/>
                <a:uLnTx/>
                <a:uFillTx/>
                <a:latin typeface="Arial"/>
                <a:ea typeface="+mn-ea"/>
                <a:cs typeface="Arial"/>
              </a:rPr>
              <a:t>Use</a:t>
            </a:r>
            <a:r>
              <a:rPr kumimoji="0" sz="1000" b="0" i="0" u="none" strike="noStrike" kern="0" cap="none" spc="-30" normalizeH="0" baseline="0" noProof="0" dirty="0">
                <a:ln>
                  <a:noFill/>
                </a:ln>
                <a:solidFill>
                  <a:srgbClr val="535758"/>
                </a:solidFill>
                <a:effectLst/>
                <a:uLnTx/>
                <a:uFillTx/>
                <a:latin typeface="Arial"/>
                <a:ea typeface="+mn-ea"/>
                <a:cs typeface="Arial"/>
              </a:rPr>
              <a:t> </a:t>
            </a:r>
            <a:r>
              <a:rPr kumimoji="0" sz="1000" b="0" i="0" u="none" strike="noStrike" kern="0" cap="none" spc="0" normalizeH="0" baseline="0" noProof="0" dirty="0">
                <a:ln>
                  <a:noFill/>
                </a:ln>
                <a:solidFill>
                  <a:srgbClr val="535758"/>
                </a:solidFill>
                <a:effectLst/>
                <a:uLnTx/>
                <a:uFillTx/>
                <a:latin typeface="Arial"/>
                <a:ea typeface="+mn-ea"/>
                <a:cs typeface="Arial"/>
              </a:rPr>
              <a:t>Only.</a:t>
            </a:r>
            <a:r>
              <a:rPr kumimoji="0" sz="1000" b="0" i="0" u="none" strike="noStrike" kern="0" cap="none" spc="10" normalizeH="0" baseline="0" noProof="0" dirty="0">
                <a:ln>
                  <a:noFill/>
                </a:ln>
                <a:solidFill>
                  <a:srgbClr val="535758"/>
                </a:solidFill>
                <a:effectLst/>
                <a:uLnTx/>
                <a:uFillTx/>
                <a:latin typeface="Arial"/>
                <a:ea typeface="+mn-ea"/>
                <a:cs typeface="Arial"/>
              </a:rPr>
              <a:t> </a:t>
            </a:r>
            <a:r>
              <a:rPr kumimoji="0" sz="1000" b="0" i="0" u="none" strike="noStrike" kern="0" cap="none" spc="0" normalizeH="0" baseline="0" noProof="0" dirty="0">
                <a:ln>
                  <a:noFill/>
                </a:ln>
                <a:solidFill>
                  <a:srgbClr val="535758"/>
                </a:solidFill>
                <a:effectLst/>
                <a:uLnTx/>
                <a:uFillTx/>
                <a:latin typeface="Arial"/>
                <a:ea typeface="+mn-ea"/>
                <a:cs typeface="Arial"/>
              </a:rPr>
              <a:t>Not</a:t>
            </a:r>
            <a:r>
              <a:rPr kumimoji="0" sz="1000" b="0" i="0" u="none" strike="noStrike" kern="0" cap="none" spc="-25" normalizeH="0" baseline="0" noProof="0" dirty="0">
                <a:ln>
                  <a:noFill/>
                </a:ln>
                <a:solidFill>
                  <a:srgbClr val="535758"/>
                </a:solidFill>
                <a:effectLst/>
                <a:uLnTx/>
                <a:uFillTx/>
                <a:latin typeface="Arial"/>
                <a:ea typeface="+mn-ea"/>
                <a:cs typeface="Arial"/>
              </a:rPr>
              <a:t> </a:t>
            </a:r>
            <a:r>
              <a:rPr kumimoji="0" sz="1000" b="0" i="0" u="none" strike="noStrike" kern="0" cap="none" spc="0" normalizeH="0" baseline="0" noProof="0" dirty="0">
                <a:ln>
                  <a:noFill/>
                </a:ln>
                <a:solidFill>
                  <a:srgbClr val="535758"/>
                </a:solidFill>
                <a:effectLst/>
                <a:uLnTx/>
                <a:uFillTx/>
                <a:latin typeface="Arial"/>
                <a:ea typeface="+mn-ea"/>
                <a:cs typeface="Arial"/>
              </a:rPr>
              <a:t>for</a:t>
            </a:r>
            <a:r>
              <a:rPr kumimoji="0" sz="1000" b="0" i="0" u="none" strike="noStrike" kern="0" cap="none" spc="-45" normalizeH="0" baseline="0" noProof="0" dirty="0">
                <a:ln>
                  <a:noFill/>
                </a:ln>
                <a:solidFill>
                  <a:srgbClr val="535758"/>
                </a:solidFill>
                <a:effectLst/>
                <a:uLnTx/>
                <a:uFillTx/>
                <a:latin typeface="Arial"/>
                <a:ea typeface="+mn-ea"/>
                <a:cs typeface="Arial"/>
              </a:rPr>
              <a:t> </a:t>
            </a:r>
            <a:r>
              <a:rPr kumimoji="0" sz="1000" b="0" i="0" u="none" strike="noStrike" kern="0" cap="none" spc="0" normalizeH="0" baseline="0" noProof="0" dirty="0">
                <a:ln>
                  <a:noFill/>
                </a:ln>
                <a:solidFill>
                  <a:srgbClr val="535758"/>
                </a:solidFill>
                <a:effectLst/>
                <a:uLnTx/>
                <a:uFillTx/>
                <a:latin typeface="Arial"/>
                <a:ea typeface="+mn-ea"/>
                <a:cs typeface="Arial"/>
              </a:rPr>
              <a:t>use</a:t>
            </a:r>
            <a:r>
              <a:rPr kumimoji="0" sz="1000" b="0" i="0" u="none" strike="noStrike" kern="0" cap="none" spc="-25" normalizeH="0" baseline="0" noProof="0" dirty="0">
                <a:ln>
                  <a:noFill/>
                </a:ln>
                <a:solidFill>
                  <a:srgbClr val="535758"/>
                </a:solidFill>
                <a:effectLst/>
                <a:uLnTx/>
                <a:uFillTx/>
                <a:latin typeface="Arial"/>
                <a:ea typeface="+mn-ea"/>
                <a:cs typeface="Arial"/>
              </a:rPr>
              <a:t> </a:t>
            </a:r>
            <a:r>
              <a:rPr kumimoji="0" sz="1000" b="0" i="0" u="none" strike="noStrike" kern="0" cap="none" spc="0" normalizeH="0" baseline="0" noProof="0" dirty="0">
                <a:ln>
                  <a:noFill/>
                </a:ln>
                <a:solidFill>
                  <a:srgbClr val="535758"/>
                </a:solidFill>
                <a:effectLst/>
                <a:uLnTx/>
                <a:uFillTx/>
                <a:latin typeface="Arial"/>
                <a:ea typeface="+mn-ea"/>
                <a:cs typeface="Arial"/>
              </a:rPr>
              <a:t>in</a:t>
            </a:r>
            <a:r>
              <a:rPr kumimoji="0" sz="1000" b="0" i="0" u="none" strike="noStrike" kern="0" cap="none" spc="-25" normalizeH="0" baseline="0" noProof="0" dirty="0">
                <a:ln>
                  <a:noFill/>
                </a:ln>
                <a:solidFill>
                  <a:srgbClr val="535758"/>
                </a:solidFill>
                <a:effectLst/>
                <a:uLnTx/>
                <a:uFillTx/>
                <a:latin typeface="Arial"/>
                <a:ea typeface="+mn-ea"/>
                <a:cs typeface="Arial"/>
              </a:rPr>
              <a:t> </a:t>
            </a:r>
            <a:r>
              <a:rPr kumimoji="0" sz="1000" b="0" i="0" u="none" strike="noStrike" kern="0" cap="none" spc="-10" normalizeH="0" baseline="0" noProof="0" dirty="0">
                <a:ln>
                  <a:noFill/>
                </a:ln>
                <a:solidFill>
                  <a:srgbClr val="535758"/>
                </a:solidFill>
                <a:effectLst/>
                <a:uLnTx/>
                <a:uFillTx/>
                <a:latin typeface="Arial"/>
                <a:ea typeface="+mn-ea"/>
                <a:cs typeface="Arial"/>
              </a:rPr>
              <a:t>diagnostic</a:t>
            </a:r>
            <a:r>
              <a:rPr kumimoji="0" sz="1000" b="0" i="0" u="none" strike="noStrike" kern="0" cap="none" spc="-25" normalizeH="0" baseline="0" noProof="0" dirty="0">
                <a:ln>
                  <a:noFill/>
                </a:ln>
                <a:solidFill>
                  <a:srgbClr val="535758"/>
                </a:solidFill>
                <a:effectLst/>
                <a:uLnTx/>
                <a:uFillTx/>
                <a:latin typeface="Arial"/>
                <a:ea typeface="+mn-ea"/>
                <a:cs typeface="Arial"/>
              </a:rPr>
              <a:t> </a:t>
            </a:r>
            <a:r>
              <a:rPr kumimoji="0" sz="1000" b="0" i="0" u="none" strike="noStrike" kern="0" cap="none" spc="-10" normalizeH="0" baseline="0" noProof="0" dirty="0">
                <a:ln>
                  <a:noFill/>
                </a:ln>
                <a:solidFill>
                  <a:srgbClr val="535758"/>
                </a:solidFill>
                <a:effectLst/>
                <a:uLnTx/>
                <a:uFillTx/>
                <a:latin typeface="Arial"/>
                <a:ea typeface="+mn-ea"/>
                <a:cs typeface="Arial"/>
              </a:rPr>
              <a:t>procedures.</a:t>
            </a:r>
            <a:endParaRPr kumimoji="0" sz="100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8" name="Rectangle 7">
            <a:extLst>
              <a:ext uri="{FF2B5EF4-FFF2-40B4-BE49-F238E27FC236}">
                <a16:creationId xmlns:a16="http://schemas.microsoft.com/office/drawing/2014/main" id="{65081564-1A3B-E492-37EA-5F134FCCE311}"/>
              </a:ext>
            </a:extLst>
          </p:cNvPr>
          <p:cNvSpPr/>
          <p:nvPr/>
        </p:nvSpPr>
        <p:spPr>
          <a:xfrm>
            <a:off x="9862457" y="0"/>
            <a:ext cx="2211355" cy="76511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214641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9D9B4CF-8782-410E-A46F-FA6CA9F316D6}"/>
              </a:ext>
            </a:extLst>
          </p:cNvPr>
          <p:cNvSpPr>
            <a:spLocks noGrp="1"/>
          </p:cNvSpPr>
          <p:nvPr>
            <p:ph type="sldNum" sz="quarter" idx="12"/>
          </p:nvPr>
        </p:nvSpPr>
        <p:spPr/>
        <p:txBody>
          <a:bodyPr/>
          <a:lstStyle/>
          <a:p>
            <a:pPr defTabSz="685778"/>
            <a:fld id="{89006F1E-66CD-4A4B-9370-B4A3080F0E6C}" type="slidenum">
              <a:rPr lang="en-US">
                <a:solidFill>
                  <a:srgbClr val="545859"/>
                </a:solidFill>
                <a:latin typeface="Arial" panose="020B0604020202020204"/>
                <a:cs typeface="Arial" charset="0"/>
              </a:rPr>
              <a:pPr defTabSz="685778"/>
              <a:t>4</a:t>
            </a:fld>
            <a:endParaRPr lang="en-US">
              <a:solidFill>
                <a:srgbClr val="545859"/>
              </a:solidFill>
              <a:latin typeface="Arial" panose="020B0604020202020204"/>
              <a:cs typeface="Arial" charset="0"/>
            </a:endParaRPr>
          </a:p>
        </p:txBody>
      </p:sp>
      <p:sp>
        <p:nvSpPr>
          <p:cNvPr id="4" name="Rectangle 3">
            <a:extLst>
              <a:ext uri="{FF2B5EF4-FFF2-40B4-BE49-F238E27FC236}">
                <a16:creationId xmlns:a16="http://schemas.microsoft.com/office/drawing/2014/main" id="{21B2E0BD-5702-FB46-D0B9-55133168774D}"/>
              </a:ext>
            </a:extLst>
          </p:cNvPr>
          <p:cNvSpPr/>
          <p:nvPr/>
        </p:nvSpPr>
        <p:spPr bwMode="auto">
          <a:xfrm>
            <a:off x="233265" y="0"/>
            <a:ext cx="2836506" cy="1162282"/>
          </a:xfrm>
          <a:prstGeom prst="rect">
            <a:avLst/>
          </a:prstGeom>
          <a:solidFill>
            <a:schemeClr val="bg1"/>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1800" dirty="0">
              <a:latin typeface="Arial" pitchFamily="124" charset="0"/>
            </a:endParaRPr>
          </a:p>
        </p:txBody>
      </p:sp>
      <p:sp>
        <p:nvSpPr>
          <p:cNvPr id="5" name="Rectangle 4">
            <a:extLst>
              <a:ext uri="{FF2B5EF4-FFF2-40B4-BE49-F238E27FC236}">
                <a16:creationId xmlns:a16="http://schemas.microsoft.com/office/drawing/2014/main" id="{FCE22047-FD1E-FFAC-8906-C234A477BFE2}"/>
              </a:ext>
            </a:extLst>
          </p:cNvPr>
          <p:cNvSpPr/>
          <p:nvPr/>
        </p:nvSpPr>
        <p:spPr bwMode="auto">
          <a:xfrm>
            <a:off x="233265" y="6022292"/>
            <a:ext cx="3887756" cy="530910"/>
          </a:xfrm>
          <a:prstGeom prst="rect">
            <a:avLst/>
          </a:prstGeom>
          <a:solidFill>
            <a:schemeClr val="bg1"/>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1800" dirty="0">
              <a:latin typeface="Arial" pitchFamily="124" charset="0"/>
            </a:endParaRPr>
          </a:p>
        </p:txBody>
      </p:sp>
      <p:sp>
        <p:nvSpPr>
          <p:cNvPr id="9" name="Slide Number Placeholder 1">
            <a:extLst>
              <a:ext uri="{FF2B5EF4-FFF2-40B4-BE49-F238E27FC236}">
                <a16:creationId xmlns:a16="http://schemas.microsoft.com/office/drawing/2014/main" id="{E6F41D81-3845-1CFB-B0D4-8CB8AB9B1C03}"/>
              </a:ext>
            </a:extLst>
          </p:cNvPr>
          <p:cNvSpPr txBox="1">
            <a:spLocks/>
          </p:cNvSpPr>
          <p:nvPr/>
        </p:nvSpPr>
        <p:spPr>
          <a:xfrm>
            <a:off x="1" y="6553200"/>
            <a:ext cx="304799" cy="304799"/>
          </a:xfrm>
          <a:prstGeom prst="rect">
            <a:avLst/>
          </a:prstGeom>
        </p:spPr>
        <p:txBody>
          <a:bodyPr vert="horz" lIns="0" tIns="0" rIns="0" bIns="0" rtlCol="0" anchor="b">
            <a:normAutofit/>
          </a:bodyPr>
          <a:lstStyle>
            <a:lvl1pPr marL="215497" indent="-215497" algn="l" defTabSz="685778" rtl="0" eaLnBrk="1" latinLnBrk="0" hangingPunct="1">
              <a:lnSpc>
                <a:spcPct val="120000"/>
              </a:lnSpc>
              <a:spcBef>
                <a:spcPts val="0"/>
              </a:spcBef>
              <a:spcAft>
                <a:spcPts val="0"/>
              </a:spcAft>
              <a:buClr>
                <a:schemeClr val="tx2"/>
              </a:buClr>
              <a:buSzPct val="100000"/>
              <a:buFontTx/>
              <a:buNone/>
              <a:tabLst/>
              <a:defRPr sz="1200" b="0" kern="1200" baseline="0">
                <a:solidFill>
                  <a:schemeClr val="tx2"/>
                </a:solidFill>
                <a:latin typeface="+mn-lt"/>
                <a:ea typeface="+mn-ea"/>
                <a:cs typeface="+mn-cs"/>
              </a:defRPr>
            </a:lvl1pPr>
            <a:lvl2pPr marL="85722" marR="0" indent="3572" algn="l" defTabSz="685778" rtl="0" eaLnBrk="1" fontAlgn="auto" latinLnBrk="0" hangingPunct="1">
              <a:lnSpc>
                <a:spcPct val="120000"/>
              </a:lnSpc>
              <a:spcBef>
                <a:spcPts val="150"/>
              </a:spcBef>
              <a:spcAft>
                <a:spcPts val="0"/>
              </a:spcAft>
              <a:buClrTx/>
              <a:buSzPct val="76000"/>
              <a:buFontTx/>
              <a:buNone/>
              <a:tabLst/>
              <a:defRPr sz="1050" b="0" i="1" kern="1200" baseline="0">
                <a:solidFill>
                  <a:schemeClr val="tx1"/>
                </a:solidFill>
                <a:latin typeface="+mn-lt"/>
                <a:ea typeface="+mn-ea"/>
                <a:cs typeface="+mn-cs"/>
              </a:defRPr>
            </a:lvl2pPr>
            <a:lvl3pPr marL="519096" marR="0" indent="-171445" algn="l" defTabSz="685778" rtl="0" eaLnBrk="1" fontAlgn="auto" latinLnBrk="0" hangingPunct="1">
              <a:lnSpc>
                <a:spcPct val="120000"/>
              </a:lnSpc>
              <a:spcBef>
                <a:spcPts val="150"/>
              </a:spcBef>
              <a:spcAft>
                <a:spcPts val="0"/>
              </a:spcAft>
              <a:buClrTx/>
              <a:buSzPct val="80000"/>
              <a:buFont typeface="Arial" panose="020B0604020202020204" pitchFamily="34" charset="0"/>
              <a:buChar char="•"/>
              <a:tabLst/>
              <a:defRPr sz="1050" b="0" kern="1200">
                <a:solidFill>
                  <a:schemeClr val="tx1"/>
                </a:solidFill>
                <a:latin typeface="+mn-lt"/>
                <a:ea typeface="+mn-ea"/>
                <a:cs typeface="+mn-cs"/>
              </a:defRPr>
            </a:lvl3pPr>
            <a:lvl4pPr marL="646489" marR="0" indent="-128584" algn="l" defTabSz="685778" rtl="0" eaLnBrk="1" fontAlgn="auto" latinLnBrk="0" hangingPunct="1">
              <a:lnSpc>
                <a:spcPct val="120000"/>
              </a:lnSpc>
              <a:spcBef>
                <a:spcPts val="150"/>
              </a:spcBef>
              <a:spcAft>
                <a:spcPts val="0"/>
              </a:spcAft>
              <a:buClrTx/>
              <a:buSzPct val="80000"/>
              <a:buFont typeface="Arial" panose="020B0604020202020204" pitchFamily="34" charset="0"/>
              <a:buChar char="•"/>
              <a:tabLst/>
              <a:defRPr sz="900" b="0" kern="1200">
                <a:solidFill>
                  <a:schemeClr val="tx1"/>
                </a:solidFill>
                <a:latin typeface="+mn-lt"/>
                <a:ea typeface="+mn-ea"/>
                <a:cs typeface="+mn-cs"/>
              </a:defRPr>
            </a:lvl4pPr>
            <a:lvl5pPr marL="809599" marR="0" indent="-117868" algn="l" defTabSz="685778" rtl="0" eaLnBrk="1" fontAlgn="auto" latinLnBrk="0" hangingPunct="1">
              <a:lnSpc>
                <a:spcPct val="120000"/>
              </a:lnSpc>
              <a:spcBef>
                <a:spcPts val="150"/>
              </a:spcBef>
              <a:spcAft>
                <a:spcPts val="0"/>
              </a:spcAft>
              <a:buClrTx/>
              <a:buSzPct val="80000"/>
              <a:buFont typeface="Arial" panose="020B0604020202020204" pitchFamily="34" charset="0"/>
              <a:buChar char="•"/>
              <a:tabLst/>
              <a:defRPr sz="825" b="0" kern="1200">
                <a:solidFill>
                  <a:schemeClr val="tx1"/>
                </a:solidFill>
                <a:latin typeface="+mn-lt"/>
                <a:ea typeface="+mn-ea"/>
                <a:cs typeface="+mn-cs"/>
              </a:defRPr>
            </a:lvl5pPr>
            <a:lvl6pPr marL="1885889" indent="-171445" algn="l" defTabSz="68577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77" indent="-171445" algn="l" defTabSz="68577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66" indent="-171445" algn="l" defTabSz="68577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56" indent="-171445" algn="l" defTabSz="68577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914400">
              <a:lnSpc>
                <a:spcPct val="100000"/>
              </a:lnSpc>
              <a:buClrTx/>
              <a:buSzTx/>
              <a:defRPr/>
            </a:pPr>
            <a:fld id="{89006F1E-66CD-4A4B-9370-B4A3080F0E6C}" type="slidenum">
              <a:rPr lang="en-US" sz="1169" smtClean="0">
                <a:solidFill>
                  <a:prstClr val="white"/>
                </a:solidFill>
                <a:latin typeface="Century Gothic"/>
              </a:rPr>
              <a:pPr marL="0" indent="0" defTabSz="914400">
                <a:lnSpc>
                  <a:spcPct val="100000"/>
                </a:lnSpc>
                <a:buClrTx/>
                <a:buSzTx/>
                <a:defRPr/>
              </a:pPr>
              <a:t>4</a:t>
            </a:fld>
            <a:endParaRPr lang="en-US" sz="1169" dirty="0">
              <a:solidFill>
                <a:prstClr val="white"/>
              </a:solidFill>
              <a:latin typeface="Century Gothic"/>
            </a:endParaRPr>
          </a:p>
        </p:txBody>
      </p:sp>
      <p:sp>
        <p:nvSpPr>
          <p:cNvPr id="10" name="Content Placeholder 8">
            <a:extLst>
              <a:ext uri="{FF2B5EF4-FFF2-40B4-BE49-F238E27FC236}">
                <a16:creationId xmlns:a16="http://schemas.microsoft.com/office/drawing/2014/main" id="{6080E4A6-CCB1-7E5C-6FB7-9155F648817F}"/>
              </a:ext>
            </a:extLst>
          </p:cNvPr>
          <p:cNvSpPr txBox="1">
            <a:spLocks/>
          </p:cNvSpPr>
          <p:nvPr/>
        </p:nvSpPr>
        <p:spPr>
          <a:xfrm>
            <a:off x="0" y="505407"/>
            <a:ext cx="7691658" cy="489250"/>
          </a:xfrm>
          <a:prstGeom prst="rect">
            <a:avLst/>
          </a:prstGeom>
        </p:spPr>
        <p:txBody>
          <a:bodyPr/>
          <a:lstStyle>
            <a:lvl1pPr marL="215497" indent="-215497" algn="l" defTabSz="685778" rtl="0" eaLnBrk="1" latinLnBrk="0" hangingPunct="1">
              <a:lnSpc>
                <a:spcPct val="120000"/>
              </a:lnSpc>
              <a:spcBef>
                <a:spcPts val="150"/>
              </a:spcBef>
              <a:buClr>
                <a:schemeClr val="tx2"/>
              </a:buClr>
              <a:buSzPct val="100000"/>
              <a:buFont typeface="Arial" panose="020B0604020202020204" pitchFamily="34" charset="0"/>
              <a:buChar char="•"/>
              <a:tabLst/>
              <a:defRPr sz="1500" b="0" kern="1200">
                <a:solidFill>
                  <a:schemeClr val="tx1"/>
                </a:solidFill>
                <a:latin typeface="+mn-lt"/>
                <a:ea typeface="+mn-ea"/>
                <a:cs typeface="+mn-cs"/>
              </a:defRPr>
            </a:lvl1pPr>
            <a:lvl2pPr marL="389322" marR="0" indent="-213115" algn="l" defTabSz="685778" rtl="0" eaLnBrk="1" fontAlgn="auto" latinLnBrk="0" hangingPunct="1">
              <a:lnSpc>
                <a:spcPct val="120000"/>
              </a:lnSpc>
              <a:spcBef>
                <a:spcPts val="150"/>
              </a:spcBef>
              <a:spcAft>
                <a:spcPts val="0"/>
              </a:spcAft>
              <a:buClrTx/>
              <a:buSzPct val="76000"/>
              <a:buFont typeface="Arial" panose="020B0604020202020204" pitchFamily="34" charset="0"/>
              <a:buChar char="•"/>
              <a:tabLst/>
              <a:defRPr sz="1350" b="0" kern="1200">
                <a:solidFill>
                  <a:schemeClr val="tx1"/>
                </a:solidFill>
                <a:latin typeface="+mn-lt"/>
                <a:ea typeface="+mn-ea"/>
                <a:cs typeface="+mn-cs"/>
              </a:defRPr>
            </a:lvl2pPr>
            <a:lvl3pPr marL="519096" marR="0" indent="-171445" algn="l" defTabSz="685778" rtl="0" eaLnBrk="1" fontAlgn="auto" latinLnBrk="0" hangingPunct="1">
              <a:lnSpc>
                <a:spcPct val="120000"/>
              </a:lnSpc>
              <a:spcBef>
                <a:spcPts val="150"/>
              </a:spcBef>
              <a:spcAft>
                <a:spcPts val="0"/>
              </a:spcAft>
              <a:buClrTx/>
              <a:buSzPct val="80000"/>
              <a:buFont typeface="Arial" panose="020B0604020202020204" pitchFamily="34" charset="0"/>
              <a:buChar char="•"/>
              <a:tabLst/>
              <a:defRPr sz="1050" b="0" kern="1200">
                <a:solidFill>
                  <a:schemeClr val="tx1"/>
                </a:solidFill>
                <a:latin typeface="+mn-lt"/>
                <a:ea typeface="+mn-ea"/>
                <a:cs typeface="+mn-cs"/>
              </a:defRPr>
            </a:lvl3pPr>
            <a:lvl4pPr marL="646489" marR="0" indent="-128584" algn="l" defTabSz="685778" rtl="0" eaLnBrk="1" fontAlgn="auto" latinLnBrk="0" hangingPunct="1">
              <a:lnSpc>
                <a:spcPct val="120000"/>
              </a:lnSpc>
              <a:spcBef>
                <a:spcPts val="150"/>
              </a:spcBef>
              <a:spcAft>
                <a:spcPts val="0"/>
              </a:spcAft>
              <a:buClrTx/>
              <a:buSzPct val="80000"/>
              <a:buFont typeface="Arial" panose="020B0604020202020204" pitchFamily="34" charset="0"/>
              <a:buChar char="•"/>
              <a:tabLst/>
              <a:defRPr sz="900" b="0" kern="1200">
                <a:solidFill>
                  <a:schemeClr val="tx1"/>
                </a:solidFill>
                <a:latin typeface="+mn-lt"/>
                <a:ea typeface="+mn-ea"/>
                <a:cs typeface="+mn-cs"/>
              </a:defRPr>
            </a:lvl4pPr>
            <a:lvl5pPr marL="809599" marR="0" indent="-117868" algn="l" defTabSz="685778" rtl="0" eaLnBrk="1" fontAlgn="auto" latinLnBrk="0" hangingPunct="1">
              <a:lnSpc>
                <a:spcPct val="120000"/>
              </a:lnSpc>
              <a:spcBef>
                <a:spcPts val="150"/>
              </a:spcBef>
              <a:spcAft>
                <a:spcPts val="0"/>
              </a:spcAft>
              <a:buClrTx/>
              <a:buSzPct val="80000"/>
              <a:buFont typeface="Arial" panose="020B0604020202020204" pitchFamily="34" charset="0"/>
              <a:buChar char="•"/>
              <a:tabLst/>
              <a:defRPr sz="825" b="0" kern="1200">
                <a:solidFill>
                  <a:schemeClr val="tx1"/>
                </a:solidFill>
                <a:latin typeface="+mn-lt"/>
                <a:ea typeface="+mn-ea"/>
                <a:cs typeface="+mn-cs"/>
              </a:defRPr>
            </a:lvl5pPr>
            <a:lvl6pPr marL="1885889" indent="-171445" algn="l" defTabSz="68577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77" indent="-171445" algn="l" defTabSz="68577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66" indent="-171445" algn="l" defTabSz="68577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56" indent="-171445" algn="l" defTabSz="68577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2400" b="1">
                <a:solidFill>
                  <a:srgbClr val="FF0000"/>
                </a:solidFill>
                <a:effectLst>
                  <a:outerShdw blurRad="38100" dist="38100" dir="2700000" algn="tl">
                    <a:srgbClr val="000000">
                      <a:alpha val="43137"/>
                    </a:srgbClr>
                  </a:outerShdw>
                </a:effectLst>
                <a:latin typeface="Tahoma" panose="020B0604030504040204" pitchFamily="34" charset="0"/>
                <a:ea typeface="Tahoma" panose="020B0604030504040204" pitchFamily="34" charset="0"/>
                <a:cs typeface="Tahoma" panose="020B0604030504040204" pitchFamily="34" charset="0"/>
              </a:rPr>
              <a:t>MICROARRAY LÀ GÌ ? </a:t>
            </a:r>
          </a:p>
        </p:txBody>
      </p:sp>
      <p:pic>
        <p:nvPicPr>
          <p:cNvPr id="11" name="Picture 2" descr=" Microarray Technology">
            <a:extLst>
              <a:ext uri="{FF2B5EF4-FFF2-40B4-BE49-F238E27FC236}">
                <a16:creationId xmlns:a16="http://schemas.microsoft.com/office/drawing/2014/main" id="{9FFEEB3A-CB88-7F9A-6F7D-BEA698DB312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2719364"/>
            <a:ext cx="7350868" cy="4138635"/>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3D2A4B2F-DCF8-4857-A6EA-0D0E8D5AE6EB}"/>
              </a:ext>
            </a:extLst>
          </p:cNvPr>
          <p:cNvSpPr/>
          <p:nvPr/>
        </p:nvSpPr>
        <p:spPr bwMode="auto">
          <a:xfrm>
            <a:off x="0" y="0"/>
            <a:ext cx="12192000" cy="527177"/>
          </a:xfrm>
          <a:prstGeom prst="rect">
            <a:avLst/>
          </a:prstGeom>
          <a:solidFill>
            <a:schemeClr val="tx2"/>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1800" dirty="0">
              <a:latin typeface="Arial" pitchFamily="124" charset="0"/>
            </a:endParaRPr>
          </a:p>
        </p:txBody>
      </p:sp>
      <p:sp>
        <p:nvSpPr>
          <p:cNvPr id="13" name="TextBox 12">
            <a:extLst>
              <a:ext uri="{FF2B5EF4-FFF2-40B4-BE49-F238E27FC236}">
                <a16:creationId xmlns:a16="http://schemas.microsoft.com/office/drawing/2014/main" id="{690DC2C2-48E4-6184-E9C8-E205A61CAF8B}"/>
              </a:ext>
            </a:extLst>
          </p:cNvPr>
          <p:cNvSpPr txBox="1"/>
          <p:nvPr/>
        </p:nvSpPr>
        <p:spPr>
          <a:xfrm>
            <a:off x="143069" y="1193711"/>
            <a:ext cx="10615127" cy="1426740"/>
          </a:xfrm>
          <a:prstGeom prst="rect">
            <a:avLst/>
          </a:prstGeom>
          <a:noFill/>
        </p:spPr>
        <p:txBody>
          <a:bodyPr wrap="square" lIns="0" tIns="0" rIns="0" bIns="0" rtlCol="0">
            <a:normAutofit/>
          </a:bodyPr>
          <a:lstStyle/>
          <a:p>
            <a:pPr marL="342900" indent="-342900" algn="l" defTabSz="914400">
              <a:lnSpc>
                <a:spcPct val="120000"/>
              </a:lnSpc>
              <a:spcBef>
                <a:spcPts val="1200"/>
              </a:spcBef>
              <a:buClr>
                <a:schemeClr val="tx2"/>
              </a:buClr>
              <a:buSzPct val="100000"/>
              <a:buFont typeface="Arial" panose="020B0604020202020204" pitchFamily="34" charset="0"/>
              <a:buChar char="•"/>
            </a:pPr>
            <a:r>
              <a:rPr lang="en-US"/>
              <a:t>Là phương pháp gắn hàng ngàn đến hàng triệu các đoạn Nucleotic lên mặt kính/ giếng. Sau đó lai các đoạn Nucleotic mẫu với các đoạn này và đọc tín hiệu quang để xác định CNV, SNP, LOH,...</a:t>
            </a:r>
          </a:p>
          <a:p>
            <a:pPr algn="l" defTabSz="914400">
              <a:lnSpc>
                <a:spcPct val="120000"/>
              </a:lnSpc>
              <a:spcBef>
                <a:spcPts val="1200"/>
              </a:spcBef>
              <a:buClr>
                <a:schemeClr val="tx2"/>
              </a:buClr>
              <a:buSzPct val="100000"/>
            </a:pPr>
            <a:endParaRPr lang="en-US" sz="100"/>
          </a:p>
          <a:p>
            <a:pPr marL="342900" indent="-342900">
              <a:lnSpc>
                <a:spcPct val="120000"/>
              </a:lnSpc>
              <a:spcBef>
                <a:spcPts val="200"/>
              </a:spcBef>
              <a:buClr>
                <a:schemeClr val="tx2"/>
              </a:buClr>
              <a:buSzPct val="100000"/>
              <a:buFont typeface="Arial" panose="020B0604020202020204" pitchFamily="34" charset="0"/>
              <a:buChar char="•"/>
            </a:pPr>
            <a:r>
              <a:rPr lang="en-US"/>
              <a:t>Dùng cho các nghiên cứu phân tích về SNP, CNV, nghiên cứu tế bào học, genotyping, GWAS…</a:t>
            </a:r>
          </a:p>
          <a:p>
            <a:pPr marL="342900" indent="-342900" algn="l" defTabSz="914400">
              <a:lnSpc>
                <a:spcPct val="120000"/>
              </a:lnSpc>
              <a:spcBef>
                <a:spcPts val="200"/>
              </a:spcBef>
              <a:buClr>
                <a:schemeClr val="tx2"/>
              </a:buClr>
              <a:buSzPct val="100000"/>
              <a:buFont typeface="Arial" panose="020B0604020202020204" pitchFamily="34" charset="0"/>
              <a:buChar char="•"/>
            </a:pPr>
            <a:endParaRPr lang="en-US"/>
          </a:p>
        </p:txBody>
      </p:sp>
    </p:spTree>
    <p:extLst>
      <p:ext uri="{BB962C8B-B14F-4D97-AF65-F5344CB8AC3E}">
        <p14:creationId xmlns:p14="http://schemas.microsoft.com/office/powerpoint/2010/main" val="205590709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92100" y="239979"/>
            <a:ext cx="3147695" cy="452120"/>
          </a:xfrm>
          <a:prstGeom prst="rect">
            <a:avLst/>
          </a:prstGeom>
        </p:spPr>
        <p:txBody>
          <a:bodyPr vert="horz" wrap="square" lIns="0" tIns="12065" rIns="0" bIns="0" rtlCol="0">
            <a:spAutoFit/>
          </a:bodyPr>
          <a:lstStyle/>
          <a:p>
            <a:pPr marL="12700">
              <a:lnSpc>
                <a:spcPct val="100000"/>
              </a:lnSpc>
              <a:spcBef>
                <a:spcPts val="95"/>
              </a:spcBef>
            </a:pPr>
            <a:r>
              <a:rPr dirty="0">
                <a:solidFill>
                  <a:srgbClr val="E61216"/>
                </a:solidFill>
              </a:rPr>
              <a:t>Example</a:t>
            </a:r>
            <a:r>
              <a:rPr spc="-50" dirty="0">
                <a:solidFill>
                  <a:srgbClr val="E61216"/>
                </a:solidFill>
              </a:rPr>
              <a:t> </a:t>
            </a:r>
            <a:r>
              <a:rPr dirty="0">
                <a:solidFill>
                  <a:srgbClr val="E61216"/>
                </a:solidFill>
              </a:rPr>
              <a:t>of</a:t>
            </a:r>
            <a:r>
              <a:rPr spc="-55" dirty="0">
                <a:solidFill>
                  <a:srgbClr val="E61216"/>
                </a:solidFill>
              </a:rPr>
              <a:t> </a:t>
            </a:r>
            <a:r>
              <a:rPr dirty="0">
                <a:solidFill>
                  <a:srgbClr val="E61216"/>
                </a:solidFill>
              </a:rPr>
              <a:t>a</a:t>
            </a:r>
            <a:r>
              <a:rPr spc="-55" dirty="0">
                <a:solidFill>
                  <a:srgbClr val="E61216"/>
                </a:solidFill>
              </a:rPr>
              <a:t> </a:t>
            </a:r>
            <a:r>
              <a:rPr spc="-20" dirty="0">
                <a:solidFill>
                  <a:srgbClr val="E61216"/>
                </a:solidFill>
              </a:rPr>
              <a:t>Loss</a:t>
            </a:r>
          </a:p>
        </p:txBody>
      </p:sp>
      <p:grpSp>
        <p:nvGrpSpPr>
          <p:cNvPr id="3" name="object 3"/>
          <p:cNvGrpSpPr/>
          <p:nvPr/>
        </p:nvGrpSpPr>
        <p:grpSpPr>
          <a:xfrm>
            <a:off x="304800" y="1033272"/>
            <a:ext cx="11582400" cy="5447030"/>
            <a:chOff x="304800" y="1033272"/>
            <a:chExt cx="11582400" cy="5447030"/>
          </a:xfrm>
        </p:grpSpPr>
        <p:pic>
          <p:nvPicPr>
            <p:cNvPr id="4" name="object 4"/>
            <p:cNvPicPr/>
            <p:nvPr/>
          </p:nvPicPr>
          <p:blipFill>
            <a:blip r:embed="rId2" cstate="print"/>
            <a:stretch>
              <a:fillRect/>
            </a:stretch>
          </p:blipFill>
          <p:spPr>
            <a:xfrm>
              <a:off x="304800" y="1033272"/>
              <a:ext cx="11582400" cy="5446776"/>
            </a:xfrm>
            <a:prstGeom prst="rect">
              <a:avLst/>
            </a:prstGeom>
          </p:spPr>
        </p:pic>
        <p:pic>
          <p:nvPicPr>
            <p:cNvPr id="5" name="object 5"/>
            <p:cNvPicPr/>
            <p:nvPr/>
          </p:nvPicPr>
          <p:blipFill>
            <a:blip r:embed="rId3" cstate="print"/>
            <a:stretch>
              <a:fillRect/>
            </a:stretch>
          </p:blipFill>
          <p:spPr>
            <a:xfrm>
              <a:off x="6858000" y="4572000"/>
              <a:ext cx="2616707" cy="1426464"/>
            </a:xfrm>
            <a:prstGeom prst="rect">
              <a:avLst/>
            </a:prstGeom>
          </p:spPr>
        </p:pic>
      </p:grpSp>
      <p:sp>
        <p:nvSpPr>
          <p:cNvPr id="6" name="object 6"/>
          <p:cNvSpPr txBox="1"/>
          <p:nvPr/>
        </p:nvSpPr>
        <p:spPr>
          <a:xfrm>
            <a:off x="53339" y="6627158"/>
            <a:ext cx="229235" cy="167005"/>
          </a:xfrm>
          <a:prstGeom prst="rect">
            <a:avLst/>
          </a:prstGeom>
        </p:spPr>
        <p:txBody>
          <a:bodyPr vert="horz" wrap="square" lIns="0" tIns="0" rIns="0" bIns="0" rtlCol="0">
            <a:spAutoFit/>
          </a:bodyPr>
          <a:lstStyle/>
          <a:p>
            <a:pPr marL="38100" marR="0" lvl="0" indent="0" algn="l" defTabSz="914400" rtl="0" eaLnBrk="1" fontAlgn="auto" latinLnBrk="0" hangingPunct="1">
              <a:lnSpc>
                <a:spcPct val="100000"/>
              </a:lnSpc>
              <a:spcBef>
                <a:spcPts val="0"/>
              </a:spcBef>
              <a:spcAft>
                <a:spcPts val="0"/>
              </a:spcAft>
              <a:buClrTx/>
              <a:buSzTx/>
              <a:buFontTx/>
              <a:buNone/>
              <a:tabLst/>
              <a:defRPr/>
            </a:pPr>
            <a:fld id="{81D60167-4931-47E6-BA6A-407CBD079E47}" type="slidenum">
              <a:rPr kumimoji="0" sz="1000" b="0" i="0" u="none" strike="noStrike" kern="0" cap="none" spc="-25" normalizeH="0" baseline="0" noProof="0" dirty="0">
                <a:ln>
                  <a:noFill/>
                </a:ln>
                <a:solidFill>
                  <a:srgbClr val="212121"/>
                </a:solidFill>
                <a:effectLst/>
                <a:uLnTx/>
                <a:uFillTx/>
                <a:latin typeface="Arial"/>
                <a:ea typeface="+mn-ea"/>
                <a:cs typeface="Arial"/>
              </a:rPr>
              <a:pPr marL="38100" marR="0" lvl="0" indent="0" algn="l" defTabSz="914400" rtl="0" eaLnBrk="1" fontAlgn="auto" latinLnBrk="0" hangingPunct="1">
                <a:lnSpc>
                  <a:spcPct val="100000"/>
                </a:lnSpc>
                <a:spcBef>
                  <a:spcPts val="0"/>
                </a:spcBef>
                <a:spcAft>
                  <a:spcPts val="0"/>
                </a:spcAft>
                <a:buClrTx/>
                <a:buSzTx/>
                <a:buFontTx/>
                <a:buNone/>
                <a:tabLst/>
                <a:defRPr/>
              </a:pPr>
              <a:t>40</a:t>
            </a:fld>
            <a:endParaRPr kumimoji="0" sz="100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7" name="object 7"/>
          <p:cNvSpPr txBox="1"/>
          <p:nvPr/>
        </p:nvSpPr>
        <p:spPr>
          <a:xfrm>
            <a:off x="396036" y="6631425"/>
            <a:ext cx="3474085" cy="167005"/>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000" b="0" i="0" u="none" strike="noStrike" kern="0" cap="none" spc="0" normalizeH="0" baseline="0" noProof="0" dirty="0">
                <a:ln>
                  <a:noFill/>
                </a:ln>
                <a:solidFill>
                  <a:srgbClr val="535758"/>
                </a:solidFill>
                <a:effectLst/>
                <a:uLnTx/>
                <a:uFillTx/>
                <a:latin typeface="Arial"/>
                <a:ea typeface="+mn-ea"/>
                <a:cs typeface="Arial"/>
              </a:rPr>
              <a:t>For</a:t>
            </a:r>
            <a:r>
              <a:rPr kumimoji="0" sz="1000" b="0" i="0" u="none" strike="noStrike" kern="0" cap="none" spc="-30" normalizeH="0" baseline="0" noProof="0" dirty="0">
                <a:ln>
                  <a:noFill/>
                </a:ln>
                <a:solidFill>
                  <a:srgbClr val="535758"/>
                </a:solidFill>
                <a:effectLst/>
                <a:uLnTx/>
                <a:uFillTx/>
                <a:latin typeface="Arial"/>
                <a:ea typeface="+mn-ea"/>
                <a:cs typeface="Arial"/>
              </a:rPr>
              <a:t> </a:t>
            </a:r>
            <a:r>
              <a:rPr kumimoji="0" sz="1000" b="0" i="0" u="none" strike="noStrike" kern="0" cap="none" spc="0" normalizeH="0" baseline="0" noProof="0" dirty="0">
                <a:ln>
                  <a:noFill/>
                </a:ln>
                <a:solidFill>
                  <a:srgbClr val="535758"/>
                </a:solidFill>
                <a:effectLst/>
                <a:uLnTx/>
                <a:uFillTx/>
                <a:latin typeface="Arial"/>
                <a:ea typeface="+mn-ea"/>
                <a:cs typeface="Arial"/>
              </a:rPr>
              <a:t>Research</a:t>
            </a:r>
            <a:r>
              <a:rPr kumimoji="0" sz="1000" b="0" i="0" u="none" strike="noStrike" kern="0" cap="none" spc="-35" normalizeH="0" baseline="0" noProof="0" dirty="0">
                <a:ln>
                  <a:noFill/>
                </a:ln>
                <a:solidFill>
                  <a:srgbClr val="535758"/>
                </a:solidFill>
                <a:effectLst/>
                <a:uLnTx/>
                <a:uFillTx/>
                <a:latin typeface="Arial"/>
                <a:ea typeface="+mn-ea"/>
                <a:cs typeface="Arial"/>
              </a:rPr>
              <a:t> </a:t>
            </a:r>
            <a:r>
              <a:rPr kumimoji="0" sz="1000" b="0" i="0" u="none" strike="noStrike" kern="0" cap="none" spc="0" normalizeH="0" baseline="0" noProof="0" dirty="0">
                <a:ln>
                  <a:noFill/>
                </a:ln>
                <a:solidFill>
                  <a:srgbClr val="535758"/>
                </a:solidFill>
                <a:effectLst/>
                <a:uLnTx/>
                <a:uFillTx/>
                <a:latin typeface="Arial"/>
                <a:ea typeface="+mn-ea"/>
                <a:cs typeface="Arial"/>
              </a:rPr>
              <a:t>Use</a:t>
            </a:r>
            <a:r>
              <a:rPr kumimoji="0" sz="1000" b="0" i="0" u="none" strike="noStrike" kern="0" cap="none" spc="-30" normalizeH="0" baseline="0" noProof="0" dirty="0">
                <a:ln>
                  <a:noFill/>
                </a:ln>
                <a:solidFill>
                  <a:srgbClr val="535758"/>
                </a:solidFill>
                <a:effectLst/>
                <a:uLnTx/>
                <a:uFillTx/>
                <a:latin typeface="Arial"/>
                <a:ea typeface="+mn-ea"/>
                <a:cs typeface="Arial"/>
              </a:rPr>
              <a:t> </a:t>
            </a:r>
            <a:r>
              <a:rPr kumimoji="0" sz="1000" b="0" i="0" u="none" strike="noStrike" kern="0" cap="none" spc="0" normalizeH="0" baseline="0" noProof="0" dirty="0">
                <a:ln>
                  <a:noFill/>
                </a:ln>
                <a:solidFill>
                  <a:srgbClr val="535758"/>
                </a:solidFill>
                <a:effectLst/>
                <a:uLnTx/>
                <a:uFillTx/>
                <a:latin typeface="Arial"/>
                <a:ea typeface="+mn-ea"/>
                <a:cs typeface="Arial"/>
              </a:rPr>
              <a:t>Only.</a:t>
            </a:r>
            <a:r>
              <a:rPr kumimoji="0" sz="1000" b="0" i="0" u="none" strike="noStrike" kern="0" cap="none" spc="10" normalizeH="0" baseline="0" noProof="0" dirty="0">
                <a:ln>
                  <a:noFill/>
                </a:ln>
                <a:solidFill>
                  <a:srgbClr val="535758"/>
                </a:solidFill>
                <a:effectLst/>
                <a:uLnTx/>
                <a:uFillTx/>
                <a:latin typeface="Arial"/>
                <a:ea typeface="+mn-ea"/>
                <a:cs typeface="Arial"/>
              </a:rPr>
              <a:t> </a:t>
            </a:r>
            <a:r>
              <a:rPr kumimoji="0" sz="1000" b="0" i="0" u="none" strike="noStrike" kern="0" cap="none" spc="0" normalizeH="0" baseline="0" noProof="0" dirty="0">
                <a:ln>
                  <a:noFill/>
                </a:ln>
                <a:solidFill>
                  <a:srgbClr val="535758"/>
                </a:solidFill>
                <a:effectLst/>
                <a:uLnTx/>
                <a:uFillTx/>
                <a:latin typeface="Arial"/>
                <a:ea typeface="+mn-ea"/>
                <a:cs typeface="Arial"/>
              </a:rPr>
              <a:t>Not</a:t>
            </a:r>
            <a:r>
              <a:rPr kumimoji="0" sz="1000" b="0" i="0" u="none" strike="noStrike" kern="0" cap="none" spc="-25" normalizeH="0" baseline="0" noProof="0" dirty="0">
                <a:ln>
                  <a:noFill/>
                </a:ln>
                <a:solidFill>
                  <a:srgbClr val="535758"/>
                </a:solidFill>
                <a:effectLst/>
                <a:uLnTx/>
                <a:uFillTx/>
                <a:latin typeface="Arial"/>
                <a:ea typeface="+mn-ea"/>
                <a:cs typeface="Arial"/>
              </a:rPr>
              <a:t> </a:t>
            </a:r>
            <a:r>
              <a:rPr kumimoji="0" sz="1000" b="0" i="0" u="none" strike="noStrike" kern="0" cap="none" spc="0" normalizeH="0" baseline="0" noProof="0" dirty="0">
                <a:ln>
                  <a:noFill/>
                </a:ln>
                <a:solidFill>
                  <a:srgbClr val="535758"/>
                </a:solidFill>
                <a:effectLst/>
                <a:uLnTx/>
                <a:uFillTx/>
                <a:latin typeface="Arial"/>
                <a:ea typeface="+mn-ea"/>
                <a:cs typeface="Arial"/>
              </a:rPr>
              <a:t>for</a:t>
            </a:r>
            <a:r>
              <a:rPr kumimoji="0" sz="1000" b="0" i="0" u="none" strike="noStrike" kern="0" cap="none" spc="-45" normalizeH="0" baseline="0" noProof="0" dirty="0">
                <a:ln>
                  <a:noFill/>
                </a:ln>
                <a:solidFill>
                  <a:srgbClr val="535758"/>
                </a:solidFill>
                <a:effectLst/>
                <a:uLnTx/>
                <a:uFillTx/>
                <a:latin typeface="Arial"/>
                <a:ea typeface="+mn-ea"/>
                <a:cs typeface="Arial"/>
              </a:rPr>
              <a:t> </a:t>
            </a:r>
            <a:r>
              <a:rPr kumimoji="0" sz="1000" b="0" i="0" u="none" strike="noStrike" kern="0" cap="none" spc="0" normalizeH="0" baseline="0" noProof="0" dirty="0">
                <a:ln>
                  <a:noFill/>
                </a:ln>
                <a:solidFill>
                  <a:srgbClr val="535758"/>
                </a:solidFill>
                <a:effectLst/>
                <a:uLnTx/>
                <a:uFillTx/>
                <a:latin typeface="Arial"/>
                <a:ea typeface="+mn-ea"/>
                <a:cs typeface="Arial"/>
              </a:rPr>
              <a:t>use</a:t>
            </a:r>
            <a:r>
              <a:rPr kumimoji="0" sz="1000" b="0" i="0" u="none" strike="noStrike" kern="0" cap="none" spc="-25" normalizeH="0" baseline="0" noProof="0" dirty="0">
                <a:ln>
                  <a:noFill/>
                </a:ln>
                <a:solidFill>
                  <a:srgbClr val="535758"/>
                </a:solidFill>
                <a:effectLst/>
                <a:uLnTx/>
                <a:uFillTx/>
                <a:latin typeface="Arial"/>
                <a:ea typeface="+mn-ea"/>
                <a:cs typeface="Arial"/>
              </a:rPr>
              <a:t> </a:t>
            </a:r>
            <a:r>
              <a:rPr kumimoji="0" sz="1000" b="0" i="0" u="none" strike="noStrike" kern="0" cap="none" spc="0" normalizeH="0" baseline="0" noProof="0" dirty="0">
                <a:ln>
                  <a:noFill/>
                </a:ln>
                <a:solidFill>
                  <a:srgbClr val="535758"/>
                </a:solidFill>
                <a:effectLst/>
                <a:uLnTx/>
                <a:uFillTx/>
                <a:latin typeface="Arial"/>
                <a:ea typeface="+mn-ea"/>
                <a:cs typeface="Arial"/>
              </a:rPr>
              <a:t>in</a:t>
            </a:r>
            <a:r>
              <a:rPr kumimoji="0" sz="1000" b="0" i="0" u="none" strike="noStrike" kern="0" cap="none" spc="-25" normalizeH="0" baseline="0" noProof="0" dirty="0">
                <a:ln>
                  <a:noFill/>
                </a:ln>
                <a:solidFill>
                  <a:srgbClr val="535758"/>
                </a:solidFill>
                <a:effectLst/>
                <a:uLnTx/>
                <a:uFillTx/>
                <a:latin typeface="Arial"/>
                <a:ea typeface="+mn-ea"/>
                <a:cs typeface="Arial"/>
              </a:rPr>
              <a:t> </a:t>
            </a:r>
            <a:r>
              <a:rPr kumimoji="0" sz="1000" b="0" i="0" u="none" strike="noStrike" kern="0" cap="none" spc="-10" normalizeH="0" baseline="0" noProof="0" dirty="0">
                <a:ln>
                  <a:noFill/>
                </a:ln>
                <a:solidFill>
                  <a:srgbClr val="535758"/>
                </a:solidFill>
                <a:effectLst/>
                <a:uLnTx/>
                <a:uFillTx/>
                <a:latin typeface="Arial"/>
                <a:ea typeface="+mn-ea"/>
                <a:cs typeface="Arial"/>
              </a:rPr>
              <a:t>diagnostic</a:t>
            </a:r>
            <a:r>
              <a:rPr kumimoji="0" sz="1000" b="0" i="0" u="none" strike="noStrike" kern="0" cap="none" spc="-25" normalizeH="0" baseline="0" noProof="0" dirty="0">
                <a:ln>
                  <a:noFill/>
                </a:ln>
                <a:solidFill>
                  <a:srgbClr val="535758"/>
                </a:solidFill>
                <a:effectLst/>
                <a:uLnTx/>
                <a:uFillTx/>
                <a:latin typeface="Arial"/>
                <a:ea typeface="+mn-ea"/>
                <a:cs typeface="Arial"/>
              </a:rPr>
              <a:t> </a:t>
            </a:r>
            <a:r>
              <a:rPr kumimoji="0" sz="1000" b="0" i="0" u="none" strike="noStrike" kern="0" cap="none" spc="-10" normalizeH="0" baseline="0" noProof="0" dirty="0">
                <a:ln>
                  <a:noFill/>
                </a:ln>
                <a:solidFill>
                  <a:srgbClr val="535758"/>
                </a:solidFill>
                <a:effectLst/>
                <a:uLnTx/>
                <a:uFillTx/>
                <a:latin typeface="Arial"/>
                <a:ea typeface="+mn-ea"/>
                <a:cs typeface="Arial"/>
              </a:rPr>
              <a:t>procedures.</a:t>
            </a:r>
            <a:endParaRPr kumimoji="0" sz="100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8" name="Rectangle 7">
            <a:extLst>
              <a:ext uri="{FF2B5EF4-FFF2-40B4-BE49-F238E27FC236}">
                <a16:creationId xmlns:a16="http://schemas.microsoft.com/office/drawing/2014/main" id="{F30297D1-B43C-67C2-4C22-4251F47C3E04}"/>
              </a:ext>
            </a:extLst>
          </p:cNvPr>
          <p:cNvSpPr/>
          <p:nvPr/>
        </p:nvSpPr>
        <p:spPr>
          <a:xfrm>
            <a:off x="9862457" y="0"/>
            <a:ext cx="2211355" cy="76511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276772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304800" y="1033272"/>
            <a:ext cx="11582400" cy="5448300"/>
            <a:chOff x="304800" y="1033272"/>
            <a:chExt cx="11582400" cy="5448300"/>
          </a:xfrm>
        </p:grpSpPr>
        <p:pic>
          <p:nvPicPr>
            <p:cNvPr id="3" name="object 3"/>
            <p:cNvPicPr/>
            <p:nvPr/>
          </p:nvPicPr>
          <p:blipFill>
            <a:blip r:embed="rId2" cstate="print"/>
            <a:stretch>
              <a:fillRect/>
            </a:stretch>
          </p:blipFill>
          <p:spPr>
            <a:xfrm>
              <a:off x="304800" y="1033272"/>
              <a:ext cx="11582400" cy="5448300"/>
            </a:xfrm>
            <a:prstGeom prst="rect">
              <a:avLst/>
            </a:prstGeom>
          </p:spPr>
        </p:pic>
        <p:pic>
          <p:nvPicPr>
            <p:cNvPr id="4" name="object 4"/>
            <p:cNvPicPr/>
            <p:nvPr/>
          </p:nvPicPr>
          <p:blipFill>
            <a:blip r:embed="rId3" cstate="print"/>
            <a:stretch>
              <a:fillRect/>
            </a:stretch>
          </p:blipFill>
          <p:spPr>
            <a:xfrm>
              <a:off x="2029967" y="4995672"/>
              <a:ext cx="8132064" cy="926591"/>
            </a:xfrm>
            <a:prstGeom prst="rect">
              <a:avLst/>
            </a:prstGeom>
          </p:spPr>
        </p:pic>
        <p:sp>
          <p:nvSpPr>
            <p:cNvPr id="5" name="object 5"/>
            <p:cNvSpPr/>
            <p:nvPr/>
          </p:nvSpPr>
          <p:spPr>
            <a:xfrm>
              <a:off x="2025395" y="4991100"/>
              <a:ext cx="8141334" cy="935990"/>
            </a:xfrm>
            <a:custGeom>
              <a:avLst/>
              <a:gdLst/>
              <a:ahLst/>
              <a:cxnLst/>
              <a:rect l="l" t="t" r="r" b="b"/>
              <a:pathLst>
                <a:path w="8141334" h="935989">
                  <a:moveTo>
                    <a:pt x="0" y="935736"/>
                  </a:moveTo>
                  <a:lnTo>
                    <a:pt x="8141208" y="935736"/>
                  </a:lnTo>
                  <a:lnTo>
                    <a:pt x="8141208" y="0"/>
                  </a:lnTo>
                  <a:lnTo>
                    <a:pt x="0" y="0"/>
                  </a:lnTo>
                  <a:lnTo>
                    <a:pt x="0" y="935736"/>
                  </a:lnTo>
                  <a:close/>
                </a:path>
              </a:pathLst>
            </a:custGeom>
            <a:ln w="9144">
              <a:solidFill>
                <a:srgbClr val="E6121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 name="object 6"/>
            <p:cNvSpPr/>
            <p:nvPr/>
          </p:nvSpPr>
          <p:spPr>
            <a:xfrm>
              <a:off x="2917698" y="6171437"/>
              <a:ext cx="952500" cy="239395"/>
            </a:xfrm>
            <a:custGeom>
              <a:avLst/>
              <a:gdLst/>
              <a:ahLst/>
              <a:cxnLst/>
              <a:rect l="l" t="t" r="r" b="b"/>
              <a:pathLst>
                <a:path w="952500" h="239395">
                  <a:moveTo>
                    <a:pt x="0" y="239268"/>
                  </a:moveTo>
                  <a:lnTo>
                    <a:pt x="952500" y="239268"/>
                  </a:lnTo>
                  <a:lnTo>
                    <a:pt x="952500" y="0"/>
                  </a:lnTo>
                  <a:lnTo>
                    <a:pt x="0" y="0"/>
                  </a:lnTo>
                  <a:lnTo>
                    <a:pt x="0" y="239268"/>
                  </a:lnTo>
                  <a:close/>
                </a:path>
              </a:pathLst>
            </a:custGeom>
            <a:ln w="32004">
              <a:solidFill>
                <a:srgbClr val="E6121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7" name="object 7"/>
          <p:cNvSpPr txBox="1">
            <a:spLocks noGrp="1"/>
          </p:cNvSpPr>
          <p:nvPr>
            <p:ph type="title"/>
          </p:nvPr>
        </p:nvSpPr>
        <p:spPr>
          <a:xfrm>
            <a:off x="292100" y="239979"/>
            <a:ext cx="8900795" cy="452120"/>
          </a:xfrm>
          <a:prstGeom prst="rect">
            <a:avLst/>
          </a:prstGeom>
        </p:spPr>
        <p:txBody>
          <a:bodyPr vert="horz" wrap="square" lIns="0" tIns="12065" rIns="0" bIns="0" rtlCol="0">
            <a:spAutoFit/>
          </a:bodyPr>
          <a:lstStyle/>
          <a:p>
            <a:pPr marL="12700">
              <a:lnSpc>
                <a:spcPct val="100000"/>
              </a:lnSpc>
              <a:spcBef>
                <a:spcPts val="95"/>
              </a:spcBef>
            </a:pPr>
            <a:r>
              <a:rPr dirty="0">
                <a:solidFill>
                  <a:srgbClr val="E61216"/>
                </a:solidFill>
              </a:rPr>
              <a:t>Example</a:t>
            </a:r>
            <a:r>
              <a:rPr spc="-55" dirty="0">
                <a:solidFill>
                  <a:srgbClr val="E61216"/>
                </a:solidFill>
              </a:rPr>
              <a:t> </a:t>
            </a:r>
            <a:r>
              <a:rPr dirty="0">
                <a:solidFill>
                  <a:srgbClr val="E61216"/>
                </a:solidFill>
              </a:rPr>
              <a:t>of</a:t>
            </a:r>
            <a:r>
              <a:rPr spc="-60" dirty="0">
                <a:solidFill>
                  <a:srgbClr val="E61216"/>
                </a:solidFill>
              </a:rPr>
              <a:t> </a:t>
            </a:r>
            <a:r>
              <a:rPr dirty="0">
                <a:solidFill>
                  <a:srgbClr val="E61216"/>
                </a:solidFill>
              </a:rPr>
              <a:t>cnLOH</a:t>
            </a:r>
            <a:r>
              <a:rPr spc="-25" dirty="0">
                <a:solidFill>
                  <a:srgbClr val="E61216"/>
                </a:solidFill>
              </a:rPr>
              <a:t> </a:t>
            </a:r>
            <a:r>
              <a:rPr dirty="0">
                <a:solidFill>
                  <a:srgbClr val="E61216"/>
                </a:solidFill>
              </a:rPr>
              <a:t>/</a:t>
            </a:r>
            <a:r>
              <a:rPr spc="-165" dirty="0">
                <a:solidFill>
                  <a:srgbClr val="E61216"/>
                </a:solidFill>
              </a:rPr>
              <a:t> </a:t>
            </a:r>
            <a:r>
              <a:rPr dirty="0">
                <a:solidFill>
                  <a:srgbClr val="E61216"/>
                </a:solidFill>
              </a:rPr>
              <a:t>AOH</a:t>
            </a:r>
            <a:r>
              <a:rPr spc="-55" dirty="0">
                <a:solidFill>
                  <a:srgbClr val="E61216"/>
                </a:solidFill>
              </a:rPr>
              <a:t> </a:t>
            </a:r>
            <a:r>
              <a:rPr dirty="0">
                <a:solidFill>
                  <a:srgbClr val="E61216"/>
                </a:solidFill>
              </a:rPr>
              <a:t>/</a:t>
            </a:r>
            <a:r>
              <a:rPr spc="-55" dirty="0">
                <a:solidFill>
                  <a:srgbClr val="E61216"/>
                </a:solidFill>
              </a:rPr>
              <a:t> </a:t>
            </a:r>
            <a:r>
              <a:rPr dirty="0">
                <a:solidFill>
                  <a:srgbClr val="E61216"/>
                </a:solidFill>
              </a:rPr>
              <a:t>ROH</a:t>
            </a:r>
            <a:r>
              <a:rPr spc="-60" dirty="0">
                <a:solidFill>
                  <a:srgbClr val="E61216"/>
                </a:solidFill>
              </a:rPr>
              <a:t> </a:t>
            </a:r>
            <a:r>
              <a:rPr dirty="0">
                <a:solidFill>
                  <a:srgbClr val="E61216"/>
                </a:solidFill>
              </a:rPr>
              <a:t>(e.g.,</a:t>
            </a:r>
            <a:r>
              <a:rPr spc="-70" dirty="0">
                <a:solidFill>
                  <a:srgbClr val="E61216"/>
                </a:solidFill>
              </a:rPr>
              <a:t> </a:t>
            </a:r>
            <a:r>
              <a:rPr spc="-10" dirty="0">
                <a:solidFill>
                  <a:srgbClr val="E61216"/>
                </a:solidFill>
              </a:rPr>
              <a:t>consanguinity)</a:t>
            </a:r>
          </a:p>
        </p:txBody>
      </p:sp>
      <p:sp>
        <p:nvSpPr>
          <p:cNvPr id="8" name="object 8"/>
          <p:cNvSpPr txBox="1"/>
          <p:nvPr/>
        </p:nvSpPr>
        <p:spPr>
          <a:xfrm>
            <a:off x="53339" y="6627158"/>
            <a:ext cx="229235" cy="167005"/>
          </a:xfrm>
          <a:prstGeom prst="rect">
            <a:avLst/>
          </a:prstGeom>
        </p:spPr>
        <p:txBody>
          <a:bodyPr vert="horz" wrap="square" lIns="0" tIns="0" rIns="0" bIns="0" rtlCol="0">
            <a:spAutoFit/>
          </a:bodyPr>
          <a:lstStyle/>
          <a:p>
            <a:pPr marL="38100" marR="0" lvl="0" indent="0" algn="l" defTabSz="914400" rtl="0" eaLnBrk="1" fontAlgn="auto" latinLnBrk="0" hangingPunct="1">
              <a:lnSpc>
                <a:spcPct val="100000"/>
              </a:lnSpc>
              <a:spcBef>
                <a:spcPts val="0"/>
              </a:spcBef>
              <a:spcAft>
                <a:spcPts val="0"/>
              </a:spcAft>
              <a:buClrTx/>
              <a:buSzTx/>
              <a:buFontTx/>
              <a:buNone/>
              <a:tabLst/>
              <a:defRPr/>
            </a:pPr>
            <a:fld id="{81D60167-4931-47E6-BA6A-407CBD079E47}" type="slidenum">
              <a:rPr kumimoji="0" sz="1000" b="0" i="0" u="none" strike="noStrike" kern="0" cap="none" spc="-25" normalizeH="0" baseline="0" noProof="0" dirty="0">
                <a:ln>
                  <a:noFill/>
                </a:ln>
                <a:solidFill>
                  <a:srgbClr val="212121"/>
                </a:solidFill>
                <a:effectLst/>
                <a:uLnTx/>
                <a:uFillTx/>
                <a:latin typeface="Arial"/>
                <a:ea typeface="+mn-ea"/>
                <a:cs typeface="Arial"/>
              </a:rPr>
              <a:pPr marL="38100" marR="0" lvl="0" indent="0" algn="l" defTabSz="914400" rtl="0" eaLnBrk="1" fontAlgn="auto" latinLnBrk="0" hangingPunct="1">
                <a:lnSpc>
                  <a:spcPct val="100000"/>
                </a:lnSpc>
                <a:spcBef>
                  <a:spcPts val="0"/>
                </a:spcBef>
                <a:spcAft>
                  <a:spcPts val="0"/>
                </a:spcAft>
                <a:buClrTx/>
                <a:buSzTx/>
                <a:buFontTx/>
                <a:buNone/>
                <a:tabLst/>
                <a:defRPr/>
              </a:pPr>
              <a:t>41</a:t>
            </a:fld>
            <a:endParaRPr kumimoji="0" sz="100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9" name="object 9"/>
          <p:cNvSpPr txBox="1"/>
          <p:nvPr/>
        </p:nvSpPr>
        <p:spPr>
          <a:xfrm>
            <a:off x="396036" y="6631425"/>
            <a:ext cx="3474085" cy="167005"/>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000" b="0" i="0" u="none" strike="noStrike" kern="0" cap="none" spc="0" normalizeH="0" baseline="0" noProof="0" dirty="0">
                <a:ln>
                  <a:noFill/>
                </a:ln>
                <a:solidFill>
                  <a:srgbClr val="535758"/>
                </a:solidFill>
                <a:effectLst/>
                <a:uLnTx/>
                <a:uFillTx/>
                <a:latin typeface="Arial"/>
                <a:ea typeface="+mn-ea"/>
                <a:cs typeface="Arial"/>
              </a:rPr>
              <a:t>For</a:t>
            </a:r>
            <a:r>
              <a:rPr kumimoji="0" sz="1000" b="0" i="0" u="none" strike="noStrike" kern="0" cap="none" spc="-30" normalizeH="0" baseline="0" noProof="0" dirty="0">
                <a:ln>
                  <a:noFill/>
                </a:ln>
                <a:solidFill>
                  <a:srgbClr val="535758"/>
                </a:solidFill>
                <a:effectLst/>
                <a:uLnTx/>
                <a:uFillTx/>
                <a:latin typeface="Arial"/>
                <a:ea typeface="+mn-ea"/>
                <a:cs typeface="Arial"/>
              </a:rPr>
              <a:t> </a:t>
            </a:r>
            <a:r>
              <a:rPr kumimoji="0" sz="1000" b="0" i="0" u="none" strike="noStrike" kern="0" cap="none" spc="0" normalizeH="0" baseline="0" noProof="0" dirty="0">
                <a:ln>
                  <a:noFill/>
                </a:ln>
                <a:solidFill>
                  <a:srgbClr val="535758"/>
                </a:solidFill>
                <a:effectLst/>
                <a:uLnTx/>
                <a:uFillTx/>
                <a:latin typeface="Arial"/>
                <a:ea typeface="+mn-ea"/>
                <a:cs typeface="Arial"/>
              </a:rPr>
              <a:t>Research</a:t>
            </a:r>
            <a:r>
              <a:rPr kumimoji="0" sz="1000" b="0" i="0" u="none" strike="noStrike" kern="0" cap="none" spc="-35" normalizeH="0" baseline="0" noProof="0" dirty="0">
                <a:ln>
                  <a:noFill/>
                </a:ln>
                <a:solidFill>
                  <a:srgbClr val="535758"/>
                </a:solidFill>
                <a:effectLst/>
                <a:uLnTx/>
                <a:uFillTx/>
                <a:latin typeface="Arial"/>
                <a:ea typeface="+mn-ea"/>
                <a:cs typeface="Arial"/>
              </a:rPr>
              <a:t> </a:t>
            </a:r>
            <a:r>
              <a:rPr kumimoji="0" sz="1000" b="0" i="0" u="none" strike="noStrike" kern="0" cap="none" spc="0" normalizeH="0" baseline="0" noProof="0" dirty="0">
                <a:ln>
                  <a:noFill/>
                </a:ln>
                <a:solidFill>
                  <a:srgbClr val="535758"/>
                </a:solidFill>
                <a:effectLst/>
                <a:uLnTx/>
                <a:uFillTx/>
                <a:latin typeface="Arial"/>
                <a:ea typeface="+mn-ea"/>
                <a:cs typeface="Arial"/>
              </a:rPr>
              <a:t>Use</a:t>
            </a:r>
            <a:r>
              <a:rPr kumimoji="0" sz="1000" b="0" i="0" u="none" strike="noStrike" kern="0" cap="none" spc="-30" normalizeH="0" baseline="0" noProof="0" dirty="0">
                <a:ln>
                  <a:noFill/>
                </a:ln>
                <a:solidFill>
                  <a:srgbClr val="535758"/>
                </a:solidFill>
                <a:effectLst/>
                <a:uLnTx/>
                <a:uFillTx/>
                <a:latin typeface="Arial"/>
                <a:ea typeface="+mn-ea"/>
                <a:cs typeface="Arial"/>
              </a:rPr>
              <a:t> </a:t>
            </a:r>
            <a:r>
              <a:rPr kumimoji="0" sz="1000" b="0" i="0" u="none" strike="noStrike" kern="0" cap="none" spc="0" normalizeH="0" baseline="0" noProof="0" dirty="0">
                <a:ln>
                  <a:noFill/>
                </a:ln>
                <a:solidFill>
                  <a:srgbClr val="535758"/>
                </a:solidFill>
                <a:effectLst/>
                <a:uLnTx/>
                <a:uFillTx/>
                <a:latin typeface="Arial"/>
                <a:ea typeface="+mn-ea"/>
                <a:cs typeface="Arial"/>
              </a:rPr>
              <a:t>Only.</a:t>
            </a:r>
            <a:r>
              <a:rPr kumimoji="0" sz="1000" b="0" i="0" u="none" strike="noStrike" kern="0" cap="none" spc="10" normalizeH="0" baseline="0" noProof="0" dirty="0">
                <a:ln>
                  <a:noFill/>
                </a:ln>
                <a:solidFill>
                  <a:srgbClr val="535758"/>
                </a:solidFill>
                <a:effectLst/>
                <a:uLnTx/>
                <a:uFillTx/>
                <a:latin typeface="Arial"/>
                <a:ea typeface="+mn-ea"/>
                <a:cs typeface="Arial"/>
              </a:rPr>
              <a:t> </a:t>
            </a:r>
            <a:r>
              <a:rPr kumimoji="0" sz="1000" b="0" i="0" u="none" strike="noStrike" kern="0" cap="none" spc="0" normalizeH="0" baseline="0" noProof="0" dirty="0">
                <a:ln>
                  <a:noFill/>
                </a:ln>
                <a:solidFill>
                  <a:srgbClr val="535758"/>
                </a:solidFill>
                <a:effectLst/>
                <a:uLnTx/>
                <a:uFillTx/>
                <a:latin typeface="Arial"/>
                <a:ea typeface="+mn-ea"/>
                <a:cs typeface="Arial"/>
              </a:rPr>
              <a:t>Not</a:t>
            </a:r>
            <a:r>
              <a:rPr kumimoji="0" sz="1000" b="0" i="0" u="none" strike="noStrike" kern="0" cap="none" spc="-25" normalizeH="0" baseline="0" noProof="0" dirty="0">
                <a:ln>
                  <a:noFill/>
                </a:ln>
                <a:solidFill>
                  <a:srgbClr val="535758"/>
                </a:solidFill>
                <a:effectLst/>
                <a:uLnTx/>
                <a:uFillTx/>
                <a:latin typeface="Arial"/>
                <a:ea typeface="+mn-ea"/>
                <a:cs typeface="Arial"/>
              </a:rPr>
              <a:t> </a:t>
            </a:r>
            <a:r>
              <a:rPr kumimoji="0" sz="1000" b="0" i="0" u="none" strike="noStrike" kern="0" cap="none" spc="0" normalizeH="0" baseline="0" noProof="0" dirty="0">
                <a:ln>
                  <a:noFill/>
                </a:ln>
                <a:solidFill>
                  <a:srgbClr val="535758"/>
                </a:solidFill>
                <a:effectLst/>
                <a:uLnTx/>
                <a:uFillTx/>
                <a:latin typeface="Arial"/>
                <a:ea typeface="+mn-ea"/>
                <a:cs typeface="Arial"/>
              </a:rPr>
              <a:t>for</a:t>
            </a:r>
            <a:r>
              <a:rPr kumimoji="0" sz="1000" b="0" i="0" u="none" strike="noStrike" kern="0" cap="none" spc="-45" normalizeH="0" baseline="0" noProof="0" dirty="0">
                <a:ln>
                  <a:noFill/>
                </a:ln>
                <a:solidFill>
                  <a:srgbClr val="535758"/>
                </a:solidFill>
                <a:effectLst/>
                <a:uLnTx/>
                <a:uFillTx/>
                <a:latin typeface="Arial"/>
                <a:ea typeface="+mn-ea"/>
                <a:cs typeface="Arial"/>
              </a:rPr>
              <a:t> </a:t>
            </a:r>
            <a:r>
              <a:rPr kumimoji="0" sz="1000" b="0" i="0" u="none" strike="noStrike" kern="0" cap="none" spc="0" normalizeH="0" baseline="0" noProof="0" dirty="0">
                <a:ln>
                  <a:noFill/>
                </a:ln>
                <a:solidFill>
                  <a:srgbClr val="535758"/>
                </a:solidFill>
                <a:effectLst/>
                <a:uLnTx/>
                <a:uFillTx/>
                <a:latin typeface="Arial"/>
                <a:ea typeface="+mn-ea"/>
                <a:cs typeface="Arial"/>
              </a:rPr>
              <a:t>use</a:t>
            </a:r>
            <a:r>
              <a:rPr kumimoji="0" sz="1000" b="0" i="0" u="none" strike="noStrike" kern="0" cap="none" spc="-25" normalizeH="0" baseline="0" noProof="0" dirty="0">
                <a:ln>
                  <a:noFill/>
                </a:ln>
                <a:solidFill>
                  <a:srgbClr val="535758"/>
                </a:solidFill>
                <a:effectLst/>
                <a:uLnTx/>
                <a:uFillTx/>
                <a:latin typeface="Arial"/>
                <a:ea typeface="+mn-ea"/>
                <a:cs typeface="Arial"/>
              </a:rPr>
              <a:t> </a:t>
            </a:r>
            <a:r>
              <a:rPr kumimoji="0" sz="1000" b="0" i="0" u="none" strike="noStrike" kern="0" cap="none" spc="0" normalizeH="0" baseline="0" noProof="0" dirty="0">
                <a:ln>
                  <a:noFill/>
                </a:ln>
                <a:solidFill>
                  <a:srgbClr val="535758"/>
                </a:solidFill>
                <a:effectLst/>
                <a:uLnTx/>
                <a:uFillTx/>
                <a:latin typeface="Arial"/>
                <a:ea typeface="+mn-ea"/>
                <a:cs typeface="Arial"/>
              </a:rPr>
              <a:t>in</a:t>
            </a:r>
            <a:r>
              <a:rPr kumimoji="0" sz="1000" b="0" i="0" u="none" strike="noStrike" kern="0" cap="none" spc="-25" normalizeH="0" baseline="0" noProof="0" dirty="0">
                <a:ln>
                  <a:noFill/>
                </a:ln>
                <a:solidFill>
                  <a:srgbClr val="535758"/>
                </a:solidFill>
                <a:effectLst/>
                <a:uLnTx/>
                <a:uFillTx/>
                <a:latin typeface="Arial"/>
                <a:ea typeface="+mn-ea"/>
                <a:cs typeface="Arial"/>
              </a:rPr>
              <a:t> </a:t>
            </a:r>
            <a:r>
              <a:rPr kumimoji="0" sz="1000" b="0" i="0" u="none" strike="noStrike" kern="0" cap="none" spc="-10" normalizeH="0" baseline="0" noProof="0" dirty="0">
                <a:ln>
                  <a:noFill/>
                </a:ln>
                <a:solidFill>
                  <a:srgbClr val="535758"/>
                </a:solidFill>
                <a:effectLst/>
                <a:uLnTx/>
                <a:uFillTx/>
                <a:latin typeface="Arial"/>
                <a:ea typeface="+mn-ea"/>
                <a:cs typeface="Arial"/>
              </a:rPr>
              <a:t>diagnostic</a:t>
            </a:r>
            <a:r>
              <a:rPr kumimoji="0" sz="1000" b="0" i="0" u="none" strike="noStrike" kern="0" cap="none" spc="-25" normalizeH="0" baseline="0" noProof="0" dirty="0">
                <a:ln>
                  <a:noFill/>
                </a:ln>
                <a:solidFill>
                  <a:srgbClr val="535758"/>
                </a:solidFill>
                <a:effectLst/>
                <a:uLnTx/>
                <a:uFillTx/>
                <a:latin typeface="Arial"/>
                <a:ea typeface="+mn-ea"/>
                <a:cs typeface="Arial"/>
              </a:rPr>
              <a:t> </a:t>
            </a:r>
            <a:r>
              <a:rPr kumimoji="0" sz="1000" b="0" i="0" u="none" strike="noStrike" kern="0" cap="none" spc="-10" normalizeH="0" baseline="0" noProof="0" dirty="0">
                <a:ln>
                  <a:noFill/>
                </a:ln>
                <a:solidFill>
                  <a:srgbClr val="535758"/>
                </a:solidFill>
                <a:effectLst/>
                <a:uLnTx/>
                <a:uFillTx/>
                <a:latin typeface="Arial"/>
                <a:ea typeface="+mn-ea"/>
                <a:cs typeface="Arial"/>
              </a:rPr>
              <a:t>procedures.</a:t>
            </a:r>
            <a:endParaRPr kumimoji="0" sz="100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10" name="Rectangle 9">
            <a:extLst>
              <a:ext uri="{FF2B5EF4-FFF2-40B4-BE49-F238E27FC236}">
                <a16:creationId xmlns:a16="http://schemas.microsoft.com/office/drawing/2014/main" id="{82DF6C43-865C-B6E7-AC9D-FAA4C5D70ECF}"/>
              </a:ext>
            </a:extLst>
          </p:cNvPr>
          <p:cNvSpPr/>
          <p:nvPr/>
        </p:nvSpPr>
        <p:spPr>
          <a:xfrm>
            <a:off x="9862457" y="0"/>
            <a:ext cx="2211355" cy="76511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731330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324611" y="1033272"/>
            <a:ext cx="11562588" cy="5448300"/>
          </a:xfrm>
          <a:prstGeom prst="rect">
            <a:avLst/>
          </a:prstGeom>
        </p:spPr>
      </p:pic>
      <p:sp>
        <p:nvSpPr>
          <p:cNvPr id="3" name="object 3"/>
          <p:cNvSpPr txBox="1">
            <a:spLocks noGrp="1"/>
          </p:cNvSpPr>
          <p:nvPr>
            <p:ph type="title"/>
          </p:nvPr>
        </p:nvSpPr>
        <p:spPr>
          <a:xfrm>
            <a:off x="292100" y="239979"/>
            <a:ext cx="7755890" cy="452120"/>
          </a:xfrm>
          <a:prstGeom prst="rect">
            <a:avLst/>
          </a:prstGeom>
        </p:spPr>
        <p:txBody>
          <a:bodyPr vert="horz" wrap="square" lIns="0" tIns="12065" rIns="0" bIns="0" rtlCol="0">
            <a:spAutoFit/>
          </a:bodyPr>
          <a:lstStyle/>
          <a:p>
            <a:pPr marL="12700">
              <a:lnSpc>
                <a:spcPct val="100000"/>
              </a:lnSpc>
              <a:spcBef>
                <a:spcPts val="95"/>
              </a:spcBef>
            </a:pPr>
            <a:r>
              <a:rPr dirty="0">
                <a:solidFill>
                  <a:srgbClr val="E61216"/>
                </a:solidFill>
              </a:rPr>
              <a:t>Example</a:t>
            </a:r>
            <a:r>
              <a:rPr spc="-55" dirty="0">
                <a:solidFill>
                  <a:srgbClr val="E61216"/>
                </a:solidFill>
              </a:rPr>
              <a:t> </a:t>
            </a:r>
            <a:r>
              <a:rPr dirty="0">
                <a:solidFill>
                  <a:srgbClr val="E61216"/>
                </a:solidFill>
              </a:rPr>
              <a:t>of</a:t>
            </a:r>
            <a:r>
              <a:rPr spc="-60" dirty="0">
                <a:solidFill>
                  <a:srgbClr val="E61216"/>
                </a:solidFill>
              </a:rPr>
              <a:t> </a:t>
            </a:r>
            <a:r>
              <a:rPr dirty="0">
                <a:solidFill>
                  <a:srgbClr val="E61216"/>
                </a:solidFill>
              </a:rPr>
              <a:t>cnLOH</a:t>
            </a:r>
            <a:r>
              <a:rPr spc="-25" dirty="0">
                <a:solidFill>
                  <a:srgbClr val="E61216"/>
                </a:solidFill>
              </a:rPr>
              <a:t> </a:t>
            </a:r>
            <a:r>
              <a:rPr dirty="0">
                <a:solidFill>
                  <a:srgbClr val="E61216"/>
                </a:solidFill>
              </a:rPr>
              <a:t>/</a:t>
            </a:r>
            <a:r>
              <a:rPr spc="-165" dirty="0">
                <a:solidFill>
                  <a:srgbClr val="E61216"/>
                </a:solidFill>
              </a:rPr>
              <a:t> </a:t>
            </a:r>
            <a:r>
              <a:rPr dirty="0">
                <a:solidFill>
                  <a:srgbClr val="E61216"/>
                </a:solidFill>
              </a:rPr>
              <a:t>AOH</a:t>
            </a:r>
            <a:r>
              <a:rPr spc="-50" dirty="0">
                <a:solidFill>
                  <a:srgbClr val="E61216"/>
                </a:solidFill>
              </a:rPr>
              <a:t> </a:t>
            </a:r>
            <a:r>
              <a:rPr dirty="0">
                <a:solidFill>
                  <a:srgbClr val="E61216"/>
                </a:solidFill>
              </a:rPr>
              <a:t>/</a:t>
            </a:r>
            <a:r>
              <a:rPr spc="-60" dirty="0">
                <a:solidFill>
                  <a:srgbClr val="E61216"/>
                </a:solidFill>
              </a:rPr>
              <a:t> </a:t>
            </a:r>
            <a:r>
              <a:rPr dirty="0">
                <a:solidFill>
                  <a:srgbClr val="E61216"/>
                </a:solidFill>
              </a:rPr>
              <a:t>ROH</a:t>
            </a:r>
            <a:r>
              <a:rPr spc="-60" dirty="0">
                <a:solidFill>
                  <a:srgbClr val="E61216"/>
                </a:solidFill>
              </a:rPr>
              <a:t> </a:t>
            </a:r>
            <a:r>
              <a:rPr dirty="0">
                <a:solidFill>
                  <a:srgbClr val="E61216"/>
                </a:solidFill>
              </a:rPr>
              <a:t>(e.g.,</a:t>
            </a:r>
            <a:r>
              <a:rPr spc="-60" dirty="0">
                <a:solidFill>
                  <a:srgbClr val="E61216"/>
                </a:solidFill>
              </a:rPr>
              <a:t> </a:t>
            </a:r>
            <a:r>
              <a:rPr spc="-10" dirty="0">
                <a:solidFill>
                  <a:srgbClr val="E61216"/>
                </a:solidFill>
              </a:rPr>
              <a:t>isoUPD)</a:t>
            </a:r>
          </a:p>
        </p:txBody>
      </p:sp>
      <p:sp>
        <p:nvSpPr>
          <p:cNvPr id="4" name="object 4"/>
          <p:cNvSpPr txBox="1"/>
          <p:nvPr/>
        </p:nvSpPr>
        <p:spPr>
          <a:xfrm>
            <a:off x="53339" y="6627158"/>
            <a:ext cx="229235" cy="167005"/>
          </a:xfrm>
          <a:prstGeom prst="rect">
            <a:avLst/>
          </a:prstGeom>
        </p:spPr>
        <p:txBody>
          <a:bodyPr vert="horz" wrap="square" lIns="0" tIns="0" rIns="0" bIns="0" rtlCol="0">
            <a:spAutoFit/>
          </a:bodyPr>
          <a:lstStyle/>
          <a:p>
            <a:pPr marL="38100" marR="0" lvl="0" indent="0" algn="l" defTabSz="914400" rtl="0" eaLnBrk="1" fontAlgn="auto" latinLnBrk="0" hangingPunct="1">
              <a:lnSpc>
                <a:spcPct val="100000"/>
              </a:lnSpc>
              <a:spcBef>
                <a:spcPts val="0"/>
              </a:spcBef>
              <a:spcAft>
                <a:spcPts val="0"/>
              </a:spcAft>
              <a:buClrTx/>
              <a:buSzTx/>
              <a:buFontTx/>
              <a:buNone/>
              <a:tabLst/>
              <a:defRPr/>
            </a:pPr>
            <a:fld id="{81D60167-4931-47E6-BA6A-407CBD079E47}" type="slidenum">
              <a:rPr kumimoji="0" sz="1000" b="0" i="0" u="none" strike="noStrike" kern="0" cap="none" spc="-25" normalizeH="0" baseline="0" noProof="0" dirty="0">
                <a:ln>
                  <a:noFill/>
                </a:ln>
                <a:solidFill>
                  <a:srgbClr val="212121"/>
                </a:solidFill>
                <a:effectLst/>
                <a:uLnTx/>
                <a:uFillTx/>
                <a:latin typeface="Arial"/>
                <a:ea typeface="+mn-ea"/>
                <a:cs typeface="Arial"/>
              </a:rPr>
              <a:pPr marL="38100" marR="0" lvl="0" indent="0" algn="l" defTabSz="914400" rtl="0" eaLnBrk="1" fontAlgn="auto" latinLnBrk="0" hangingPunct="1">
                <a:lnSpc>
                  <a:spcPct val="100000"/>
                </a:lnSpc>
                <a:spcBef>
                  <a:spcPts val="0"/>
                </a:spcBef>
                <a:spcAft>
                  <a:spcPts val="0"/>
                </a:spcAft>
                <a:buClrTx/>
                <a:buSzTx/>
                <a:buFontTx/>
                <a:buNone/>
                <a:tabLst/>
                <a:defRPr/>
              </a:pPr>
              <a:t>42</a:t>
            </a:fld>
            <a:endParaRPr kumimoji="0" sz="100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5" name="object 5"/>
          <p:cNvSpPr txBox="1"/>
          <p:nvPr/>
        </p:nvSpPr>
        <p:spPr>
          <a:xfrm>
            <a:off x="396036" y="6631425"/>
            <a:ext cx="3474085" cy="167005"/>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000" b="0" i="0" u="none" strike="noStrike" kern="0" cap="none" spc="0" normalizeH="0" baseline="0" noProof="0" dirty="0">
                <a:ln>
                  <a:noFill/>
                </a:ln>
                <a:solidFill>
                  <a:srgbClr val="535758"/>
                </a:solidFill>
                <a:effectLst/>
                <a:uLnTx/>
                <a:uFillTx/>
                <a:latin typeface="Arial"/>
                <a:ea typeface="+mn-ea"/>
                <a:cs typeface="Arial"/>
              </a:rPr>
              <a:t>For</a:t>
            </a:r>
            <a:r>
              <a:rPr kumimoji="0" sz="1000" b="0" i="0" u="none" strike="noStrike" kern="0" cap="none" spc="-30" normalizeH="0" baseline="0" noProof="0" dirty="0">
                <a:ln>
                  <a:noFill/>
                </a:ln>
                <a:solidFill>
                  <a:srgbClr val="535758"/>
                </a:solidFill>
                <a:effectLst/>
                <a:uLnTx/>
                <a:uFillTx/>
                <a:latin typeface="Arial"/>
                <a:ea typeface="+mn-ea"/>
                <a:cs typeface="Arial"/>
              </a:rPr>
              <a:t> </a:t>
            </a:r>
            <a:r>
              <a:rPr kumimoji="0" sz="1000" b="0" i="0" u="none" strike="noStrike" kern="0" cap="none" spc="0" normalizeH="0" baseline="0" noProof="0" dirty="0">
                <a:ln>
                  <a:noFill/>
                </a:ln>
                <a:solidFill>
                  <a:srgbClr val="535758"/>
                </a:solidFill>
                <a:effectLst/>
                <a:uLnTx/>
                <a:uFillTx/>
                <a:latin typeface="Arial"/>
                <a:ea typeface="+mn-ea"/>
                <a:cs typeface="Arial"/>
              </a:rPr>
              <a:t>Research</a:t>
            </a:r>
            <a:r>
              <a:rPr kumimoji="0" sz="1000" b="0" i="0" u="none" strike="noStrike" kern="0" cap="none" spc="-35" normalizeH="0" baseline="0" noProof="0" dirty="0">
                <a:ln>
                  <a:noFill/>
                </a:ln>
                <a:solidFill>
                  <a:srgbClr val="535758"/>
                </a:solidFill>
                <a:effectLst/>
                <a:uLnTx/>
                <a:uFillTx/>
                <a:latin typeface="Arial"/>
                <a:ea typeface="+mn-ea"/>
                <a:cs typeface="Arial"/>
              </a:rPr>
              <a:t> </a:t>
            </a:r>
            <a:r>
              <a:rPr kumimoji="0" sz="1000" b="0" i="0" u="none" strike="noStrike" kern="0" cap="none" spc="0" normalizeH="0" baseline="0" noProof="0" dirty="0">
                <a:ln>
                  <a:noFill/>
                </a:ln>
                <a:solidFill>
                  <a:srgbClr val="535758"/>
                </a:solidFill>
                <a:effectLst/>
                <a:uLnTx/>
                <a:uFillTx/>
                <a:latin typeface="Arial"/>
                <a:ea typeface="+mn-ea"/>
                <a:cs typeface="Arial"/>
              </a:rPr>
              <a:t>Use</a:t>
            </a:r>
            <a:r>
              <a:rPr kumimoji="0" sz="1000" b="0" i="0" u="none" strike="noStrike" kern="0" cap="none" spc="-30" normalizeH="0" baseline="0" noProof="0" dirty="0">
                <a:ln>
                  <a:noFill/>
                </a:ln>
                <a:solidFill>
                  <a:srgbClr val="535758"/>
                </a:solidFill>
                <a:effectLst/>
                <a:uLnTx/>
                <a:uFillTx/>
                <a:latin typeface="Arial"/>
                <a:ea typeface="+mn-ea"/>
                <a:cs typeface="Arial"/>
              </a:rPr>
              <a:t> </a:t>
            </a:r>
            <a:r>
              <a:rPr kumimoji="0" sz="1000" b="0" i="0" u="none" strike="noStrike" kern="0" cap="none" spc="0" normalizeH="0" baseline="0" noProof="0" dirty="0">
                <a:ln>
                  <a:noFill/>
                </a:ln>
                <a:solidFill>
                  <a:srgbClr val="535758"/>
                </a:solidFill>
                <a:effectLst/>
                <a:uLnTx/>
                <a:uFillTx/>
                <a:latin typeface="Arial"/>
                <a:ea typeface="+mn-ea"/>
                <a:cs typeface="Arial"/>
              </a:rPr>
              <a:t>Only.</a:t>
            </a:r>
            <a:r>
              <a:rPr kumimoji="0" sz="1000" b="0" i="0" u="none" strike="noStrike" kern="0" cap="none" spc="10" normalizeH="0" baseline="0" noProof="0" dirty="0">
                <a:ln>
                  <a:noFill/>
                </a:ln>
                <a:solidFill>
                  <a:srgbClr val="535758"/>
                </a:solidFill>
                <a:effectLst/>
                <a:uLnTx/>
                <a:uFillTx/>
                <a:latin typeface="Arial"/>
                <a:ea typeface="+mn-ea"/>
                <a:cs typeface="Arial"/>
              </a:rPr>
              <a:t> </a:t>
            </a:r>
            <a:r>
              <a:rPr kumimoji="0" sz="1000" b="0" i="0" u="none" strike="noStrike" kern="0" cap="none" spc="0" normalizeH="0" baseline="0" noProof="0" dirty="0">
                <a:ln>
                  <a:noFill/>
                </a:ln>
                <a:solidFill>
                  <a:srgbClr val="535758"/>
                </a:solidFill>
                <a:effectLst/>
                <a:uLnTx/>
                <a:uFillTx/>
                <a:latin typeface="Arial"/>
                <a:ea typeface="+mn-ea"/>
                <a:cs typeface="Arial"/>
              </a:rPr>
              <a:t>Not</a:t>
            </a:r>
            <a:r>
              <a:rPr kumimoji="0" sz="1000" b="0" i="0" u="none" strike="noStrike" kern="0" cap="none" spc="-25" normalizeH="0" baseline="0" noProof="0" dirty="0">
                <a:ln>
                  <a:noFill/>
                </a:ln>
                <a:solidFill>
                  <a:srgbClr val="535758"/>
                </a:solidFill>
                <a:effectLst/>
                <a:uLnTx/>
                <a:uFillTx/>
                <a:latin typeface="Arial"/>
                <a:ea typeface="+mn-ea"/>
                <a:cs typeface="Arial"/>
              </a:rPr>
              <a:t> </a:t>
            </a:r>
            <a:r>
              <a:rPr kumimoji="0" sz="1000" b="0" i="0" u="none" strike="noStrike" kern="0" cap="none" spc="0" normalizeH="0" baseline="0" noProof="0" dirty="0">
                <a:ln>
                  <a:noFill/>
                </a:ln>
                <a:solidFill>
                  <a:srgbClr val="535758"/>
                </a:solidFill>
                <a:effectLst/>
                <a:uLnTx/>
                <a:uFillTx/>
                <a:latin typeface="Arial"/>
                <a:ea typeface="+mn-ea"/>
                <a:cs typeface="Arial"/>
              </a:rPr>
              <a:t>for</a:t>
            </a:r>
            <a:r>
              <a:rPr kumimoji="0" sz="1000" b="0" i="0" u="none" strike="noStrike" kern="0" cap="none" spc="-45" normalizeH="0" baseline="0" noProof="0" dirty="0">
                <a:ln>
                  <a:noFill/>
                </a:ln>
                <a:solidFill>
                  <a:srgbClr val="535758"/>
                </a:solidFill>
                <a:effectLst/>
                <a:uLnTx/>
                <a:uFillTx/>
                <a:latin typeface="Arial"/>
                <a:ea typeface="+mn-ea"/>
                <a:cs typeface="Arial"/>
              </a:rPr>
              <a:t> </a:t>
            </a:r>
            <a:r>
              <a:rPr kumimoji="0" sz="1000" b="0" i="0" u="none" strike="noStrike" kern="0" cap="none" spc="0" normalizeH="0" baseline="0" noProof="0" dirty="0">
                <a:ln>
                  <a:noFill/>
                </a:ln>
                <a:solidFill>
                  <a:srgbClr val="535758"/>
                </a:solidFill>
                <a:effectLst/>
                <a:uLnTx/>
                <a:uFillTx/>
                <a:latin typeface="Arial"/>
                <a:ea typeface="+mn-ea"/>
                <a:cs typeface="Arial"/>
              </a:rPr>
              <a:t>use</a:t>
            </a:r>
            <a:r>
              <a:rPr kumimoji="0" sz="1000" b="0" i="0" u="none" strike="noStrike" kern="0" cap="none" spc="-25" normalizeH="0" baseline="0" noProof="0" dirty="0">
                <a:ln>
                  <a:noFill/>
                </a:ln>
                <a:solidFill>
                  <a:srgbClr val="535758"/>
                </a:solidFill>
                <a:effectLst/>
                <a:uLnTx/>
                <a:uFillTx/>
                <a:latin typeface="Arial"/>
                <a:ea typeface="+mn-ea"/>
                <a:cs typeface="Arial"/>
              </a:rPr>
              <a:t> </a:t>
            </a:r>
            <a:r>
              <a:rPr kumimoji="0" sz="1000" b="0" i="0" u="none" strike="noStrike" kern="0" cap="none" spc="0" normalizeH="0" baseline="0" noProof="0" dirty="0">
                <a:ln>
                  <a:noFill/>
                </a:ln>
                <a:solidFill>
                  <a:srgbClr val="535758"/>
                </a:solidFill>
                <a:effectLst/>
                <a:uLnTx/>
                <a:uFillTx/>
                <a:latin typeface="Arial"/>
                <a:ea typeface="+mn-ea"/>
                <a:cs typeface="Arial"/>
              </a:rPr>
              <a:t>in</a:t>
            </a:r>
            <a:r>
              <a:rPr kumimoji="0" sz="1000" b="0" i="0" u="none" strike="noStrike" kern="0" cap="none" spc="-25" normalizeH="0" baseline="0" noProof="0" dirty="0">
                <a:ln>
                  <a:noFill/>
                </a:ln>
                <a:solidFill>
                  <a:srgbClr val="535758"/>
                </a:solidFill>
                <a:effectLst/>
                <a:uLnTx/>
                <a:uFillTx/>
                <a:latin typeface="Arial"/>
                <a:ea typeface="+mn-ea"/>
                <a:cs typeface="Arial"/>
              </a:rPr>
              <a:t> </a:t>
            </a:r>
            <a:r>
              <a:rPr kumimoji="0" sz="1000" b="0" i="0" u="none" strike="noStrike" kern="0" cap="none" spc="-10" normalizeH="0" baseline="0" noProof="0" dirty="0">
                <a:ln>
                  <a:noFill/>
                </a:ln>
                <a:solidFill>
                  <a:srgbClr val="535758"/>
                </a:solidFill>
                <a:effectLst/>
                <a:uLnTx/>
                <a:uFillTx/>
                <a:latin typeface="Arial"/>
                <a:ea typeface="+mn-ea"/>
                <a:cs typeface="Arial"/>
              </a:rPr>
              <a:t>diagnostic</a:t>
            </a:r>
            <a:r>
              <a:rPr kumimoji="0" sz="1000" b="0" i="0" u="none" strike="noStrike" kern="0" cap="none" spc="-25" normalizeH="0" baseline="0" noProof="0" dirty="0">
                <a:ln>
                  <a:noFill/>
                </a:ln>
                <a:solidFill>
                  <a:srgbClr val="535758"/>
                </a:solidFill>
                <a:effectLst/>
                <a:uLnTx/>
                <a:uFillTx/>
                <a:latin typeface="Arial"/>
                <a:ea typeface="+mn-ea"/>
                <a:cs typeface="Arial"/>
              </a:rPr>
              <a:t> </a:t>
            </a:r>
            <a:r>
              <a:rPr kumimoji="0" sz="1000" b="0" i="0" u="none" strike="noStrike" kern="0" cap="none" spc="-10" normalizeH="0" baseline="0" noProof="0" dirty="0">
                <a:ln>
                  <a:noFill/>
                </a:ln>
                <a:solidFill>
                  <a:srgbClr val="535758"/>
                </a:solidFill>
                <a:effectLst/>
                <a:uLnTx/>
                <a:uFillTx/>
                <a:latin typeface="Arial"/>
                <a:ea typeface="+mn-ea"/>
                <a:cs typeface="Arial"/>
              </a:rPr>
              <a:t>procedures.</a:t>
            </a:r>
            <a:endParaRPr kumimoji="0" sz="100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6" name="Rectangle 5">
            <a:extLst>
              <a:ext uri="{FF2B5EF4-FFF2-40B4-BE49-F238E27FC236}">
                <a16:creationId xmlns:a16="http://schemas.microsoft.com/office/drawing/2014/main" id="{0FDB63BC-B6CA-62BB-8D53-65A28D4270C6}"/>
              </a:ext>
            </a:extLst>
          </p:cNvPr>
          <p:cNvSpPr/>
          <p:nvPr/>
        </p:nvSpPr>
        <p:spPr>
          <a:xfrm>
            <a:off x="9862457" y="0"/>
            <a:ext cx="2211355" cy="76511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730029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304800" y="1033272"/>
            <a:ext cx="11582400" cy="5522976"/>
          </a:xfrm>
          <a:prstGeom prst="rect">
            <a:avLst/>
          </a:prstGeom>
        </p:spPr>
      </p:pic>
      <p:sp>
        <p:nvSpPr>
          <p:cNvPr id="3" name="object 3"/>
          <p:cNvSpPr txBox="1">
            <a:spLocks noGrp="1"/>
          </p:cNvSpPr>
          <p:nvPr>
            <p:ph type="title"/>
          </p:nvPr>
        </p:nvSpPr>
        <p:spPr>
          <a:xfrm>
            <a:off x="292100" y="239979"/>
            <a:ext cx="3839845" cy="452120"/>
          </a:xfrm>
          <a:prstGeom prst="rect">
            <a:avLst/>
          </a:prstGeom>
        </p:spPr>
        <p:txBody>
          <a:bodyPr vert="horz" wrap="square" lIns="0" tIns="12065" rIns="0" bIns="0" rtlCol="0">
            <a:spAutoFit/>
          </a:bodyPr>
          <a:lstStyle/>
          <a:p>
            <a:pPr marL="12700">
              <a:lnSpc>
                <a:spcPct val="100000"/>
              </a:lnSpc>
              <a:spcBef>
                <a:spcPts val="95"/>
              </a:spcBef>
            </a:pPr>
            <a:r>
              <a:rPr dirty="0">
                <a:solidFill>
                  <a:srgbClr val="E61216"/>
                </a:solidFill>
              </a:rPr>
              <a:t>Example</a:t>
            </a:r>
            <a:r>
              <a:rPr spc="-70" dirty="0">
                <a:solidFill>
                  <a:srgbClr val="E61216"/>
                </a:solidFill>
              </a:rPr>
              <a:t> </a:t>
            </a:r>
            <a:r>
              <a:rPr dirty="0">
                <a:solidFill>
                  <a:srgbClr val="E61216"/>
                </a:solidFill>
              </a:rPr>
              <a:t>of</a:t>
            </a:r>
            <a:r>
              <a:rPr spc="-70" dirty="0">
                <a:solidFill>
                  <a:srgbClr val="E61216"/>
                </a:solidFill>
              </a:rPr>
              <a:t> </a:t>
            </a:r>
            <a:r>
              <a:rPr spc="-10" dirty="0">
                <a:solidFill>
                  <a:srgbClr val="E61216"/>
                </a:solidFill>
              </a:rPr>
              <a:t>Mosaicism</a:t>
            </a:r>
          </a:p>
        </p:txBody>
      </p:sp>
      <p:sp>
        <p:nvSpPr>
          <p:cNvPr id="4" name="object 4"/>
          <p:cNvSpPr txBox="1"/>
          <p:nvPr/>
        </p:nvSpPr>
        <p:spPr>
          <a:xfrm>
            <a:off x="53339" y="6627158"/>
            <a:ext cx="229235" cy="167005"/>
          </a:xfrm>
          <a:prstGeom prst="rect">
            <a:avLst/>
          </a:prstGeom>
        </p:spPr>
        <p:txBody>
          <a:bodyPr vert="horz" wrap="square" lIns="0" tIns="0" rIns="0" bIns="0" rtlCol="0">
            <a:spAutoFit/>
          </a:bodyPr>
          <a:lstStyle/>
          <a:p>
            <a:pPr marL="38100" marR="0" lvl="0" indent="0" algn="l" defTabSz="914400" rtl="0" eaLnBrk="1" fontAlgn="auto" latinLnBrk="0" hangingPunct="1">
              <a:lnSpc>
                <a:spcPct val="100000"/>
              </a:lnSpc>
              <a:spcBef>
                <a:spcPts val="0"/>
              </a:spcBef>
              <a:spcAft>
                <a:spcPts val="0"/>
              </a:spcAft>
              <a:buClrTx/>
              <a:buSzTx/>
              <a:buFontTx/>
              <a:buNone/>
              <a:tabLst/>
              <a:defRPr/>
            </a:pPr>
            <a:fld id="{81D60167-4931-47E6-BA6A-407CBD079E47}" type="slidenum">
              <a:rPr kumimoji="0" sz="1000" b="0" i="0" u="none" strike="noStrike" kern="0" cap="none" spc="-25" normalizeH="0" baseline="0" noProof="0" dirty="0">
                <a:ln>
                  <a:noFill/>
                </a:ln>
                <a:solidFill>
                  <a:srgbClr val="212121"/>
                </a:solidFill>
                <a:effectLst/>
                <a:uLnTx/>
                <a:uFillTx/>
                <a:latin typeface="Arial"/>
                <a:ea typeface="+mn-ea"/>
                <a:cs typeface="Arial"/>
              </a:rPr>
              <a:pPr marL="38100" marR="0" lvl="0" indent="0" algn="l" defTabSz="914400" rtl="0" eaLnBrk="1" fontAlgn="auto" latinLnBrk="0" hangingPunct="1">
                <a:lnSpc>
                  <a:spcPct val="100000"/>
                </a:lnSpc>
                <a:spcBef>
                  <a:spcPts val="0"/>
                </a:spcBef>
                <a:spcAft>
                  <a:spcPts val="0"/>
                </a:spcAft>
                <a:buClrTx/>
                <a:buSzTx/>
                <a:buFontTx/>
                <a:buNone/>
                <a:tabLst/>
                <a:defRPr/>
              </a:pPr>
              <a:t>43</a:t>
            </a:fld>
            <a:endParaRPr kumimoji="0" sz="100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5" name="object 5"/>
          <p:cNvSpPr txBox="1"/>
          <p:nvPr/>
        </p:nvSpPr>
        <p:spPr>
          <a:xfrm>
            <a:off x="396036" y="6631425"/>
            <a:ext cx="3474085" cy="167005"/>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000" b="0" i="0" u="none" strike="noStrike" kern="0" cap="none" spc="0" normalizeH="0" baseline="0" noProof="0" dirty="0">
                <a:ln>
                  <a:noFill/>
                </a:ln>
                <a:solidFill>
                  <a:srgbClr val="535758"/>
                </a:solidFill>
                <a:effectLst/>
                <a:uLnTx/>
                <a:uFillTx/>
                <a:latin typeface="Arial"/>
                <a:ea typeface="+mn-ea"/>
                <a:cs typeface="Arial"/>
              </a:rPr>
              <a:t>For</a:t>
            </a:r>
            <a:r>
              <a:rPr kumimoji="0" sz="1000" b="0" i="0" u="none" strike="noStrike" kern="0" cap="none" spc="-30" normalizeH="0" baseline="0" noProof="0" dirty="0">
                <a:ln>
                  <a:noFill/>
                </a:ln>
                <a:solidFill>
                  <a:srgbClr val="535758"/>
                </a:solidFill>
                <a:effectLst/>
                <a:uLnTx/>
                <a:uFillTx/>
                <a:latin typeface="Arial"/>
                <a:ea typeface="+mn-ea"/>
                <a:cs typeface="Arial"/>
              </a:rPr>
              <a:t> </a:t>
            </a:r>
            <a:r>
              <a:rPr kumimoji="0" sz="1000" b="0" i="0" u="none" strike="noStrike" kern="0" cap="none" spc="0" normalizeH="0" baseline="0" noProof="0" dirty="0">
                <a:ln>
                  <a:noFill/>
                </a:ln>
                <a:solidFill>
                  <a:srgbClr val="535758"/>
                </a:solidFill>
                <a:effectLst/>
                <a:uLnTx/>
                <a:uFillTx/>
                <a:latin typeface="Arial"/>
                <a:ea typeface="+mn-ea"/>
                <a:cs typeface="Arial"/>
              </a:rPr>
              <a:t>Research</a:t>
            </a:r>
            <a:r>
              <a:rPr kumimoji="0" sz="1000" b="0" i="0" u="none" strike="noStrike" kern="0" cap="none" spc="-35" normalizeH="0" baseline="0" noProof="0" dirty="0">
                <a:ln>
                  <a:noFill/>
                </a:ln>
                <a:solidFill>
                  <a:srgbClr val="535758"/>
                </a:solidFill>
                <a:effectLst/>
                <a:uLnTx/>
                <a:uFillTx/>
                <a:latin typeface="Arial"/>
                <a:ea typeface="+mn-ea"/>
                <a:cs typeface="Arial"/>
              </a:rPr>
              <a:t> </a:t>
            </a:r>
            <a:r>
              <a:rPr kumimoji="0" sz="1000" b="0" i="0" u="none" strike="noStrike" kern="0" cap="none" spc="0" normalizeH="0" baseline="0" noProof="0" dirty="0">
                <a:ln>
                  <a:noFill/>
                </a:ln>
                <a:solidFill>
                  <a:srgbClr val="535758"/>
                </a:solidFill>
                <a:effectLst/>
                <a:uLnTx/>
                <a:uFillTx/>
                <a:latin typeface="Arial"/>
                <a:ea typeface="+mn-ea"/>
                <a:cs typeface="Arial"/>
              </a:rPr>
              <a:t>Use</a:t>
            </a:r>
            <a:r>
              <a:rPr kumimoji="0" sz="1000" b="0" i="0" u="none" strike="noStrike" kern="0" cap="none" spc="-30" normalizeH="0" baseline="0" noProof="0" dirty="0">
                <a:ln>
                  <a:noFill/>
                </a:ln>
                <a:solidFill>
                  <a:srgbClr val="535758"/>
                </a:solidFill>
                <a:effectLst/>
                <a:uLnTx/>
                <a:uFillTx/>
                <a:latin typeface="Arial"/>
                <a:ea typeface="+mn-ea"/>
                <a:cs typeface="Arial"/>
              </a:rPr>
              <a:t> </a:t>
            </a:r>
            <a:r>
              <a:rPr kumimoji="0" sz="1000" b="0" i="0" u="none" strike="noStrike" kern="0" cap="none" spc="0" normalizeH="0" baseline="0" noProof="0" dirty="0">
                <a:ln>
                  <a:noFill/>
                </a:ln>
                <a:solidFill>
                  <a:srgbClr val="535758"/>
                </a:solidFill>
                <a:effectLst/>
                <a:uLnTx/>
                <a:uFillTx/>
                <a:latin typeface="Arial"/>
                <a:ea typeface="+mn-ea"/>
                <a:cs typeface="Arial"/>
              </a:rPr>
              <a:t>Only.</a:t>
            </a:r>
            <a:r>
              <a:rPr kumimoji="0" sz="1000" b="0" i="0" u="none" strike="noStrike" kern="0" cap="none" spc="10" normalizeH="0" baseline="0" noProof="0" dirty="0">
                <a:ln>
                  <a:noFill/>
                </a:ln>
                <a:solidFill>
                  <a:srgbClr val="535758"/>
                </a:solidFill>
                <a:effectLst/>
                <a:uLnTx/>
                <a:uFillTx/>
                <a:latin typeface="Arial"/>
                <a:ea typeface="+mn-ea"/>
                <a:cs typeface="Arial"/>
              </a:rPr>
              <a:t> </a:t>
            </a:r>
            <a:r>
              <a:rPr kumimoji="0" sz="1000" b="0" i="0" u="none" strike="noStrike" kern="0" cap="none" spc="0" normalizeH="0" baseline="0" noProof="0" dirty="0">
                <a:ln>
                  <a:noFill/>
                </a:ln>
                <a:solidFill>
                  <a:srgbClr val="535758"/>
                </a:solidFill>
                <a:effectLst/>
                <a:uLnTx/>
                <a:uFillTx/>
                <a:latin typeface="Arial"/>
                <a:ea typeface="+mn-ea"/>
                <a:cs typeface="Arial"/>
              </a:rPr>
              <a:t>Not</a:t>
            </a:r>
            <a:r>
              <a:rPr kumimoji="0" sz="1000" b="0" i="0" u="none" strike="noStrike" kern="0" cap="none" spc="-25" normalizeH="0" baseline="0" noProof="0" dirty="0">
                <a:ln>
                  <a:noFill/>
                </a:ln>
                <a:solidFill>
                  <a:srgbClr val="535758"/>
                </a:solidFill>
                <a:effectLst/>
                <a:uLnTx/>
                <a:uFillTx/>
                <a:latin typeface="Arial"/>
                <a:ea typeface="+mn-ea"/>
                <a:cs typeface="Arial"/>
              </a:rPr>
              <a:t> </a:t>
            </a:r>
            <a:r>
              <a:rPr kumimoji="0" sz="1000" b="0" i="0" u="none" strike="noStrike" kern="0" cap="none" spc="0" normalizeH="0" baseline="0" noProof="0" dirty="0">
                <a:ln>
                  <a:noFill/>
                </a:ln>
                <a:solidFill>
                  <a:srgbClr val="535758"/>
                </a:solidFill>
                <a:effectLst/>
                <a:uLnTx/>
                <a:uFillTx/>
                <a:latin typeface="Arial"/>
                <a:ea typeface="+mn-ea"/>
                <a:cs typeface="Arial"/>
              </a:rPr>
              <a:t>for</a:t>
            </a:r>
            <a:r>
              <a:rPr kumimoji="0" sz="1000" b="0" i="0" u="none" strike="noStrike" kern="0" cap="none" spc="-45" normalizeH="0" baseline="0" noProof="0" dirty="0">
                <a:ln>
                  <a:noFill/>
                </a:ln>
                <a:solidFill>
                  <a:srgbClr val="535758"/>
                </a:solidFill>
                <a:effectLst/>
                <a:uLnTx/>
                <a:uFillTx/>
                <a:latin typeface="Arial"/>
                <a:ea typeface="+mn-ea"/>
                <a:cs typeface="Arial"/>
              </a:rPr>
              <a:t> </a:t>
            </a:r>
            <a:r>
              <a:rPr kumimoji="0" sz="1000" b="0" i="0" u="none" strike="noStrike" kern="0" cap="none" spc="0" normalizeH="0" baseline="0" noProof="0" dirty="0">
                <a:ln>
                  <a:noFill/>
                </a:ln>
                <a:solidFill>
                  <a:srgbClr val="535758"/>
                </a:solidFill>
                <a:effectLst/>
                <a:uLnTx/>
                <a:uFillTx/>
                <a:latin typeface="Arial"/>
                <a:ea typeface="+mn-ea"/>
                <a:cs typeface="Arial"/>
              </a:rPr>
              <a:t>use</a:t>
            </a:r>
            <a:r>
              <a:rPr kumimoji="0" sz="1000" b="0" i="0" u="none" strike="noStrike" kern="0" cap="none" spc="-25" normalizeH="0" baseline="0" noProof="0" dirty="0">
                <a:ln>
                  <a:noFill/>
                </a:ln>
                <a:solidFill>
                  <a:srgbClr val="535758"/>
                </a:solidFill>
                <a:effectLst/>
                <a:uLnTx/>
                <a:uFillTx/>
                <a:latin typeface="Arial"/>
                <a:ea typeface="+mn-ea"/>
                <a:cs typeface="Arial"/>
              </a:rPr>
              <a:t> </a:t>
            </a:r>
            <a:r>
              <a:rPr kumimoji="0" sz="1000" b="0" i="0" u="none" strike="noStrike" kern="0" cap="none" spc="0" normalizeH="0" baseline="0" noProof="0" dirty="0">
                <a:ln>
                  <a:noFill/>
                </a:ln>
                <a:solidFill>
                  <a:srgbClr val="535758"/>
                </a:solidFill>
                <a:effectLst/>
                <a:uLnTx/>
                <a:uFillTx/>
                <a:latin typeface="Arial"/>
                <a:ea typeface="+mn-ea"/>
                <a:cs typeface="Arial"/>
              </a:rPr>
              <a:t>in</a:t>
            </a:r>
            <a:r>
              <a:rPr kumimoji="0" sz="1000" b="0" i="0" u="none" strike="noStrike" kern="0" cap="none" spc="-25" normalizeH="0" baseline="0" noProof="0" dirty="0">
                <a:ln>
                  <a:noFill/>
                </a:ln>
                <a:solidFill>
                  <a:srgbClr val="535758"/>
                </a:solidFill>
                <a:effectLst/>
                <a:uLnTx/>
                <a:uFillTx/>
                <a:latin typeface="Arial"/>
                <a:ea typeface="+mn-ea"/>
                <a:cs typeface="Arial"/>
              </a:rPr>
              <a:t> </a:t>
            </a:r>
            <a:r>
              <a:rPr kumimoji="0" sz="1000" b="0" i="0" u="none" strike="noStrike" kern="0" cap="none" spc="-10" normalizeH="0" baseline="0" noProof="0" dirty="0">
                <a:ln>
                  <a:noFill/>
                </a:ln>
                <a:solidFill>
                  <a:srgbClr val="535758"/>
                </a:solidFill>
                <a:effectLst/>
                <a:uLnTx/>
                <a:uFillTx/>
                <a:latin typeface="Arial"/>
                <a:ea typeface="+mn-ea"/>
                <a:cs typeface="Arial"/>
              </a:rPr>
              <a:t>diagnostic</a:t>
            </a:r>
            <a:r>
              <a:rPr kumimoji="0" sz="1000" b="0" i="0" u="none" strike="noStrike" kern="0" cap="none" spc="-25" normalizeH="0" baseline="0" noProof="0" dirty="0">
                <a:ln>
                  <a:noFill/>
                </a:ln>
                <a:solidFill>
                  <a:srgbClr val="535758"/>
                </a:solidFill>
                <a:effectLst/>
                <a:uLnTx/>
                <a:uFillTx/>
                <a:latin typeface="Arial"/>
                <a:ea typeface="+mn-ea"/>
                <a:cs typeface="Arial"/>
              </a:rPr>
              <a:t> </a:t>
            </a:r>
            <a:r>
              <a:rPr kumimoji="0" sz="1000" b="0" i="0" u="none" strike="noStrike" kern="0" cap="none" spc="-10" normalizeH="0" baseline="0" noProof="0" dirty="0">
                <a:ln>
                  <a:noFill/>
                </a:ln>
                <a:solidFill>
                  <a:srgbClr val="535758"/>
                </a:solidFill>
                <a:effectLst/>
                <a:uLnTx/>
                <a:uFillTx/>
                <a:latin typeface="Arial"/>
                <a:ea typeface="+mn-ea"/>
                <a:cs typeface="Arial"/>
              </a:rPr>
              <a:t>procedures.</a:t>
            </a:r>
            <a:endParaRPr kumimoji="0" sz="100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6" name="Rectangle 5">
            <a:extLst>
              <a:ext uri="{FF2B5EF4-FFF2-40B4-BE49-F238E27FC236}">
                <a16:creationId xmlns:a16="http://schemas.microsoft.com/office/drawing/2014/main" id="{C700FCCF-AC42-0141-0613-F59349BC4A7E}"/>
              </a:ext>
            </a:extLst>
          </p:cNvPr>
          <p:cNvSpPr/>
          <p:nvPr/>
        </p:nvSpPr>
        <p:spPr>
          <a:xfrm>
            <a:off x="9862457" y="0"/>
            <a:ext cx="2211355" cy="76511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400610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0499737" y="214566"/>
            <a:ext cx="1171575" cy="252729"/>
          </a:xfrm>
          <a:custGeom>
            <a:avLst/>
            <a:gdLst/>
            <a:ahLst/>
            <a:cxnLst/>
            <a:rect l="l" t="t" r="r" b="b"/>
            <a:pathLst>
              <a:path w="1171575" h="252729">
                <a:moveTo>
                  <a:pt x="99783" y="223189"/>
                </a:moveTo>
                <a:lnTo>
                  <a:pt x="54864" y="201472"/>
                </a:lnTo>
                <a:lnTo>
                  <a:pt x="50114" y="198437"/>
                </a:lnTo>
                <a:lnTo>
                  <a:pt x="50114" y="185407"/>
                </a:lnTo>
                <a:lnTo>
                  <a:pt x="57886" y="181495"/>
                </a:lnTo>
                <a:lnTo>
                  <a:pt x="76466" y="181495"/>
                </a:lnTo>
                <a:lnTo>
                  <a:pt x="84239" y="183235"/>
                </a:lnTo>
                <a:lnTo>
                  <a:pt x="91579" y="187579"/>
                </a:lnTo>
                <a:lnTo>
                  <a:pt x="95719" y="181495"/>
                </a:lnTo>
                <a:lnTo>
                  <a:pt x="67818" y="172389"/>
                </a:lnTo>
                <a:lnTo>
                  <a:pt x="55372" y="174015"/>
                </a:lnTo>
                <a:lnTo>
                  <a:pt x="45681" y="178574"/>
                </a:lnTo>
                <a:lnTo>
                  <a:pt x="39395" y="185572"/>
                </a:lnTo>
                <a:lnTo>
                  <a:pt x="37147" y="194525"/>
                </a:lnTo>
                <a:lnTo>
                  <a:pt x="38557" y="201066"/>
                </a:lnTo>
                <a:lnTo>
                  <a:pt x="81216" y="219710"/>
                </a:lnTo>
                <a:lnTo>
                  <a:pt x="85966" y="223621"/>
                </a:lnTo>
                <a:lnTo>
                  <a:pt x="85966" y="234480"/>
                </a:lnTo>
                <a:lnTo>
                  <a:pt x="83807" y="237515"/>
                </a:lnTo>
                <a:lnTo>
                  <a:pt x="79489" y="240118"/>
                </a:lnTo>
                <a:lnTo>
                  <a:pt x="75603" y="241858"/>
                </a:lnTo>
                <a:lnTo>
                  <a:pt x="71716" y="243154"/>
                </a:lnTo>
                <a:lnTo>
                  <a:pt x="65659" y="243154"/>
                </a:lnTo>
                <a:lnTo>
                  <a:pt x="58737" y="242747"/>
                </a:lnTo>
                <a:lnTo>
                  <a:pt x="52108" y="241528"/>
                </a:lnTo>
                <a:lnTo>
                  <a:pt x="45554" y="239496"/>
                </a:lnTo>
                <a:lnTo>
                  <a:pt x="38874" y="236639"/>
                </a:lnTo>
                <a:lnTo>
                  <a:pt x="34124" y="245325"/>
                </a:lnTo>
                <a:lnTo>
                  <a:pt x="41224" y="248246"/>
                </a:lnTo>
                <a:lnTo>
                  <a:pt x="48818" y="250431"/>
                </a:lnTo>
                <a:lnTo>
                  <a:pt x="56718" y="251802"/>
                </a:lnTo>
                <a:lnTo>
                  <a:pt x="64795" y="252285"/>
                </a:lnTo>
                <a:lnTo>
                  <a:pt x="73012" y="252285"/>
                </a:lnTo>
                <a:lnTo>
                  <a:pt x="80352" y="250977"/>
                </a:lnTo>
                <a:lnTo>
                  <a:pt x="85966" y="247942"/>
                </a:lnTo>
                <a:lnTo>
                  <a:pt x="94602" y="243598"/>
                </a:lnTo>
                <a:lnTo>
                  <a:pt x="94907" y="243154"/>
                </a:lnTo>
                <a:lnTo>
                  <a:pt x="99783" y="236207"/>
                </a:lnTo>
                <a:lnTo>
                  <a:pt x="99783" y="223189"/>
                </a:lnTo>
                <a:close/>
              </a:path>
              <a:path w="1171575" h="252729">
                <a:moveTo>
                  <a:pt x="112318" y="0"/>
                </a:moveTo>
                <a:lnTo>
                  <a:pt x="0" y="0"/>
                </a:lnTo>
                <a:lnTo>
                  <a:pt x="0" y="25184"/>
                </a:lnTo>
                <a:lnTo>
                  <a:pt x="38442" y="25184"/>
                </a:lnTo>
                <a:lnTo>
                  <a:pt x="38442" y="134607"/>
                </a:lnTo>
                <a:lnTo>
                  <a:pt x="73444" y="134607"/>
                </a:lnTo>
                <a:lnTo>
                  <a:pt x="73444" y="25184"/>
                </a:lnTo>
                <a:lnTo>
                  <a:pt x="112318" y="25184"/>
                </a:lnTo>
                <a:lnTo>
                  <a:pt x="112318" y="0"/>
                </a:lnTo>
                <a:close/>
              </a:path>
              <a:path w="1171575" h="252729">
                <a:moveTo>
                  <a:pt x="214261" y="134607"/>
                </a:moveTo>
                <a:lnTo>
                  <a:pt x="213398" y="125920"/>
                </a:lnTo>
                <a:lnTo>
                  <a:pt x="212966" y="119418"/>
                </a:lnTo>
                <a:lnTo>
                  <a:pt x="212966" y="69037"/>
                </a:lnTo>
                <a:lnTo>
                  <a:pt x="211074" y="59055"/>
                </a:lnTo>
                <a:lnTo>
                  <a:pt x="181000" y="38214"/>
                </a:lnTo>
                <a:lnTo>
                  <a:pt x="175387" y="38214"/>
                </a:lnTo>
                <a:lnTo>
                  <a:pt x="169773" y="39077"/>
                </a:lnTo>
                <a:lnTo>
                  <a:pt x="161137" y="43421"/>
                </a:lnTo>
                <a:lnTo>
                  <a:pt x="156806" y="46469"/>
                </a:lnTo>
                <a:lnTo>
                  <a:pt x="153352" y="50800"/>
                </a:lnTo>
                <a:lnTo>
                  <a:pt x="153352" y="0"/>
                </a:lnTo>
                <a:lnTo>
                  <a:pt x="120523" y="0"/>
                </a:lnTo>
                <a:lnTo>
                  <a:pt x="120523" y="134607"/>
                </a:lnTo>
                <a:lnTo>
                  <a:pt x="153352" y="134607"/>
                </a:lnTo>
                <a:lnTo>
                  <a:pt x="153352" y="75120"/>
                </a:lnTo>
                <a:lnTo>
                  <a:pt x="152057" y="59055"/>
                </a:lnTo>
                <a:lnTo>
                  <a:pt x="177546" y="59055"/>
                </a:lnTo>
                <a:lnTo>
                  <a:pt x="179705" y="68173"/>
                </a:lnTo>
                <a:lnTo>
                  <a:pt x="179705" y="134607"/>
                </a:lnTo>
                <a:lnTo>
                  <a:pt x="214261" y="134607"/>
                </a:lnTo>
                <a:close/>
              </a:path>
              <a:path w="1171575" h="252729">
                <a:moveTo>
                  <a:pt x="235864" y="244894"/>
                </a:moveTo>
                <a:lnTo>
                  <a:pt x="234543" y="243154"/>
                </a:lnTo>
                <a:lnTo>
                  <a:pt x="230251" y="237515"/>
                </a:lnTo>
                <a:lnTo>
                  <a:pt x="224637" y="240550"/>
                </a:lnTo>
                <a:lnTo>
                  <a:pt x="217716" y="243154"/>
                </a:lnTo>
                <a:lnTo>
                  <a:pt x="202171" y="243154"/>
                </a:lnTo>
                <a:lnTo>
                  <a:pt x="193103" y="241427"/>
                </a:lnTo>
                <a:lnTo>
                  <a:pt x="181864" y="230136"/>
                </a:lnTo>
                <a:lnTo>
                  <a:pt x="178409" y="224053"/>
                </a:lnTo>
                <a:lnTo>
                  <a:pt x="178409" y="203644"/>
                </a:lnTo>
                <a:lnTo>
                  <a:pt x="210375" y="181940"/>
                </a:lnTo>
                <a:lnTo>
                  <a:pt x="216420" y="181940"/>
                </a:lnTo>
                <a:lnTo>
                  <a:pt x="222478" y="183680"/>
                </a:lnTo>
                <a:lnTo>
                  <a:pt x="227660" y="186715"/>
                </a:lnTo>
                <a:lnTo>
                  <a:pt x="231851" y="181940"/>
                </a:lnTo>
                <a:lnTo>
                  <a:pt x="234137" y="179324"/>
                </a:lnTo>
                <a:lnTo>
                  <a:pt x="228092" y="175425"/>
                </a:lnTo>
                <a:lnTo>
                  <a:pt x="218579" y="172821"/>
                </a:lnTo>
                <a:lnTo>
                  <a:pt x="209943" y="172821"/>
                </a:lnTo>
                <a:lnTo>
                  <a:pt x="192900" y="175590"/>
                </a:lnTo>
                <a:lnTo>
                  <a:pt x="178574" y="183565"/>
                </a:lnTo>
                <a:lnTo>
                  <a:pt x="168694" y="196265"/>
                </a:lnTo>
                <a:lnTo>
                  <a:pt x="165023" y="213194"/>
                </a:lnTo>
                <a:lnTo>
                  <a:pt x="168389" y="229679"/>
                </a:lnTo>
                <a:lnTo>
                  <a:pt x="177711" y="241808"/>
                </a:lnTo>
                <a:lnTo>
                  <a:pt x="191808" y="249288"/>
                </a:lnTo>
                <a:lnTo>
                  <a:pt x="209511" y="251841"/>
                </a:lnTo>
                <a:lnTo>
                  <a:pt x="216966" y="251307"/>
                </a:lnTo>
                <a:lnTo>
                  <a:pt x="224142" y="249834"/>
                </a:lnTo>
                <a:lnTo>
                  <a:pt x="230593" y="247637"/>
                </a:lnTo>
                <a:lnTo>
                  <a:pt x="235864" y="244894"/>
                </a:lnTo>
                <a:close/>
              </a:path>
              <a:path w="1171575" h="252729">
                <a:moveTo>
                  <a:pt x="314921" y="174117"/>
                </a:moveTo>
                <a:lnTo>
                  <a:pt x="302818" y="174117"/>
                </a:lnTo>
                <a:lnTo>
                  <a:pt x="302818" y="250545"/>
                </a:lnTo>
                <a:lnTo>
                  <a:pt x="314921" y="250545"/>
                </a:lnTo>
                <a:lnTo>
                  <a:pt x="314921" y="174117"/>
                </a:lnTo>
                <a:close/>
              </a:path>
              <a:path w="1171575" h="252729">
                <a:moveTo>
                  <a:pt x="315353" y="94221"/>
                </a:moveTo>
                <a:lnTo>
                  <a:pt x="313702" y="76428"/>
                </a:lnTo>
                <a:lnTo>
                  <a:pt x="313220" y="71183"/>
                </a:lnTo>
                <a:lnTo>
                  <a:pt x="306616" y="55587"/>
                </a:lnTo>
                <a:lnTo>
                  <a:pt x="305739" y="53517"/>
                </a:lnTo>
                <a:lnTo>
                  <a:pt x="291287" y="42202"/>
                </a:lnTo>
                <a:lnTo>
                  <a:pt x="283819" y="40919"/>
                </a:lnTo>
                <a:lnTo>
                  <a:pt x="283819" y="76428"/>
                </a:lnTo>
                <a:lnTo>
                  <a:pt x="253149" y="76428"/>
                </a:lnTo>
                <a:lnTo>
                  <a:pt x="254165" y="69075"/>
                </a:lnTo>
                <a:lnTo>
                  <a:pt x="256489" y="62585"/>
                </a:lnTo>
                <a:lnTo>
                  <a:pt x="260921" y="57797"/>
                </a:lnTo>
                <a:lnTo>
                  <a:pt x="268262" y="55587"/>
                </a:lnTo>
                <a:lnTo>
                  <a:pt x="273875" y="55587"/>
                </a:lnTo>
                <a:lnTo>
                  <a:pt x="277761" y="58191"/>
                </a:lnTo>
                <a:lnTo>
                  <a:pt x="279920" y="62090"/>
                </a:lnTo>
                <a:lnTo>
                  <a:pt x="282511" y="66001"/>
                </a:lnTo>
                <a:lnTo>
                  <a:pt x="283806" y="71183"/>
                </a:lnTo>
                <a:lnTo>
                  <a:pt x="283819" y="76428"/>
                </a:lnTo>
                <a:lnTo>
                  <a:pt x="283819" y="40919"/>
                </a:lnTo>
                <a:lnTo>
                  <a:pt x="233324" y="50914"/>
                </a:lnTo>
                <a:lnTo>
                  <a:pt x="220738" y="85102"/>
                </a:lnTo>
                <a:lnTo>
                  <a:pt x="223266" y="108089"/>
                </a:lnTo>
                <a:lnTo>
                  <a:pt x="231546" y="124345"/>
                </a:lnTo>
                <a:lnTo>
                  <a:pt x="246621" y="134010"/>
                </a:lnTo>
                <a:lnTo>
                  <a:pt x="269557" y="137210"/>
                </a:lnTo>
                <a:lnTo>
                  <a:pt x="277977" y="136728"/>
                </a:lnTo>
                <a:lnTo>
                  <a:pt x="312788" y="111988"/>
                </a:lnTo>
                <a:lnTo>
                  <a:pt x="314490" y="103771"/>
                </a:lnTo>
                <a:lnTo>
                  <a:pt x="283387" y="103771"/>
                </a:lnTo>
                <a:lnTo>
                  <a:pt x="282511" y="112458"/>
                </a:lnTo>
                <a:lnTo>
                  <a:pt x="277329" y="118110"/>
                </a:lnTo>
                <a:lnTo>
                  <a:pt x="267398" y="118110"/>
                </a:lnTo>
                <a:lnTo>
                  <a:pt x="259753" y="116027"/>
                </a:lnTo>
                <a:lnTo>
                  <a:pt x="255143" y="110566"/>
                </a:lnTo>
                <a:lnTo>
                  <a:pt x="252882" y="102895"/>
                </a:lnTo>
                <a:lnTo>
                  <a:pt x="252285" y="94221"/>
                </a:lnTo>
                <a:lnTo>
                  <a:pt x="315353" y="94221"/>
                </a:lnTo>
                <a:close/>
              </a:path>
              <a:path w="1171575" h="252729">
                <a:moveTo>
                  <a:pt x="385762" y="39941"/>
                </a:moveTo>
                <a:lnTo>
                  <a:pt x="375767" y="40855"/>
                </a:lnTo>
                <a:lnTo>
                  <a:pt x="367347" y="43967"/>
                </a:lnTo>
                <a:lnTo>
                  <a:pt x="360794" y="49847"/>
                </a:lnTo>
                <a:lnTo>
                  <a:pt x="356387" y="59055"/>
                </a:lnTo>
                <a:lnTo>
                  <a:pt x="355523" y="40817"/>
                </a:lnTo>
                <a:lnTo>
                  <a:pt x="322694" y="40817"/>
                </a:lnTo>
                <a:lnTo>
                  <a:pt x="323126" y="48628"/>
                </a:lnTo>
                <a:lnTo>
                  <a:pt x="323126" y="134607"/>
                </a:lnTo>
                <a:lnTo>
                  <a:pt x="356387" y="134607"/>
                </a:lnTo>
                <a:lnTo>
                  <a:pt x="356387" y="93789"/>
                </a:lnTo>
                <a:lnTo>
                  <a:pt x="357339" y="83261"/>
                </a:lnTo>
                <a:lnTo>
                  <a:pt x="360819" y="75285"/>
                </a:lnTo>
                <a:lnTo>
                  <a:pt x="367690" y="70167"/>
                </a:lnTo>
                <a:lnTo>
                  <a:pt x="378853" y="68173"/>
                </a:lnTo>
                <a:lnTo>
                  <a:pt x="383603" y="68173"/>
                </a:lnTo>
                <a:lnTo>
                  <a:pt x="385762" y="68605"/>
                </a:lnTo>
                <a:lnTo>
                  <a:pt x="385762" y="68173"/>
                </a:lnTo>
                <a:lnTo>
                  <a:pt x="385762" y="59055"/>
                </a:lnTo>
                <a:lnTo>
                  <a:pt x="385762" y="39941"/>
                </a:lnTo>
                <a:close/>
              </a:path>
              <a:path w="1171575" h="252729">
                <a:moveTo>
                  <a:pt x="450989" y="240995"/>
                </a:moveTo>
                <a:lnTo>
                  <a:pt x="405625" y="240995"/>
                </a:lnTo>
                <a:lnTo>
                  <a:pt x="405625" y="215379"/>
                </a:lnTo>
                <a:lnTo>
                  <a:pt x="441490" y="215379"/>
                </a:lnTo>
                <a:lnTo>
                  <a:pt x="441490" y="206260"/>
                </a:lnTo>
                <a:lnTo>
                  <a:pt x="405625" y="206260"/>
                </a:lnTo>
                <a:lnTo>
                  <a:pt x="405625" y="183235"/>
                </a:lnTo>
                <a:lnTo>
                  <a:pt x="447967" y="183235"/>
                </a:lnTo>
                <a:lnTo>
                  <a:pt x="449262" y="174117"/>
                </a:lnTo>
                <a:lnTo>
                  <a:pt x="393534" y="174117"/>
                </a:lnTo>
                <a:lnTo>
                  <a:pt x="393534" y="250545"/>
                </a:lnTo>
                <a:lnTo>
                  <a:pt x="450989" y="250545"/>
                </a:lnTo>
                <a:lnTo>
                  <a:pt x="450989" y="240995"/>
                </a:lnTo>
                <a:close/>
              </a:path>
              <a:path w="1171575" h="252729">
                <a:moveTo>
                  <a:pt x="546887" y="134607"/>
                </a:moveTo>
                <a:lnTo>
                  <a:pt x="546023" y="125920"/>
                </a:lnTo>
                <a:lnTo>
                  <a:pt x="545160" y="118973"/>
                </a:lnTo>
                <a:lnTo>
                  <a:pt x="545160" y="69037"/>
                </a:lnTo>
                <a:lnTo>
                  <a:pt x="513194" y="38214"/>
                </a:lnTo>
                <a:lnTo>
                  <a:pt x="503783" y="39509"/>
                </a:lnTo>
                <a:lnTo>
                  <a:pt x="495261" y="42773"/>
                </a:lnTo>
                <a:lnTo>
                  <a:pt x="488022" y="47980"/>
                </a:lnTo>
                <a:lnTo>
                  <a:pt x="482498" y="55143"/>
                </a:lnTo>
                <a:lnTo>
                  <a:pt x="478282" y="48056"/>
                </a:lnTo>
                <a:lnTo>
                  <a:pt x="471944" y="43040"/>
                </a:lnTo>
                <a:lnTo>
                  <a:pt x="464299" y="40068"/>
                </a:lnTo>
                <a:lnTo>
                  <a:pt x="456171" y="39077"/>
                </a:lnTo>
                <a:lnTo>
                  <a:pt x="446887" y="39878"/>
                </a:lnTo>
                <a:lnTo>
                  <a:pt x="438619" y="42557"/>
                </a:lnTo>
                <a:lnTo>
                  <a:pt x="431571" y="47510"/>
                </a:lnTo>
                <a:lnTo>
                  <a:pt x="425932" y="55143"/>
                </a:lnTo>
                <a:lnTo>
                  <a:pt x="425500" y="40817"/>
                </a:lnTo>
                <a:lnTo>
                  <a:pt x="393534" y="40817"/>
                </a:lnTo>
                <a:lnTo>
                  <a:pt x="393534" y="134607"/>
                </a:lnTo>
                <a:lnTo>
                  <a:pt x="426364" y="134607"/>
                </a:lnTo>
                <a:lnTo>
                  <a:pt x="426364" y="75120"/>
                </a:lnTo>
                <a:lnTo>
                  <a:pt x="425069" y="59055"/>
                </a:lnTo>
                <a:lnTo>
                  <a:pt x="450557" y="59055"/>
                </a:lnTo>
                <a:lnTo>
                  <a:pt x="453148" y="68173"/>
                </a:lnTo>
                <a:lnTo>
                  <a:pt x="453148" y="134607"/>
                </a:lnTo>
                <a:lnTo>
                  <a:pt x="485952" y="134607"/>
                </a:lnTo>
                <a:lnTo>
                  <a:pt x="485952" y="75120"/>
                </a:lnTo>
                <a:lnTo>
                  <a:pt x="484695" y="59055"/>
                </a:lnTo>
                <a:lnTo>
                  <a:pt x="510146" y="59055"/>
                </a:lnTo>
                <a:lnTo>
                  <a:pt x="512330" y="68173"/>
                </a:lnTo>
                <a:lnTo>
                  <a:pt x="512330" y="134607"/>
                </a:lnTo>
                <a:lnTo>
                  <a:pt x="546887" y="134607"/>
                </a:lnTo>
                <a:close/>
              </a:path>
              <a:path w="1171575" h="252729">
                <a:moveTo>
                  <a:pt x="585749" y="174117"/>
                </a:moveTo>
                <a:lnTo>
                  <a:pt x="573659" y="174117"/>
                </a:lnTo>
                <a:lnTo>
                  <a:pt x="574001" y="203149"/>
                </a:lnTo>
                <a:lnTo>
                  <a:pt x="574116" y="222745"/>
                </a:lnTo>
                <a:lnTo>
                  <a:pt x="575856" y="236639"/>
                </a:lnTo>
                <a:lnTo>
                  <a:pt x="567613" y="224053"/>
                </a:lnTo>
                <a:lnTo>
                  <a:pt x="561568" y="215811"/>
                </a:lnTo>
                <a:lnTo>
                  <a:pt x="541096" y="187579"/>
                </a:lnTo>
                <a:lnTo>
                  <a:pt x="531329" y="174117"/>
                </a:lnTo>
                <a:lnTo>
                  <a:pt x="516648" y="174117"/>
                </a:lnTo>
                <a:lnTo>
                  <a:pt x="516648" y="250545"/>
                </a:lnTo>
                <a:lnTo>
                  <a:pt x="528739" y="250545"/>
                </a:lnTo>
                <a:lnTo>
                  <a:pt x="528675" y="209727"/>
                </a:lnTo>
                <a:lnTo>
                  <a:pt x="528345" y="200177"/>
                </a:lnTo>
                <a:lnTo>
                  <a:pt x="527481" y="187579"/>
                </a:lnTo>
                <a:lnTo>
                  <a:pt x="529043" y="190004"/>
                </a:lnTo>
                <a:lnTo>
                  <a:pt x="532930" y="195884"/>
                </a:lnTo>
                <a:lnTo>
                  <a:pt x="537845" y="203149"/>
                </a:lnTo>
                <a:lnTo>
                  <a:pt x="542569" y="209727"/>
                </a:lnTo>
                <a:lnTo>
                  <a:pt x="572795" y="250545"/>
                </a:lnTo>
                <a:lnTo>
                  <a:pt x="585749" y="250545"/>
                </a:lnTo>
                <a:lnTo>
                  <a:pt x="585749" y="236639"/>
                </a:lnTo>
                <a:lnTo>
                  <a:pt x="585749" y="174117"/>
                </a:lnTo>
                <a:close/>
              </a:path>
              <a:path w="1171575" h="252729">
                <a:moveTo>
                  <a:pt x="653999" y="87718"/>
                </a:moveTo>
                <a:lnTo>
                  <a:pt x="640283" y="50749"/>
                </a:lnTo>
                <a:lnTo>
                  <a:pt x="620306" y="40728"/>
                </a:lnTo>
                <a:lnTo>
                  <a:pt x="620306" y="87274"/>
                </a:lnTo>
                <a:lnTo>
                  <a:pt x="619633" y="99174"/>
                </a:lnTo>
                <a:lnTo>
                  <a:pt x="617131" y="108826"/>
                </a:lnTo>
                <a:lnTo>
                  <a:pt x="612114" y="115303"/>
                </a:lnTo>
                <a:lnTo>
                  <a:pt x="603897" y="117665"/>
                </a:lnTo>
                <a:lnTo>
                  <a:pt x="595439" y="115303"/>
                </a:lnTo>
                <a:lnTo>
                  <a:pt x="590308" y="108826"/>
                </a:lnTo>
                <a:lnTo>
                  <a:pt x="587768" y="99174"/>
                </a:lnTo>
                <a:lnTo>
                  <a:pt x="587082" y="87274"/>
                </a:lnTo>
                <a:lnTo>
                  <a:pt x="587705" y="76441"/>
                </a:lnTo>
                <a:lnTo>
                  <a:pt x="590156" y="66979"/>
                </a:lnTo>
                <a:lnTo>
                  <a:pt x="595261" y="60286"/>
                </a:lnTo>
                <a:lnTo>
                  <a:pt x="603897" y="57746"/>
                </a:lnTo>
                <a:lnTo>
                  <a:pt x="603897" y="58191"/>
                </a:lnTo>
                <a:lnTo>
                  <a:pt x="612292" y="60655"/>
                </a:lnTo>
                <a:lnTo>
                  <a:pt x="617283" y="67195"/>
                </a:lnTo>
                <a:lnTo>
                  <a:pt x="619683" y="76504"/>
                </a:lnTo>
                <a:lnTo>
                  <a:pt x="620306" y="87274"/>
                </a:lnTo>
                <a:lnTo>
                  <a:pt x="620306" y="40728"/>
                </a:lnTo>
                <a:lnTo>
                  <a:pt x="567156" y="50749"/>
                </a:lnTo>
                <a:lnTo>
                  <a:pt x="553389" y="87718"/>
                </a:lnTo>
                <a:lnTo>
                  <a:pt x="556971" y="109372"/>
                </a:lnTo>
                <a:lnTo>
                  <a:pt x="567156" y="124841"/>
                </a:lnTo>
                <a:lnTo>
                  <a:pt x="583082" y="134112"/>
                </a:lnTo>
                <a:lnTo>
                  <a:pt x="603897" y="137210"/>
                </a:lnTo>
                <a:lnTo>
                  <a:pt x="624471" y="134112"/>
                </a:lnTo>
                <a:lnTo>
                  <a:pt x="640283" y="124841"/>
                </a:lnTo>
                <a:lnTo>
                  <a:pt x="644982" y="117665"/>
                </a:lnTo>
                <a:lnTo>
                  <a:pt x="650417" y="109372"/>
                </a:lnTo>
                <a:lnTo>
                  <a:pt x="653999" y="87718"/>
                </a:lnTo>
                <a:close/>
              </a:path>
              <a:path w="1171575" h="252729">
                <a:moveTo>
                  <a:pt x="718832" y="174117"/>
                </a:moveTo>
                <a:lnTo>
                  <a:pt x="649274" y="174117"/>
                </a:lnTo>
                <a:lnTo>
                  <a:pt x="649274" y="183235"/>
                </a:lnTo>
                <a:lnTo>
                  <a:pt x="677379" y="183235"/>
                </a:lnTo>
                <a:lnTo>
                  <a:pt x="677379" y="250545"/>
                </a:lnTo>
                <a:lnTo>
                  <a:pt x="689013" y="250545"/>
                </a:lnTo>
                <a:lnTo>
                  <a:pt x="689013" y="183235"/>
                </a:lnTo>
                <a:lnTo>
                  <a:pt x="717511" y="183235"/>
                </a:lnTo>
                <a:lnTo>
                  <a:pt x="718832" y="174117"/>
                </a:lnTo>
                <a:close/>
              </a:path>
              <a:path w="1171575" h="252729">
                <a:moveTo>
                  <a:pt x="768070" y="0"/>
                </a:moveTo>
                <a:lnTo>
                  <a:pt x="679500" y="0"/>
                </a:lnTo>
                <a:lnTo>
                  <a:pt x="679500" y="134607"/>
                </a:lnTo>
                <a:lnTo>
                  <a:pt x="714057" y="134607"/>
                </a:lnTo>
                <a:lnTo>
                  <a:pt x="714057" y="81635"/>
                </a:lnTo>
                <a:lnTo>
                  <a:pt x="742569" y="81635"/>
                </a:lnTo>
                <a:lnTo>
                  <a:pt x="750341" y="56883"/>
                </a:lnTo>
                <a:lnTo>
                  <a:pt x="714057" y="56883"/>
                </a:lnTo>
                <a:lnTo>
                  <a:pt x="714057" y="24752"/>
                </a:lnTo>
                <a:lnTo>
                  <a:pt x="760298" y="24752"/>
                </a:lnTo>
                <a:lnTo>
                  <a:pt x="768070" y="0"/>
                </a:lnTo>
                <a:close/>
              </a:path>
              <a:path w="1171575" h="252729">
                <a:moveTo>
                  <a:pt x="793127" y="174117"/>
                </a:moveTo>
                <a:lnTo>
                  <a:pt x="781037" y="174117"/>
                </a:lnTo>
                <a:lnTo>
                  <a:pt x="781037" y="250545"/>
                </a:lnTo>
                <a:lnTo>
                  <a:pt x="793127" y="250545"/>
                </a:lnTo>
                <a:lnTo>
                  <a:pt x="793127" y="174117"/>
                </a:lnTo>
                <a:close/>
              </a:path>
              <a:path w="1171575" h="252729">
                <a:moveTo>
                  <a:pt x="803490" y="40817"/>
                </a:moveTo>
                <a:lnTo>
                  <a:pt x="770661" y="40817"/>
                </a:lnTo>
                <a:lnTo>
                  <a:pt x="770661" y="134607"/>
                </a:lnTo>
                <a:lnTo>
                  <a:pt x="803490" y="134607"/>
                </a:lnTo>
                <a:lnTo>
                  <a:pt x="803490" y="40817"/>
                </a:lnTo>
                <a:close/>
              </a:path>
              <a:path w="1171575" h="252729">
                <a:moveTo>
                  <a:pt x="811669" y="0"/>
                </a:moveTo>
                <a:lnTo>
                  <a:pt x="778840" y="0"/>
                </a:lnTo>
                <a:lnTo>
                  <a:pt x="771067" y="24752"/>
                </a:lnTo>
                <a:lnTo>
                  <a:pt x="803490" y="24752"/>
                </a:lnTo>
                <a:lnTo>
                  <a:pt x="811669" y="0"/>
                </a:lnTo>
                <a:close/>
              </a:path>
              <a:path w="1171575" h="252729">
                <a:moveTo>
                  <a:pt x="897242" y="106819"/>
                </a:moveTo>
                <a:lnTo>
                  <a:pt x="865251" y="77000"/>
                </a:lnTo>
                <a:lnTo>
                  <a:pt x="854151" y="73977"/>
                </a:lnTo>
                <a:lnTo>
                  <a:pt x="846772" y="70878"/>
                </a:lnTo>
                <a:lnTo>
                  <a:pt x="844092" y="66433"/>
                </a:lnTo>
                <a:lnTo>
                  <a:pt x="844092" y="60794"/>
                </a:lnTo>
                <a:lnTo>
                  <a:pt x="847547" y="57746"/>
                </a:lnTo>
                <a:lnTo>
                  <a:pt x="857046" y="57746"/>
                </a:lnTo>
                <a:lnTo>
                  <a:pt x="859637" y="58623"/>
                </a:lnTo>
                <a:lnTo>
                  <a:pt x="861822" y="60350"/>
                </a:lnTo>
                <a:lnTo>
                  <a:pt x="863549" y="62522"/>
                </a:lnTo>
                <a:lnTo>
                  <a:pt x="863955" y="65570"/>
                </a:lnTo>
                <a:lnTo>
                  <a:pt x="863955" y="69481"/>
                </a:lnTo>
                <a:lnTo>
                  <a:pt x="895515" y="69481"/>
                </a:lnTo>
                <a:lnTo>
                  <a:pt x="869327" y="39611"/>
                </a:lnTo>
                <a:lnTo>
                  <a:pt x="854049" y="38214"/>
                </a:lnTo>
                <a:lnTo>
                  <a:pt x="840155" y="39585"/>
                </a:lnTo>
                <a:lnTo>
                  <a:pt x="826871" y="44297"/>
                </a:lnTo>
                <a:lnTo>
                  <a:pt x="816914" y="53238"/>
                </a:lnTo>
                <a:lnTo>
                  <a:pt x="812990" y="67310"/>
                </a:lnTo>
                <a:lnTo>
                  <a:pt x="821220" y="85293"/>
                </a:lnTo>
                <a:lnTo>
                  <a:pt x="839343" y="94005"/>
                </a:lnTo>
                <a:lnTo>
                  <a:pt x="857453" y="99783"/>
                </a:lnTo>
                <a:lnTo>
                  <a:pt x="865682" y="108991"/>
                </a:lnTo>
                <a:lnTo>
                  <a:pt x="865682" y="115062"/>
                </a:lnTo>
                <a:lnTo>
                  <a:pt x="860958" y="118110"/>
                </a:lnTo>
                <a:lnTo>
                  <a:pt x="850595" y="118110"/>
                </a:lnTo>
                <a:lnTo>
                  <a:pt x="847547" y="115938"/>
                </a:lnTo>
                <a:lnTo>
                  <a:pt x="845820" y="113334"/>
                </a:lnTo>
                <a:lnTo>
                  <a:pt x="843686" y="111163"/>
                </a:lnTo>
                <a:lnTo>
                  <a:pt x="843229" y="107683"/>
                </a:lnTo>
                <a:lnTo>
                  <a:pt x="843686" y="104216"/>
                </a:lnTo>
                <a:lnTo>
                  <a:pt x="812126" y="104216"/>
                </a:lnTo>
                <a:lnTo>
                  <a:pt x="815403" y="121272"/>
                </a:lnTo>
                <a:lnTo>
                  <a:pt x="824750" y="131292"/>
                </a:lnTo>
                <a:lnTo>
                  <a:pt x="838492" y="136029"/>
                </a:lnTo>
                <a:lnTo>
                  <a:pt x="854913" y="137210"/>
                </a:lnTo>
                <a:lnTo>
                  <a:pt x="870635" y="135636"/>
                </a:lnTo>
                <a:lnTo>
                  <a:pt x="884174" y="130479"/>
                </a:lnTo>
                <a:lnTo>
                  <a:pt x="893660" y="121094"/>
                </a:lnTo>
                <a:lnTo>
                  <a:pt x="894410" y="118110"/>
                </a:lnTo>
                <a:lnTo>
                  <a:pt x="897242" y="106819"/>
                </a:lnTo>
                <a:close/>
              </a:path>
              <a:path w="1171575" h="252729">
                <a:moveTo>
                  <a:pt x="927011" y="174117"/>
                </a:moveTo>
                <a:lnTo>
                  <a:pt x="871334" y="174117"/>
                </a:lnTo>
                <a:lnTo>
                  <a:pt x="871334" y="250545"/>
                </a:lnTo>
                <a:lnTo>
                  <a:pt x="883424" y="250545"/>
                </a:lnTo>
                <a:lnTo>
                  <a:pt x="883424" y="214934"/>
                </a:lnTo>
                <a:lnTo>
                  <a:pt x="918832" y="214934"/>
                </a:lnTo>
                <a:lnTo>
                  <a:pt x="918832" y="205816"/>
                </a:lnTo>
                <a:lnTo>
                  <a:pt x="883424" y="205816"/>
                </a:lnTo>
                <a:lnTo>
                  <a:pt x="883424" y="183235"/>
                </a:lnTo>
                <a:lnTo>
                  <a:pt x="925283" y="183235"/>
                </a:lnTo>
                <a:lnTo>
                  <a:pt x="927011" y="174117"/>
                </a:lnTo>
                <a:close/>
              </a:path>
              <a:path w="1171575" h="252729">
                <a:moveTo>
                  <a:pt x="999172" y="134607"/>
                </a:moveTo>
                <a:lnTo>
                  <a:pt x="998308" y="125920"/>
                </a:lnTo>
                <a:lnTo>
                  <a:pt x="997902" y="119418"/>
                </a:lnTo>
                <a:lnTo>
                  <a:pt x="997902" y="69037"/>
                </a:lnTo>
                <a:lnTo>
                  <a:pt x="996010" y="59055"/>
                </a:lnTo>
                <a:lnTo>
                  <a:pt x="995464" y="56159"/>
                </a:lnTo>
                <a:lnTo>
                  <a:pt x="991730" y="50800"/>
                </a:lnTo>
                <a:lnTo>
                  <a:pt x="988720" y="46456"/>
                </a:lnTo>
                <a:lnTo>
                  <a:pt x="978560" y="40347"/>
                </a:lnTo>
                <a:lnTo>
                  <a:pt x="965885" y="38214"/>
                </a:lnTo>
                <a:lnTo>
                  <a:pt x="960297" y="38214"/>
                </a:lnTo>
                <a:lnTo>
                  <a:pt x="938250" y="50800"/>
                </a:lnTo>
                <a:lnTo>
                  <a:pt x="938250" y="0"/>
                </a:lnTo>
                <a:lnTo>
                  <a:pt x="905421" y="0"/>
                </a:lnTo>
                <a:lnTo>
                  <a:pt x="905421" y="134607"/>
                </a:lnTo>
                <a:lnTo>
                  <a:pt x="938250" y="134607"/>
                </a:lnTo>
                <a:lnTo>
                  <a:pt x="938250" y="75120"/>
                </a:lnTo>
                <a:lnTo>
                  <a:pt x="936980" y="59055"/>
                </a:lnTo>
                <a:lnTo>
                  <a:pt x="962431" y="59055"/>
                </a:lnTo>
                <a:lnTo>
                  <a:pt x="964615" y="68173"/>
                </a:lnTo>
                <a:lnTo>
                  <a:pt x="964615" y="134607"/>
                </a:lnTo>
                <a:lnTo>
                  <a:pt x="999172" y="134607"/>
                </a:lnTo>
                <a:close/>
              </a:path>
              <a:path w="1171575" h="252729">
                <a:moveTo>
                  <a:pt x="1003490" y="174117"/>
                </a:moveTo>
                <a:lnTo>
                  <a:pt x="991400" y="174117"/>
                </a:lnTo>
                <a:lnTo>
                  <a:pt x="991400" y="250545"/>
                </a:lnTo>
                <a:lnTo>
                  <a:pt x="1003490" y="250545"/>
                </a:lnTo>
                <a:lnTo>
                  <a:pt x="1003490" y="174117"/>
                </a:lnTo>
                <a:close/>
              </a:path>
              <a:path w="1171575" h="252729">
                <a:moveTo>
                  <a:pt x="1100239" y="94221"/>
                </a:moveTo>
                <a:lnTo>
                  <a:pt x="1098740" y="76428"/>
                </a:lnTo>
                <a:lnTo>
                  <a:pt x="1098308" y="71183"/>
                </a:lnTo>
                <a:lnTo>
                  <a:pt x="1091692" y="55587"/>
                </a:lnTo>
                <a:lnTo>
                  <a:pt x="1090815" y="53517"/>
                </a:lnTo>
                <a:lnTo>
                  <a:pt x="1076274" y="42202"/>
                </a:lnTo>
                <a:lnTo>
                  <a:pt x="1068743" y="40906"/>
                </a:lnTo>
                <a:lnTo>
                  <a:pt x="1068743" y="76428"/>
                </a:lnTo>
                <a:lnTo>
                  <a:pt x="1038047" y="76428"/>
                </a:lnTo>
                <a:lnTo>
                  <a:pt x="1039075" y="69075"/>
                </a:lnTo>
                <a:lnTo>
                  <a:pt x="1041400" y="62585"/>
                </a:lnTo>
                <a:lnTo>
                  <a:pt x="1045845" y="57797"/>
                </a:lnTo>
                <a:lnTo>
                  <a:pt x="1053185" y="55587"/>
                </a:lnTo>
                <a:lnTo>
                  <a:pt x="1058773" y="55587"/>
                </a:lnTo>
                <a:lnTo>
                  <a:pt x="1062685" y="58191"/>
                </a:lnTo>
                <a:lnTo>
                  <a:pt x="1064818" y="62090"/>
                </a:lnTo>
                <a:lnTo>
                  <a:pt x="1067409" y="66001"/>
                </a:lnTo>
                <a:lnTo>
                  <a:pt x="1068730" y="71183"/>
                </a:lnTo>
                <a:lnTo>
                  <a:pt x="1068743" y="76428"/>
                </a:lnTo>
                <a:lnTo>
                  <a:pt x="1068743" y="40906"/>
                </a:lnTo>
                <a:lnTo>
                  <a:pt x="1018616" y="50914"/>
                </a:lnTo>
                <a:lnTo>
                  <a:pt x="1006081" y="85102"/>
                </a:lnTo>
                <a:lnTo>
                  <a:pt x="1008608" y="108089"/>
                </a:lnTo>
                <a:lnTo>
                  <a:pt x="1016889" y="124345"/>
                </a:lnTo>
                <a:lnTo>
                  <a:pt x="1031976" y="134010"/>
                </a:lnTo>
                <a:lnTo>
                  <a:pt x="1054912" y="137210"/>
                </a:lnTo>
                <a:lnTo>
                  <a:pt x="1063078" y="136728"/>
                </a:lnTo>
                <a:lnTo>
                  <a:pt x="1097737" y="111988"/>
                </a:lnTo>
                <a:lnTo>
                  <a:pt x="1099375" y="103771"/>
                </a:lnTo>
                <a:lnTo>
                  <a:pt x="1068273" y="103771"/>
                </a:lnTo>
                <a:lnTo>
                  <a:pt x="1067409" y="112458"/>
                </a:lnTo>
                <a:lnTo>
                  <a:pt x="1062228" y="118110"/>
                </a:lnTo>
                <a:lnTo>
                  <a:pt x="1052728" y="118110"/>
                </a:lnTo>
                <a:lnTo>
                  <a:pt x="1044841" y="116027"/>
                </a:lnTo>
                <a:lnTo>
                  <a:pt x="1040155" y="110566"/>
                </a:lnTo>
                <a:lnTo>
                  <a:pt x="1037983" y="102895"/>
                </a:lnTo>
                <a:lnTo>
                  <a:pt x="1037640" y="94221"/>
                </a:lnTo>
                <a:lnTo>
                  <a:pt x="1100239" y="94221"/>
                </a:lnTo>
                <a:close/>
              </a:path>
              <a:path w="1171575" h="252729">
                <a:moveTo>
                  <a:pt x="1145616" y="244894"/>
                </a:moveTo>
                <a:lnTo>
                  <a:pt x="1144193" y="243154"/>
                </a:lnTo>
                <a:lnTo>
                  <a:pt x="1139571" y="237515"/>
                </a:lnTo>
                <a:lnTo>
                  <a:pt x="1134389" y="240550"/>
                </a:lnTo>
                <a:lnTo>
                  <a:pt x="1127480" y="243154"/>
                </a:lnTo>
                <a:lnTo>
                  <a:pt x="1111923" y="243154"/>
                </a:lnTo>
                <a:lnTo>
                  <a:pt x="1102829" y="241427"/>
                </a:lnTo>
                <a:lnTo>
                  <a:pt x="1097241" y="235775"/>
                </a:lnTo>
                <a:lnTo>
                  <a:pt x="1091196" y="230136"/>
                </a:lnTo>
                <a:lnTo>
                  <a:pt x="1088148" y="224053"/>
                </a:lnTo>
                <a:lnTo>
                  <a:pt x="1088148" y="203644"/>
                </a:lnTo>
                <a:lnTo>
                  <a:pt x="1119695" y="181940"/>
                </a:lnTo>
                <a:lnTo>
                  <a:pt x="1126147" y="181940"/>
                </a:lnTo>
                <a:lnTo>
                  <a:pt x="1131798" y="183680"/>
                </a:lnTo>
                <a:lnTo>
                  <a:pt x="1137437" y="186715"/>
                </a:lnTo>
                <a:lnTo>
                  <a:pt x="1141349" y="181940"/>
                </a:lnTo>
                <a:lnTo>
                  <a:pt x="1143482" y="179324"/>
                </a:lnTo>
                <a:lnTo>
                  <a:pt x="1137437" y="175425"/>
                </a:lnTo>
                <a:lnTo>
                  <a:pt x="1128344" y="172821"/>
                </a:lnTo>
                <a:lnTo>
                  <a:pt x="1119695" y="172821"/>
                </a:lnTo>
                <a:lnTo>
                  <a:pt x="1102652" y="175590"/>
                </a:lnTo>
                <a:lnTo>
                  <a:pt x="1088326" y="183565"/>
                </a:lnTo>
                <a:lnTo>
                  <a:pt x="1078458" y="196265"/>
                </a:lnTo>
                <a:lnTo>
                  <a:pt x="1074788" y="213194"/>
                </a:lnTo>
                <a:lnTo>
                  <a:pt x="1078077" y="229679"/>
                </a:lnTo>
                <a:lnTo>
                  <a:pt x="1087247" y="241808"/>
                </a:lnTo>
                <a:lnTo>
                  <a:pt x="1101191" y="249288"/>
                </a:lnTo>
                <a:lnTo>
                  <a:pt x="1118831" y="251841"/>
                </a:lnTo>
                <a:lnTo>
                  <a:pt x="1126350" y="251307"/>
                </a:lnTo>
                <a:lnTo>
                  <a:pt x="1133678" y="249834"/>
                </a:lnTo>
                <a:lnTo>
                  <a:pt x="1140269" y="247637"/>
                </a:lnTo>
                <a:lnTo>
                  <a:pt x="1145616" y="244894"/>
                </a:lnTo>
                <a:close/>
              </a:path>
              <a:path w="1171575" h="252729">
                <a:moveTo>
                  <a:pt x="1171130" y="38214"/>
                </a:moveTo>
                <a:lnTo>
                  <a:pt x="1161046" y="39179"/>
                </a:lnTo>
                <a:lnTo>
                  <a:pt x="1152474" y="42392"/>
                </a:lnTo>
                <a:lnTo>
                  <a:pt x="1145768" y="48285"/>
                </a:lnTo>
                <a:lnTo>
                  <a:pt x="1141298" y="57315"/>
                </a:lnTo>
                <a:lnTo>
                  <a:pt x="1140891" y="40817"/>
                </a:lnTo>
                <a:lnTo>
                  <a:pt x="1107605" y="40817"/>
                </a:lnTo>
                <a:lnTo>
                  <a:pt x="1108430" y="48285"/>
                </a:lnTo>
                <a:lnTo>
                  <a:pt x="1108468" y="134607"/>
                </a:lnTo>
                <a:lnTo>
                  <a:pt x="1141298" y="134607"/>
                </a:lnTo>
                <a:lnTo>
                  <a:pt x="1141298" y="93789"/>
                </a:lnTo>
                <a:lnTo>
                  <a:pt x="1142326" y="82994"/>
                </a:lnTo>
                <a:lnTo>
                  <a:pt x="1145959" y="74472"/>
                </a:lnTo>
                <a:lnTo>
                  <a:pt x="1152982" y="68884"/>
                </a:lnTo>
                <a:lnTo>
                  <a:pt x="1164221" y="66865"/>
                </a:lnTo>
                <a:lnTo>
                  <a:pt x="1171130" y="66865"/>
                </a:lnTo>
                <a:lnTo>
                  <a:pt x="1171130" y="57315"/>
                </a:lnTo>
                <a:lnTo>
                  <a:pt x="1171130" y="38214"/>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nvGrpSpPr>
          <p:cNvPr id="3" name="object 3"/>
          <p:cNvGrpSpPr/>
          <p:nvPr/>
        </p:nvGrpSpPr>
        <p:grpSpPr>
          <a:xfrm>
            <a:off x="3200400" y="5010911"/>
            <a:ext cx="8991600" cy="1397635"/>
            <a:chOff x="3200400" y="5010911"/>
            <a:chExt cx="8991600" cy="1397635"/>
          </a:xfrm>
        </p:grpSpPr>
        <p:pic>
          <p:nvPicPr>
            <p:cNvPr id="4" name="object 4"/>
            <p:cNvPicPr/>
            <p:nvPr/>
          </p:nvPicPr>
          <p:blipFill>
            <a:blip r:embed="rId2" cstate="print"/>
            <a:stretch>
              <a:fillRect/>
            </a:stretch>
          </p:blipFill>
          <p:spPr>
            <a:xfrm>
              <a:off x="3291839" y="5170931"/>
              <a:ext cx="8900159" cy="1075944"/>
            </a:xfrm>
            <a:prstGeom prst="rect">
              <a:avLst/>
            </a:prstGeom>
          </p:spPr>
        </p:pic>
        <p:sp>
          <p:nvSpPr>
            <p:cNvPr id="5" name="object 5"/>
            <p:cNvSpPr/>
            <p:nvPr/>
          </p:nvSpPr>
          <p:spPr>
            <a:xfrm>
              <a:off x="3200400" y="5010911"/>
              <a:ext cx="8982710" cy="1397635"/>
            </a:xfrm>
            <a:custGeom>
              <a:avLst/>
              <a:gdLst/>
              <a:ahLst/>
              <a:cxnLst/>
              <a:rect l="l" t="t" r="r" b="b"/>
              <a:pathLst>
                <a:path w="8982710" h="1397635">
                  <a:moveTo>
                    <a:pt x="8749538" y="0"/>
                  </a:moveTo>
                  <a:lnTo>
                    <a:pt x="232917" y="0"/>
                  </a:lnTo>
                  <a:lnTo>
                    <a:pt x="185972" y="4731"/>
                  </a:lnTo>
                  <a:lnTo>
                    <a:pt x="142249" y="18301"/>
                  </a:lnTo>
                  <a:lnTo>
                    <a:pt x="102685" y="39775"/>
                  </a:lnTo>
                  <a:lnTo>
                    <a:pt x="68214" y="68214"/>
                  </a:lnTo>
                  <a:lnTo>
                    <a:pt x="39775" y="102685"/>
                  </a:lnTo>
                  <a:lnTo>
                    <a:pt x="18301" y="142249"/>
                  </a:lnTo>
                  <a:lnTo>
                    <a:pt x="4731" y="185972"/>
                  </a:lnTo>
                  <a:lnTo>
                    <a:pt x="0" y="232918"/>
                  </a:lnTo>
                  <a:lnTo>
                    <a:pt x="0" y="1164589"/>
                  </a:lnTo>
                  <a:lnTo>
                    <a:pt x="4731" y="1211531"/>
                  </a:lnTo>
                  <a:lnTo>
                    <a:pt x="18301" y="1255252"/>
                  </a:lnTo>
                  <a:lnTo>
                    <a:pt x="39775" y="1294817"/>
                  </a:lnTo>
                  <a:lnTo>
                    <a:pt x="68214" y="1329288"/>
                  </a:lnTo>
                  <a:lnTo>
                    <a:pt x="102685" y="1357729"/>
                  </a:lnTo>
                  <a:lnTo>
                    <a:pt x="142249" y="1379204"/>
                  </a:lnTo>
                  <a:lnTo>
                    <a:pt x="185972" y="1392775"/>
                  </a:lnTo>
                  <a:lnTo>
                    <a:pt x="232917" y="1397508"/>
                  </a:lnTo>
                  <a:lnTo>
                    <a:pt x="8749538" y="1397508"/>
                  </a:lnTo>
                  <a:lnTo>
                    <a:pt x="8796483" y="1392775"/>
                  </a:lnTo>
                  <a:lnTo>
                    <a:pt x="8840206" y="1379204"/>
                  </a:lnTo>
                  <a:lnTo>
                    <a:pt x="8879770" y="1357729"/>
                  </a:lnTo>
                  <a:lnTo>
                    <a:pt x="8914241" y="1329288"/>
                  </a:lnTo>
                  <a:lnTo>
                    <a:pt x="8942680" y="1294817"/>
                  </a:lnTo>
                  <a:lnTo>
                    <a:pt x="8964154" y="1255252"/>
                  </a:lnTo>
                  <a:lnTo>
                    <a:pt x="8977724" y="1211531"/>
                  </a:lnTo>
                  <a:lnTo>
                    <a:pt x="8982456" y="1164589"/>
                  </a:lnTo>
                  <a:lnTo>
                    <a:pt x="8982456" y="232918"/>
                  </a:lnTo>
                  <a:lnTo>
                    <a:pt x="8977724" y="185972"/>
                  </a:lnTo>
                  <a:lnTo>
                    <a:pt x="8964154" y="142249"/>
                  </a:lnTo>
                  <a:lnTo>
                    <a:pt x="8942680" y="102685"/>
                  </a:lnTo>
                  <a:lnTo>
                    <a:pt x="8914241" y="68214"/>
                  </a:lnTo>
                  <a:lnTo>
                    <a:pt x="8879770" y="39775"/>
                  </a:lnTo>
                  <a:lnTo>
                    <a:pt x="8840206" y="18301"/>
                  </a:lnTo>
                  <a:lnTo>
                    <a:pt x="8796483" y="4731"/>
                  </a:lnTo>
                  <a:lnTo>
                    <a:pt x="8749538" y="0"/>
                  </a:lnTo>
                  <a:close/>
                </a:path>
              </a:pathLst>
            </a:custGeom>
            <a:solidFill>
              <a:srgbClr val="FACFC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
        <p:nvSpPr>
          <p:cNvPr id="6" name="object 6"/>
          <p:cNvSpPr txBox="1">
            <a:spLocks noGrp="1"/>
          </p:cNvSpPr>
          <p:nvPr>
            <p:ph type="title"/>
          </p:nvPr>
        </p:nvSpPr>
        <p:spPr>
          <a:xfrm>
            <a:off x="292100" y="239979"/>
            <a:ext cx="4834255" cy="452120"/>
          </a:xfrm>
          <a:prstGeom prst="rect">
            <a:avLst/>
          </a:prstGeom>
        </p:spPr>
        <p:txBody>
          <a:bodyPr vert="horz" wrap="square" lIns="0" tIns="12065" rIns="0" bIns="0" rtlCol="0">
            <a:spAutoFit/>
          </a:bodyPr>
          <a:lstStyle/>
          <a:p>
            <a:pPr marL="12700">
              <a:lnSpc>
                <a:spcPct val="100000"/>
              </a:lnSpc>
              <a:spcBef>
                <a:spcPts val="95"/>
              </a:spcBef>
            </a:pPr>
            <a:r>
              <a:rPr spc="-20" dirty="0">
                <a:solidFill>
                  <a:srgbClr val="E61216"/>
                </a:solidFill>
              </a:rPr>
              <a:t>Chromosome</a:t>
            </a:r>
            <a:r>
              <a:rPr spc="-165" dirty="0">
                <a:solidFill>
                  <a:srgbClr val="E61216"/>
                </a:solidFill>
              </a:rPr>
              <a:t> </a:t>
            </a:r>
            <a:r>
              <a:rPr dirty="0">
                <a:solidFill>
                  <a:srgbClr val="E61216"/>
                </a:solidFill>
              </a:rPr>
              <a:t>Analysis</a:t>
            </a:r>
            <a:r>
              <a:rPr spc="-65" dirty="0">
                <a:solidFill>
                  <a:srgbClr val="E61216"/>
                </a:solidFill>
              </a:rPr>
              <a:t> </a:t>
            </a:r>
            <a:r>
              <a:rPr spc="-10" dirty="0">
                <a:solidFill>
                  <a:srgbClr val="E61216"/>
                </a:solidFill>
              </a:rPr>
              <a:t>Suite</a:t>
            </a:r>
          </a:p>
        </p:txBody>
      </p:sp>
      <p:sp>
        <p:nvSpPr>
          <p:cNvPr id="7" name="object 7"/>
          <p:cNvSpPr txBox="1"/>
          <p:nvPr/>
        </p:nvSpPr>
        <p:spPr>
          <a:xfrm>
            <a:off x="287527" y="900430"/>
            <a:ext cx="5064760" cy="330835"/>
          </a:xfrm>
          <a:prstGeom prst="rect">
            <a:avLst/>
          </a:prstGeom>
        </p:spPr>
        <p:txBody>
          <a:bodyPr vert="horz" wrap="square" lIns="0" tIns="13335" rIns="0" bIns="0" rtlCol="0">
            <a:spAutoFit/>
          </a:bodyPr>
          <a:lstStyle/>
          <a:p>
            <a:pPr marL="12700" marR="0" lvl="0" indent="0" defTabSz="914400" eaLnBrk="1" fontAlgn="auto" latinLnBrk="0" hangingPunct="1">
              <a:lnSpc>
                <a:spcPct val="100000"/>
              </a:lnSpc>
              <a:spcBef>
                <a:spcPts val="105"/>
              </a:spcBef>
              <a:spcAft>
                <a:spcPts val="0"/>
              </a:spcAft>
              <a:buClrTx/>
              <a:buSzTx/>
              <a:buFontTx/>
              <a:buNone/>
              <a:tabLst/>
              <a:defRPr/>
            </a:pPr>
            <a:r>
              <a:rPr kumimoji="0" sz="2000" b="0" i="0" u="none" strike="noStrike" kern="0" cap="none" spc="0" normalizeH="0" baseline="0" noProof="0" dirty="0">
                <a:ln>
                  <a:noFill/>
                </a:ln>
                <a:solidFill>
                  <a:srgbClr val="212121"/>
                </a:solidFill>
                <a:effectLst/>
                <a:uLnTx/>
                <a:uFillTx/>
                <a:latin typeface="Arial"/>
                <a:cs typeface="Arial"/>
              </a:rPr>
              <a:t>Comprehensive</a:t>
            </a:r>
            <a:r>
              <a:rPr kumimoji="0" sz="2000" b="0" i="0" u="none" strike="noStrike" kern="0" cap="none" spc="-40" normalizeH="0" baseline="0" noProof="0" dirty="0">
                <a:ln>
                  <a:noFill/>
                </a:ln>
                <a:solidFill>
                  <a:srgbClr val="212121"/>
                </a:solidFill>
                <a:effectLst/>
                <a:uLnTx/>
                <a:uFillTx/>
                <a:latin typeface="Arial"/>
                <a:cs typeface="Arial"/>
              </a:rPr>
              <a:t> </a:t>
            </a:r>
            <a:r>
              <a:rPr kumimoji="0" sz="2000" b="0" i="0" u="none" strike="noStrike" kern="0" cap="none" spc="0" normalizeH="0" baseline="0" noProof="0" dirty="0">
                <a:ln>
                  <a:noFill/>
                </a:ln>
                <a:solidFill>
                  <a:srgbClr val="212121"/>
                </a:solidFill>
                <a:effectLst/>
                <a:uLnTx/>
                <a:uFillTx/>
                <a:latin typeface="Arial"/>
                <a:cs typeface="Arial"/>
              </a:rPr>
              <a:t>&amp;</a:t>
            </a:r>
            <a:r>
              <a:rPr kumimoji="0" sz="2000" b="0" i="0" u="none" strike="noStrike" kern="0" cap="none" spc="-10" normalizeH="0" baseline="0" noProof="0" dirty="0">
                <a:ln>
                  <a:noFill/>
                </a:ln>
                <a:solidFill>
                  <a:srgbClr val="212121"/>
                </a:solidFill>
                <a:effectLst/>
                <a:uLnTx/>
                <a:uFillTx/>
                <a:latin typeface="Arial"/>
                <a:cs typeface="Arial"/>
              </a:rPr>
              <a:t> Intuitive</a:t>
            </a:r>
            <a:r>
              <a:rPr kumimoji="0" sz="2000" b="0" i="0" u="none" strike="noStrike" kern="0" cap="none" spc="-125" normalizeH="0" baseline="0" noProof="0" dirty="0">
                <a:ln>
                  <a:noFill/>
                </a:ln>
                <a:solidFill>
                  <a:srgbClr val="212121"/>
                </a:solidFill>
                <a:effectLst/>
                <a:uLnTx/>
                <a:uFillTx/>
                <a:latin typeface="Arial"/>
                <a:cs typeface="Arial"/>
              </a:rPr>
              <a:t> </a:t>
            </a:r>
            <a:r>
              <a:rPr kumimoji="0" sz="2000" b="0" i="0" u="none" strike="noStrike" kern="0" cap="none" spc="0" normalizeH="0" baseline="0" noProof="0" dirty="0">
                <a:ln>
                  <a:noFill/>
                </a:ln>
                <a:solidFill>
                  <a:srgbClr val="212121"/>
                </a:solidFill>
                <a:effectLst/>
                <a:uLnTx/>
                <a:uFillTx/>
                <a:latin typeface="Arial"/>
                <a:cs typeface="Arial"/>
              </a:rPr>
              <a:t>Analysis</a:t>
            </a:r>
            <a:r>
              <a:rPr kumimoji="0" sz="2000" b="0" i="0" u="none" strike="noStrike" kern="0" cap="none" spc="10" normalizeH="0" baseline="0" noProof="0" dirty="0">
                <a:ln>
                  <a:noFill/>
                </a:ln>
                <a:solidFill>
                  <a:srgbClr val="212121"/>
                </a:solidFill>
                <a:effectLst/>
                <a:uLnTx/>
                <a:uFillTx/>
                <a:latin typeface="Arial"/>
                <a:cs typeface="Arial"/>
              </a:rPr>
              <a:t> </a:t>
            </a:r>
            <a:r>
              <a:rPr kumimoji="0" sz="2000" b="0" i="0" u="none" strike="noStrike" kern="0" cap="none" spc="-10" normalizeH="0" baseline="0" noProof="0" dirty="0">
                <a:ln>
                  <a:noFill/>
                </a:ln>
                <a:solidFill>
                  <a:srgbClr val="212121"/>
                </a:solidFill>
                <a:effectLst/>
                <a:uLnTx/>
                <a:uFillTx/>
                <a:latin typeface="Arial"/>
                <a:cs typeface="Arial"/>
              </a:rPr>
              <a:t>Software</a:t>
            </a:r>
            <a:endParaRPr kumimoji="0" sz="2000" b="0" i="0" u="none" strike="noStrike" kern="0" cap="none" spc="0" normalizeH="0" baseline="0" noProof="0">
              <a:ln>
                <a:noFill/>
              </a:ln>
              <a:solidFill>
                <a:sysClr val="windowText" lastClr="000000"/>
              </a:solidFill>
              <a:effectLst/>
              <a:uLnTx/>
              <a:uFillTx/>
              <a:latin typeface="Arial"/>
              <a:cs typeface="Arial"/>
            </a:endParaRPr>
          </a:p>
        </p:txBody>
      </p:sp>
      <p:grpSp>
        <p:nvGrpSpPr>
          <p:cNvPr id="8" name="object 8"/>
          <p:cNvGrpSpPr/>
          <p:nvPr/>
        </p:nvGrpSpPr>
        <p:grpSpPr>
          <a:xfrm>
            <a:off x="300227" y="781748"/>
            <a:ext cx="11669395" cy="5395595"/>
            <a:chOff x="300227" y="781748"/>
            <a:chExt cx="11669395" cy="5395595"/>
          </a:xfrm>
        </p:grpSpPr>
        <p:pic>
          <p:nvPicPr>
            <p:cNvPr id="9" name="object 9"/>
            <p:cNvPicPr/>
            <p:nvPr/>
          </p:nvPicPr>
          <p:blipFill>
            <a:blip r:embed="rId3" cstate="print"/>
            <a:stretch>
              <a:fillRect/>
            </a:stretch>
          </p:blipFill>
          <p:spPr>
            <a:xfrm>
              <a:off x="5795772" y="1371600"/>
              <a:ext cx="6173724" cy="3345179"/>
            </a:xfrm>
            <a:prstGeom prst="rect">
              <a:avLst/>
            </a:prstGeom>
          </p:spPr>
        </p:pic>
        <p:pic>
          <p:nvPicPr>
            <p:cNvPr id="10" name="object 10"/>
            <p:cNvPicPr/>
            <p:nvPr/>
          </p:nvPicPr>
          <p:blipFill>
            <a:blip r:embed="rId4" cstate="print"/>
            <a:stretch>
              <a:fillRect/>
            </a:stretch>
          </p:blipFill>
          <p:spPr>
            <a:xfrm>
              <a:off x="300227" y="1313687"/>
              <a:ext cx="2685288" cy="2895600"/>
            </a:xfrm>
            <a:prstGeom prst="rect">
              <a:avLst/>
            </a:prstGeom>
          </p:spPr>
        </p:pic>
        <p:pic>
          <p:nvPicPr>
            <p:cNvPr id="11" name="object 11"/>
            <p:cNvPicPr/>
            <p:nvPr/>
          </p:nvPicPr>
          <p:blipFill>
            <a:blip r:embed="rId5" cstate="print"/>
            <a:stretch>
              <a:fillRect/>
            </a:stretch>
          </p:blipFill>
          <p:spPr>
            <a:xfrm>
              <a:off x="300227" y="3204971"/>
              <a:ext cx="2714244" cy="2971800"/>
            </a:xfrm>
            <a:prstGeom prst="rect">
              <a:avLst/>
            </a:prstGeom>
          </p:spPr>
        </p:pic>
        <p:pic>
          <p:nvPicPr>
            <p:cNvPr id="12" name="object 12"/>
            <p:cNvPicPr/>
            <p:nvPr/>
          </p:nvPicPr>
          <p:blipFill>
            <a:blip r:embed="rId6" cstate="print"/>
            <a:stretch>
              <a:fillRect/>
            </a:stretch>
          </p:blipFill>
          <p:spPr>
            <a:xfrm>
              <a:off x="3014472" y="1335023"/>
              <a:ext cx="2752344" cy="2886456"/>
            </a:xfrm>
            <a:prstGeom prst="rect">
              <a:avLst/>
            </a:prstGeom>
          </p:spPr>
        </p:pic>
        <p:pic>
          <p:nvPicPr>
            <p:cNvPr id="13" name="object 13"/>
            <p:cNvPicPr/>
            <p:nvPr/>
          </p:nvPicPr>
          <p:blipFill>
            <a:blip r:embed="rId7" cstate="print"/>
            <a:stretch>
              <a:fillRect/>
            </a:stretch>
          </p:blipFill>
          <p:spPr>
            <a:xfrm>
              <a:off x="5571743" y="781748"/>
              <a:ext cx="2188336" cy="856551"/>
            </a:xfrm>
            <a:prstGeom prst="rect">
              <a:avLst/>
            </a:prstGeom>
          </p:spPr>
        </p:pic>
        <p:pic>
          <p:nvPicPr>
            <p:cNvPr id="14" name="object 14"/>
            <p:cNvPicPr/>
            <p:nvPr/>
          </p:nvPicPr>
          <p:blipFill>
            <a:blip r:embed="rId8" cstate="print"/>
            <a:stretch>
              <a:fillRect/>
            </a:stretch>
          </p:blipFill>
          <p:spPr>
            <a:xfrm>
              <a:off x="5766816" y="976884"/>
              <a:ext cx="1618488" cy="286512"/>
            </a:xfrm>
            <a:prstGeom prst="rect">
              <a:avLst/>
            </a:prstGeom>
          </p:spPr>
        </p:pic>
        <p:sp>
          <p:nvSpPr>
            <p:cNvPr id="15" name="object 15"/>
            <p:cNvSpPr/>
            <p:nvPr/>
          </p:nvSpPr>
          <p:spPr>
            <a:xfrm>
              <a:off x="5796533" y="1259586"/>
              <a:ext cx="1591310" cy="318135"/>
            </a:xfrm>
            <a:custGeom>
              <a:avLst/>
              <a:gdLst/>
              <a:ahLst/>
              <a:cxnLst/>
              <a:rect l="l" t="t" r="r" b="b"/>
              <a:pathLst>
                <a:path w="1591309" h="318134">
                  <a:moveTo>
                    <a:pt x="0" y="0"/>
                  </a:moveTo>
                  <a:lnTo>
                    <a:pt x="114680" y="316991"/>
                  </a:lnTo>
                </a:path>
                <a:path w="1591309" h="318134">
                  <a:moveTo>
                    <a:pt x="1590929" y="4572"/>
                  </a:moveTo>
                  <a:lnTo>
                    <a:pt x="694943" y="317880"/>
                  </a:lnTo>
                </a:path>
              </a:pathLst>
            </a:custGeom>
            <a:ln w="19812">
              <a:solidFill>
                <a:srgbClr val="25205F"/>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
        <p:nvSpPr>
          <p:cNvPr id="16" name="object 16"/>
          <p:cNvSpPr txBox="1"/>
          <p:nvPr/>
        </p:nvSpPr>
        <p:spPr>
          <a:xfrm>
            <a:off x="3666490" y="4954879"/>
            <a:ext cx="8055609" cy="1153795"/>
          </a:xfrm>
          <a:prstGeom prst="rect">
            <a:avLst/>
          </a:prstGeom>
        </p:spPr>
        <p:txBody>
          <a:bodyPr vert="horz" wrap="square" lIns="0" tIns="165100" rIns="0" bIns="0" rtlCol="0">
            <a:spAutoFit/>
          </a:bodyPr>
          <a:lstStyle/>
          <a:p>
            <a:pPr marL="0" marR="0" lvl="0" indent="0" algn="ctr" defTabSz="914400" eaLnBrk="1" fontAlgn="auto" latinLnBrk="0" hangingPunct="1">
              <a:lnSpc>
                <a:spcPct val="100000"/>
              </a:lnSpc>
              <a:spcBef>
                <a:spcPts val="1300"/>
              </a:spcBef>
              <a:spcAft>
                <a:spcPts val="0"/>
              </a:spcAft>
              <a:buClrTx/>
              <a:buSzTx/>
              <a:buFontTx/>
              <a:buNone/>
              <a:tabLst/>
              <a:defRPr/>
            </a:pPr>
            <a:r>
              <a:rPr kumimoji="0" sz="1800" b="1" i="0" u="none" strike="noStrike" kern="0" cap="none" spc="0" normalizeH="0" baseline="0" noProof="0" dirty="0">
                <a:ln>
                  <a:noFill/>
                </a:ln>
                <a:solidFill>
                  <a:srgbClr val="212121"/>
                </a:solidFill>
                <a:effectLst/>
                <a:uLnTx/>
                <a:uFillTx/>
                <a:latin typeface="Arial"/>
                <a:cs typeface="Arial"/>
              </a:rPr>
              <a:t>Key</a:t>
            </a:r>
            <a:r>
              <a:rPr kumimoji="0" sz="1800" b="1" i="0" u="none" strike="noStrike" kern="0" cap="none" spc="-30" normalizeH="0" baseline="0" noProof="0" dirty="0">
                <a:ln>
                  <a:noFill/>
                </a:ln>
                <a:solidFill>
                  <a:srgbClr val="212121"/>
                </a:solidFill>
                <a:effectLst/>
                <a:uLnTx/>
                <a:uFillTx/>
                <a:latin typeface="Arial"/>
                <a:cs typeface="Arial"/>
              </a:rPr>
              <a:t> </a:t>
            </a:r>
            <a:r>
              <a:rPr kumimoji="0" sz="1800" b="1" i="0" u="none" strike="noStrike" kern="0" cap="none" spc="-10" normalizeH="0" baseline="0" noProof="0" dirty="0">
                <a:ln>
                  <a:noFill/>
                </a:ln>
                <a:solidFill>
                  <a:srgbClr val="212121"/>
                </a:solidFill>
                <a:effectLst/>
                <a:uLnTx/>
                <a:uFillTx/>
                <a:latin typeface="Arial"/>
                <a:cs typeface="Arial"/>
              </a:rPr>
              <a:t>benefits</a:t>
            </a:r>
            <a:endParaRPr kumimoji="0" sz="18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1200"/>
              </a:spcBef>
              <a:spcAft>
                <a:spcPts val="0"/>
              </a:spcAft>
              <a:buClrTx/>
              <a:buSzTx/>
              <a:buFontTx/>
              <a:buNone/>
              <a:tabLst/>
              <a:defRPr/>
            </a:pPr>
            <a:r>
              <a:rPr kumimoji="0" sz="1800" b="0" i="0" u="none" strike="noStrike" kern="0" cap="none" spc="0" normalizeH="0" baseline="0" noProof="0" dirty="0">
                <a:ln>
                  <a:noFill/>
                </a:ln>
                <a:solidFill>
                  <a:srgbClr val="212121"/>
                </a:solidFill>
                <a:effectLst/>
                <a:uLnTx/>
                <a:uFillTx/>
                <a:latin typeface="Arial"/>
                <a:cs typeface="Arial"/>
              </a:rPr>
              <a:t>Customization</a:t>
            </a:r>
            <a:r>
              <a:rPr kumimoji="0" sz="1800" b="0" i="0" u="none" strike="noStrike" kern="0" cap="none" spc="-10" normalizeH="0" baseline="0" noProof="0" dirty="0">
                <a:ln>
                  <a:noFill/>
                </a:ln>
                <a:solidFill>
                  <a:srgbClr val="212121"/>
                </a:solidFill>
                <a:effectLst/>
                <a:uLnTx/>
                <a:uFillTx/>
                <a:latin typeface="Arial"/>
                <a:cs typeface="Arial"/>
              </a:rPr>
              <a:t> </a:t>
            </a:r>
            <a:r>
              <a:rPr kumimoji="0" sz="1800" b="0" i="0" u="none" strike="noStrike" kern="0" cap="none" spc="0" normalizeH="0" baseline="0" noProof="0" dirty="0">
                <a:ln>
                  <a:noFill/>
                </a:ln>
                <a:solidFill>
                  <a:srgbClr val="212121"/>
                </a:solidFill>
                <a:effectLst/>
                <a:uLnTx/>
                <a:uFillTx/>
                <a:latin typeface="Arial"/>
                <a:cs typeface="Arial"/>
              </a:rPr>
              <a:t>options</a:t>
            </a:r>
            <a:r>
              <a:rPr kumimoji="0" sz="1800" b="0" i="0" u="none" strike="noStrike" kern="0" cap="none" spc="-15" normalizeH="0" baseline="0" noProof="0" dirty="0">
                <a:ln>
                  <a:noFill/>
                </a:ln>
                <a:solidFill>
                  <a:srgbClr val="212121"/>
                </a:solidFill>
                <a:effectLst/>
                <a:uLnTx/>
                <a:uFillTx/>
                <a:latin typeface="Arial"/>
                <a:cs typeface="Arial"/>
              </a:rPr>
              <a:t> </a:t>
            </a:r>
            <a:r>
              <a:rPr kumimoji="0" sz="1800" b="0" i="0" u="none" strike="noStrike" kern="0" cap="none" spc="0" normalizeH="0" baseline="0" noProof="0" dirty="0">
                <a:ln>
                  <a:noFill/>
                </a:ln>
                <a:solidFill>
                  <a:srgbClr val="212121"/>
                </a:solidFill>
                <a:effectLst/>
                <a:uLnTx/>
                <a:uFillTx/>
                <a:latin typeface="Arial"/>
                <a:cs typeface="Arial"/>
              </a:rPr>
              <a:t>to</a:t>
            </a:r>
            <a:r>
              <a:rPr kumimoji="0" sz="1800" b="0" i="0" u="none" strike="noStrike" kern="0" cap="none" spc="-35" normalizeH="0" baseline="0" noProof="0" dirty="0">
                <a:ln>
                  <a:noFill/>
                </a:ln>
                <a:solidFill>
                  <a:srgbClr val="212121"/>
                </a:solidFill>
                <a:effectLst/>
                <a:uLnTx/>
                <a:uFillTx/>
                <a:latin typeface="Arial"/>
                <a:cs typeface="Arial"/>
              </a:rPr>
              <a:t> </a:t>
            </a:r>
            <a:r>
              <a:rPr kumimoji="0" sz="1800" b="0" i="0" u="none" strike="noStrike" kern="0" cap="none" spc="0" normalizeH="0" baseline="0" noProof="0" dirty="0">
                <a:ln>
                  <a:noFill/>
                </a:ln>
                <a:solidFill>
                  <a:srgbClr val="212121"/>
                </a:solidFill>
                <a:effectLst/>
                <a:uLnTx/>
                <a:uFillTx/>
                <a:latin typeface="Arial"/>
                <a:cs typeface="Arial"/>
              </a:rPr>
              <a:t>fit</a:t>
            </a:r>
            <a:r>
              <a:rPr kumimoji="0" sz="1800" b="0" i="0" u="none" strike="noStrike" kern="0" cap="none" spc="-15" normalizeH="0" baseline="0" noProof="0" dirty="0">
                <a:ln>
                  <a:noFill/>
                </a:ln>
                <a:solidFill>
                  <a:srgbClr val="212121"/>
                </a:solidFill>
                <a:effectLst/>
                <a:uLnTx/>
                <a:uFillTx/>
                <a:latin typeface="Arial"/>
                <a:cs typeface="Arial"/>
              </a:rPr>
              <a:t> </a:t>
            </a:r>
            <a:r>
              <a:rPr kumimoji="0" sz="1800" b="0" i="0" u="none" strike="noStrike" kern="0" cap="none" spc="0" normalizeH="0" baseline="0" noProof="0" dirty="0">
                <a:ln>
                  <a:noFill/>
                </a:ln>
                <a:solidFill>
                  <a:srgbClr val="212121"/>
                </a:solidFill>
                <a:effectLst/>
                <a:uLnTx/>
                <a:uFillTx/>
                <a:latin typeface="Arial"/>
                <a:cs typeface="Arial"/>
              </a:rPr>
              <a:t>your needs</a:t>
            </a:r>
            <a:r>
              <a:rPr kumimoji="0" sz="1800" b="0" i="0" u="none" strike="noStrike" kern="0" cap="none" spc="-15" normalizeH="0" baseline="0" noProof="0" dirty="0">
                <a:ln>
                  <a:noFill/>
                </a:ln>
                <a:solidFill>
                  <a:srgbClr val="212121"/>
                </a:solidFill>
                <a:effectLst/>
                <a:uLnTx/>
                <a:uFillTx/>
                <a:latin typeface="Arial"/>
                <a:cs typeface="Arial"/>
              </a:rPr>
              <a:t> </a:t>
            </a:r>
            <a:r>
              <a:rPr kumimoji="0" sz="1800" b="0" i="0" u="none" strike="noStrike" kern="0" cap="none" spc="0" normalizeH="0" baseline="0" noProof="0" dirty="0">
                <a:ln>
                  <a:noFill/>
                </a:ln>
                <a:solidFill>
                  <a:srgbClr val="212121"/>
                </a:solidFill>
                <a:effectLst/>
                <a:uLnTx/>
                <a:uFillTx/>
                <a:latin typeface="Arial"/>
                <a:cs typeface="Arial"/>
              </a:rPr>
              <a:t>of</a:t>
            </a:r>
            <a:r>
              <a:rPr kumimoji="0" sz="1800" b="0" i="0" u="none" strike="noStrike" kern="0" cap="none" spc="-30" normalizeH="0" baseline="0" noProof="0" dirty="0">
                <a:ln>
                  <a:noFill/>
                </a:ln>
                <a:solidFill>
                  <a:srgbClr val="212121"/>
                </a:solidFill>
                <a:effectLst/>
                <a:uLnTx/>
                <a:uFillTx/>
                <a:latin typeface="Arial"/>
                <a:cs typeface="Arial"/>
              </a:rPr>
              <a:t> </a:t>
            </a:r>
            <a:r>
              <a:rPr kumimoji="0" sz="1800" b="0" i="0" u="none" strike="noStrike" kern="0" cap="none" spc="0" normalizeH="0" baseline="0" noProof="0" dirty="0">
                <a:ln>
                  <a:noFill/>
                </a:ln>
                <a:solidFill>
                  <a:srgbClr val="212121"/>
                </a:solidFill>
                <a:effectLst/>
                <a:uLnTx/>
                <a:uFillTx/>
                <a:latin typeface="Arial"/>
                <a:cs typeface="Arial"/>
              </a:rPr>
              <a:t>visualization, resolution</a:t>
            </a:r>
            <a:r>
              <a:rPr kumimoji="0" sz="1800" b="0" i="0" u="none" strike="noStrike" kern="0" cap="none" spc="-15" normalizeH="0" baseline="0" noProof="0" dirty="0">
                <a:ln>
                  <a:noFill/>
                </a:ln>
                <a:solidFill>
                  <a:srgbClr val="212121"/>
                </a:solidFill>
                <a:effectLst/>
                <a:uLnTx/>
                <a:uFillTx/>
                <a:latin typeface="Arial"/>
                <a:cs typeface="Arial"/>
              </a:rPr>
              <a:t> </a:t>
            </a:r>
            <a:r>
              <a:rPr kumimoji="0" sz="1800" b="0" i="0" u="none" strike="noStrike" kern="0" cap="none" spc="0" normalizeH="0" baseline="0" noProof="0" dirty="0">
                <a:ln>
                  <a:noFill/>
                </a:ln>
                <a:solidFill>
                  <a:srgbClr val="212121"/>
                </a:solidFill>
                <a:effectLst/>
                <a:uLnTx/>
                <a:uFillTx/>
                <a:latin typeface="Arial"/>
                <a:cs typeface="Arial"/>
              </a:rPr>
              <a:t>and</a:t>
            </a:r>
            <a:r>
              <a:rPr kumimoji="0" sz="1800" b="0" i="0" u="none" strike="noStrike" kern="0" cap="none" spc="-20" normalizeH="0" baseline="0" noProof="0" dirty="0">
                <a:ln>
                  <a:noFill/>
                </a:ln>
                <a:solidFill>
                  <a:srgbClr val="212121"/>
                </a:solidFill>
                <a:effectLst/>
                <a:uLnTx/>
                <a:uFillTx/>
                <a:latin typeface="Arial"/>
                <a:cs typeface="Arial"/>
              </a:rPr>
              <a:t> </a:t>
            </a:r>
            <a:r>
              <a:rPr kumimoji="0" sz="1800" b="0" i="0" u="none" strike="noStrike" kern="0" cap="none" spc="-10" normalizeH="0" baseline="0" noProof="0" dirty="0">
                <a:ln>
                  <a:noFill/>
                </a:ln>
                <a:solidFill>
                  <a:srgbClr val="212121"/>
                </a:solidFill>
                <a:effectLst/>
                <a:uLnTx/>
                <a:uFillTx/>
                <a:latin typeface="Arial"/>
                <a:cs typeface="Arial"/>
              </a:rPr>
              <a:t>reporting</a:t>
            </a:r>
            <a:endParaRPr kumimoji="0" sz="1800" b="0" i="0" u="none" strike="noStrike" kern="0" cap="none" spc="0" normalizeH="0" baseline="0" noProof="0">
              <a:ln>
                <a:noFill/>
              </a:ln>
              <a:solidFill>
                <a:sysClr val="windowText" lastClr="000000"/>
              </a:solidFill>
              <a:effectLst/>
              <a:uLnTx/>
              <a:uFillTx/>
              <a:latin typeface="Arial"/>
              <a:cs typeface="Arial"/>
            </a:endParaRPr>
          </a:p>
          <a:p>
            <a:pPr marL="132715" marR="0" lvl="0" indent="0" defTabSz="914400" eaLnBrk="1" fontAlgn="auto" latinLnBrk="0" hangingPunct="1">
              <a:lnSpc>
                <a:spcPct val="100000"/>
              </a:lnSpc>
              <a:spcBef>
                <a:spcPts val="0"/>
              </a:spcBef>
              <a:spcAft>
                <a:spcPts val="0"/>
              </a:spcAft>
              <a:buClrTx/>
              <a:buSzTx/>
              <a:buFontTx/>
              <a:buNone/>
              <a:tabLst/>
              <a:defRPr/>
            </a:pPr>
            <a:r>
              <a:rPr kumimoji="0" sz="1800" b="1" i="0" u="none" strike="noStrike" kern="0" cap="none" spc="0" normalizeH="0" baseline="0" noProof="0" dirty="0">
                <a:ln>
                  <a:noFill/>
                </a:ln>
                <a:solidFill>
                  <a:srgbClr val="212121"/>
                </a:solidFill>
                <a:effectLst/>
                <a:uLnTx/>
                <a:uFillTx/>
                <a:latin typeface="Arial"/>
                <a:cs typeface="Arial"/>
              </a:rPr>
              <a:t>Whole</a:t>
            </a:r>
            <a:r>
              <a:rPr kumimoji="0" sz="1800" b="1" i="0" u="none" strike="noStrike" kern="0" cap="none" spc="-30" normalizeH="0" baseline="0" noProof="0" dirty="0">
                <a:ln>
                  <a:noFill/>
                </a:ln>
                <a:solidFill>
                  <a:srgbClr val="212121"/>
                </a:solidFill>
                <a:effectLst/>
                <a:uLnTx/>
                <a:uFillTx/>
                <a:latin typeface="Arial"/>
                <a:cs typeface="Arial"/>
              </a:rPr>
              <a:t> </a:t>
            </a:r>
            <a:r>
              <a:rPr kumimoji="0" sz="1800" b="1" i="0" u="none" strike="noStrike" kern="0" cap="none" spc="0" normalizeH="0" baseline="0" noProof="0" dirty="0">
                <a:ln>
                  <a:noFill/>
                </a:ln>
                <a:solidFill>
                  <a:srgbClr val="212121"/>
                </a:solidFill>
                <a:effectLst/>
                <a:uLnTx/>
                <a:uFillTx/>
                <a:latin typeface="Arial"/>
                <a:cs typeface="Arial"/>
              </a:rPr>
              <a:t>genome</a:t>
            </a:r>
            <a:r>
              <a:rPr kumimoji="0" sz="1800" b="1" i="0" u="none" strike="noStrike" kern="0" cap="none" spc="-20" normalizeH="0" baseline="0" noProof="0" dirty="0">
                <a:ln>
                  <a:noFill/>
                </a:ln>
                <a:solidFill>
                  <a:srgbClr val="212121"/>
                </a:solidFill>
                <a:effectLst/>
                <a:uLnTx/>
                <a:uFillTx/>
                <a:latin typeface="Arial"/>
                <a:cs typeface="Arial"/>
              </a:rPr>
              <a:t> </a:t>
            </a:r>
            <a:r>
              <a:rPr kumimoji="0" sz="1800" b="1" i="0" u="none" strike="noStrike" kern="0" cap="none" spc="0" normalizeH="0" baseline="0" noProof="0" dirty="0">
                <a:ln>
                  <a:noFill/>
                </a:ln>
                <a:solidFill>
                  <a:srgbClr val="212121"/>
                </a:solidFill>
                <a:effectLst/>
                <a:uLnTx/>
                <a:uFillTx/>
                <a:latin typeface="Arial"/>
                <a:cs typeface="Arial"/>
              </a:rPr>
              <a:t>and</a:t>
            </a:r>
            <a:r>
              <a:rPr kumimoji="0" sz="1800" b="1" i="0" u="none" strike="noStrike" kern="0" cap="none" spc="-15" normalizeH="0" baseline="0" noProof="0" dirty="0">
                <a:ln>
                  <a:noFill/>
                </a:ln>
                <a:solidFill>
                  <a:srgbClr val="212121"/>
                </a:solidFill>
                <a:effectLst/>
                <a:uLnTx/>
                <a:uFillTx/>
                <a:latin typeface="Arial"/>
                <a:cs typeface="Arial"/>
              </a:rPr>
              <a:t> </a:t>
            </a:r>
            <a:r>
              <a:rPr kumimoji="0" sz="1800" b="1" i="0" u="none" strike="noStrike" kern="0" cap="none" spc="0" normalizeH="0" baseline="0" noProof="0" dirty="0">
                <a:ln>
                  <a:noFill/>
                </a:ln>
                <a:solidFill>
                  <a:srgbClr val="212121"/>
                </a:solidFill>
                <a:effectLst/>
                <a:uLnTx/>
                <a:uFillTx/>
                <a:latin typeface="Arial"/>
                <a:cs typeface="Arial"/>
              </a:rPr>
              <a:t>detail</a:t>
            </a:r>
            <a:r>
              <a:rPr kumimoji="0" sz="1800" b="1" i="0" u="none" strike="noStrike" kern="0" cap="none" spc="-15" normalizeH="0" baseline="0" noProof="0" dirty="0">
                <a:ln>
                  <a:noFill/>
                </a:ln>
                <a:solidFill>
                  <a:srgbClr val="212121"/>
                </a:solidFill>
                <a:effectLst/>
                <a:uLnTx/>
                <a:uFillTx/>
                <a:latin typeface="Arial"/>
                <a:cs typeface="Arial"/>
              </a:rPr>
              <a:t> </a:t>
            </a:r>
            <a:r>
              <a:rPr kumimoji="0" sz="1800" b="1" i="0" u="none" strike="noStrike" kern="0" cap="none" spc="0" normalizeH="0" baseline="0" noProof="0" dirty="0">
                <a:ln>
                  <a:noFill/>
                </a:ln>
                <a:solidFill>
                  <a:srgbClr val="212121"/>
                </a:solidFill>
                <a:effectLst/>
                <a:uLnTx/>
                <a:uFillTx/>
                <a:latin typeface="Arial"/>
                <a:cs typeface="Arial"/>
              </a:rPr>
              <a:t>view</a:t>
            </a:r>
            <a:r>
              <a:rPr kumimoji="0" sz="1800" b="1" i="0" u="none" strike="noStrike" kern="0" cap="none" spc="25" normalizeH="0" baseline="0" noProof="0" dirty="0">
                <a:ln>
                  <a:noFill/>
                </a:ln>
                <a:solidFill>
                  <a:srgbClr val="212121"/>
                </a:solidFill>
                <a:effectLst/>
                <a:uLnTx/>
                <a:uFillTx/>
                <a:latin typeface="Arial"/>
                <a:cs typeface="Arial"/>
              </a:rPr>
              <a:t> </a:t>
            </a:r>
            <a:r>
              <a:rPr kumimoji="0" sz="1800" b="1" i="0" u="none" strike="noStrike" kern="0" cap="none" spc="0" normalizeH="0" baseline="0" noProof="0" dirty="0">
                <a:ln>
                  <a:noFill/>
                </a:ln>
                <a:solidFill>
                  <a:srgbClr val="212121"/>
                </a:solidFill>
                <a:effectLst/>
                <a:uLnTx/>
                <a:uFillTx/>
                <a:latin typeface="Arial"/>
                <a:cs typeface="Arial"/>
              </a:rPr>
              <a:t>for</a:t>
            </a:r>
            <a:r>
              <a:rPr kumimoji="0" sz="1800" b="1" i="0" u="none" strike="noStrike" kern="0" cap="none" spc="-10" normalizeH="0" baseline="0" noProof="0" dirty="0">
                <a:ln>
                  <a:noFill/>
                </a:ln>
                <a:solidFill>
                  <a:srgbClr val="212121"/>
                </a:solidFill>
                <a:effectLst/>
                <a:uLnTx/>
                <a:uFillTx/>
                <a:latin typeface="Arial"/>
                <a:cs typeface="Arial"/>
              </a:rPr>
              <a:t> </a:t>
            </a:r>
            <a:r>
              <a:rPr kumimoji="0" sz="1800" b="1" i="0" u="none" strike="noStrike" kern="0" cap="none" spc="0" normalizeH="0" baseline="0" noProof="0" dirty="0">
                <a:ln>
                  <a:noFill/>
                </a:ln>
                <a:solidFill>
                  <a:srgbClr val="212121"/>
                </a:solidFill>
                <a:effectLst/>
                <a:uLnTx/>
                <a:uFillTx/>
                <a:latin typeface="Arial"/>
                <a:cs typeface="Arial"/>
              </a:rPr>
              <a:t>easy</a:t>
            </a:r>
            <a:r>
              <a:rPr kumimoji="0" sz="1800" b="1" i="0" u="none" strike="noStrike" kern="0" cap="none" spc="-5" normalizeH="0" baseline="0" noProof="0" dirty="0">
                <a:ln>
                  <a:noFill/>
                </a:ln>
                <a:solidFill>
                  <a:srgbClr val="212121"/>
                </a:solidFill>
                <a:effectLst/>
                <a:uLnTx/>
                <a:uFillTx/>
                <a:latin typeface="Arial"/>
                <a:cs typeface="Arial"/>
              </a:rPr>
              <a:t> </a:t>
            </a:r>
            <a:r>
              <a:rPr kumimoji="0" sz="1800" b="1" i="0" u="none" strike="noStrike" kern="0" cap="none" spc="0" normalizeH="0" baseline="0" noProof="0" dirty="0">
                <a:ln>
                  <a:noFill/>
                </a:ln>
                <a:solidFill>
                  <a:srgbClr val="212121"/>
                </a:solidFill>
                <a:effectLst/>
                <a:uLnTx/>
                <a:uFillTx/>
                <a:latin typeface="Arial"/>
                <a:cs typeface="Arial"/>
              </a:rPr>
              <a:t>interpretation</a:t>
            </a:r>
            <a:r>
              <a:rPr kumimoji="0" sz="1800" b="1" i="0" u="none" strike="noStrike" kern="0" cap="none" spc="-10" normalizeH="0" baseline="0" noProof="0" dirty="0">
                <a:ln>
                  <a:noFill/>
                </a:ln>
                <a:solidFill>
                  <a:srgbClr val="212121"/>
                </a:solidFill>
                <a:effectLst/>
                <a:uLnTx/>
                <a:uFillTx/>
                <a:latin typeface="Arial"/>
                <a:cs typeface="Arial"/>
              </a:rPr>
              <a:t> </a:t>
            </a:r>
            <a:r>
              <a:rPr kumimoji="0" sz="1800" b="1" i="0" u="none" strike="noStrike" kern="0" cap="none" spc="0" normalizeH="0" baseline="0" noProof="0" dirty="0">
                <a:ln>
                  <a:noFill/>
                </a:ln>
                <a:solidFill>
                  <a:srgbClr val="212121"/>
                </a:solidFill>
                <a:effectLst/>
                <a:uLnTx/>
                <a:uFillTx/>
                <a:latin typeface="Arial"/>
                <a:cs typeface="Arial"/>
              </a:rPr>
              <a:t>of</a:t>
            </a:r>
            <a:r>
              <a:rPr kumimoji="0" sz="1800" b="1" i="0" u="none" strike="noStrike" kern="0" cap="none" spc="-20" normalizeH="0" baseline="0" noProof="0" dirty="0">
                <a:ln>
                  <a:noFill/>
                </a:ln>
                <a:solidFill>
                  <a:srgbClr val="212121"/>
                </a:solidFill>
                <a:effectLst/>
                <a:uLnTx/>
                <a:uFillTx/>
                <a:latin typeface="Arial"/>
                <a:cs typeface="Arial"/>
              </a:rPr>
              <a:t> </a:t>
            </a:r>
            <a:r>
              <a:rPr kumimoji="0" sz="1800" b="1" i="0" u="none" strike="noStrike" kern="0" cap="none" spc="0" normalizeH="0" baseline="0" noProof="0" dirty="0">
                <a:ln>
                  <a:noFill/>
                </a:ln>
                <a:solidFill>
                  <a:srgbClr val="212121"/>
                </a:solidFill>
                <a:effectLst/>
                <a:uLnTx/>
                <a:uFillTx/>
                <a:latin typeface="Arial"/>
                <a:cs typeface="Arial"/>
              </a:rPr>
              <a:t>complex</a:t>
            </a:r>
            <a:r>
              <a:rPr kumimoji="0" sz="1800" b="1" i="0" u="none" strike="noStrike" kern="0" cap="none" spc="-20" normalizeH="0" baseline="0" noProof="0" dirty="0">
                <a:ln>
                  <a:noFill/>
                </a:ln>
                <a:solidFill>
                  <a:srgbClr val="212121"/>
                </a:solidFill>
                <a:effectLst/>
                <a:uLnTx/>
                <a:uFillTx/>
                <a:latin typeface="Arial"/>
                <a:cs typeface="Arial"/>
              </a:rPr>
              <a:t> </a:t>
            </a:r>
            <a:r>
              <a:rPr kumimoji="0" sz="1800" b="1" i="0" u="none" strike="noStrike" kern="0" cap="none" spc="-10" normalizeH="0" baseline="0" noProof="0" dirty="0">
                <a:ln>
                  <a:noFill/>
                </a:ln>
                <a:solidFill>
                  <a:srgbClr val="212121"/>
                </a:solidFill>
                <a:effectLst/>
                <a:uLnTx/>
                <a:uFillTx/>
                <a:latin typeface="Arial"/>
                <a:cs typeface="Arial"/>
              </a:rPr>
              <a:t>sample</a:t>
            </a:r>
            <a:endParaRPr kumimoji="0" sz="1800" b="0" i="0" u="none" strike="noStrike" kern="0" cap="none" spc="0" normalizeH="0" baseline="0" noProof="0">
              <a:ln>
                <a:noFill/>
              </a:ln>
              <a:solidFill>
                <a:sysClr val="windowText" lastClr="000000"/>
              </a:solidFill>
              <a:effectLst/>
              <a:uLnTx/>
              <a:uFillTx/>
              <a:latin typeface="Arial"/>
              <a:cs typeface="Arial"/>
            </a:endParaRPr>
          </a:p>
        </p:txBody>
      </p:sp>
      <p:sp>
        <p:nvSpPr>
          <p:cNvPr id="17" name="object 17"/>
          <p:cNvSpPr txBox="1"/>
          <p:nvPr/>
        </p:nvSpPr>
        <p:spPr>
          <a:xfrm>
            <a:off x="53339" y="6627158"/>
            <a:ext cx="229235" cy="167005"/>
          </a:xfrm>
          <a:prstGeom prst="rect">
            <a:avLst/>
          </a:prstGeom>
        </p:spPr>
        <p:txBody>
          <a:bodyPr vert="horz" wrap="square" lIns="0" tIns="0" rIns="0" bIns="0" rtlCol="0">
            <a:spAutoFit/>
          </a:bodyPr>
          <a:lstStyle/>
          <a:p>
            <a:pPr marL="38100" marR="0" lvl="0" indent="0" defTabSz="914400" eaLnBrk="1" fontAlgn="auto" latinLnBrk="0" hangingPunct="1">
              <a:lnSpc>
                <a:spcPct val="100000"/>
              </a:lnSpc>
              <a:spcBef>
                <a:spcPts val="0"/>
              </a:spcBef>
              <a:spcAft>
                <a:spcPts val="0"/>
              </a:spcAft>
              <a:buClrTx/>
              <a:buSzTx/>
              <a:buFontTx/>
              <a:buNone/>
              <a:tabLst/>
              <a:defRPr/>
            </a:pPr>
            <a:fld id="{81D60167-4931-47E6-BA6A-407CBD079E47}" type="slidenum">
              <a:rPr kumimoji="0" sz="1000" b="0" i="0" u="none" strike="noStrike" kern="0" cap="none" spc="-25" normalizeH="0" baseline="0" noProof="0" dirty="0">
                <a:ln>
                  <a:noFill/>
                </a:ln>
                <a:solidFill>
                  <a:srgbClr val="212121"/>
                </a:solidFill>
                <a:effectLst/>
                <a:uLnTx/>
                <a:uFillTx/>
                <a:latin typeface="Arial"/>
                <a:cs typeface="Arial"/>
              </a:rPr>
              <a:pPr marL="38100" marR="0" lvl="0" indent="0" defTabSz="914400" eaLnBrk="1" fontAlgn="auto" latinLnBrk="0" hangingPunct="1">
                <a:lnSpc>
                  <a:spcPct val="100000"/>
                </a:lnSpc>
                <a:spcBef>
                  <a:spcPts val="0"/>
                </a:spcBef>
                <a:spcAft>
                  <a:spcPts val="0"/>
                </a:spcAft>
                <a:buClrTx/>
                <a:buSzTx/>
                <a:buFontTx/>
                <a:buNone/>
                <a:tabLst/>
                <a:defRPr/>
              </a:pPr>
              <a:t>44</a:t>
            </a:fld>
            <a:endParaRPr kumimoji="0" sz="1000" b="0" i="0" u="none" strike="noStrike" kern="0" cap="none" spc="0" normalizeH="0" baseline="0" noProof="0">
              <a:ln>
                <a:noFill/>
              </a:ln>
              <a:solidFill>
                <a:sysClr val="windowText" lastClr="000000"/>
              </a:solidFill>
              <a:effectLst/>
              <a:uLnTx/>
              <a:uFillTx/>
              <a:latin typeface="Arial"/>
              <a:cs typeface="Arial"/>
            </a:endParaRPr>
          </a:p>
        </p:txBody>
      </p:sp>
      <p:sp>
        <p:nvSpPr>
          <p:cNvPr id="18" name="object 18"/>
          <p:cNvSpPr txBox="1"/>
          <p:nvPr/>
        </p:nvSpPr>
        <p:spPr>
          <a:xfrm>
            <a:off x="396036" y="6631425"/>
            <a:ext cx="3474085" cy="167005"/>
          </a:xfrm>
          <a:prstGeom prst="rect">
            <a:avLst/>
          </a:prstGeom>
        </p:spPr>
        <p:txBody>
          <a:bodyPr vert="horz" wrap="square" lIns="0" tIns="0" rIns="0" bIns="0" rtlCol="0">
            <a:spAutoFit/>
          </a:bodyPr>
          <a:lstStyle/>
          <a:p>
            <a:pPr marL="12700" marR="0" lvl="0" indent="0" defTabSz="914400" eaLnBrk="1" fontAlgn="auto" latinLnBrk="0" hangingPunct="1">
              <a:lnSpc>
                <a:spcPct val="100000"/>
              </a:lnSpc>
              <a:spcBef>
                <a:spcPts val="0"/>
              </a:spcBef>
              <a:spcAft>
                <a:spcPts val="0"/>
              </a:spcAft>
              <a:buClrTx/>
              <a:buSzTx/>
              <a:buFontTx/>
              <a:buNone/>
              <a:tabLst/>
              <a:defRPr/>
            </a:pPr>
            <a:r>
              <a:rPr kumimoji="0" sz="1000" b="0" i="0" u="none" strike="noStrike" kern="0" cap="none" spc="0" normalizeH="0" baseline="0" noProof="0" dirty="0">
                <a:ln>
                  <a:noFill/>
                </a:ln>
                <a:solidFill>
                  <a:srgbClr val="535758"/>
                </a:solidFill>
                <a:effectLst/>
                <a:uLnTx/>
                <a:uFillTx/>
                <a:latin typeface="Arial"/>
                <a:cs typeface="Arial"/>
              </a:rPr>
              <a:t>For</a:t>
            </a:r>
            <a:r>
              <a:rPr kumimoji="0" sz="1000" b="0" i="0" u="none" strike="noStrike" kern="0" cap="none" spc="-30" normalizeH="0" baseline="0" noProof="0" dirty="0">
                <a:ln>
                  <a:noFill/>
                </a:ln>
                <a:solidFill>
                  <a:srgbClr val="535758"/>
                </a:solidFill>
                <a:effectLst/>
                <a:uLnTx/>
                <a:uFillTx/>
                <a:latin typeface="Arial"/>
                <a:cs typeface="Arial"/>
              </a:rPr>
              <a:t> </a:t>
            </a:r>
            <a:r>
              <a:rPr kumimoji="0" sz="1000" b="0" i="0" u="none" strike="noStrike" kern="0" cap="none" spc="0" normalizeH="0" baseline="0" noProof="0" dirty="0">
                <a:ln>
                  <a:noFill/>
                </a:ln>
                <a:solidFill>
                  <a:srgbClr val="535758"/>
                </a:solidFill>
                <a:effectLst/>
                <a:uLnTx/>
                <a:uFillTx/>
                <a:latin typeface="Arial"/>
                <a:cs typeface="Arial"/>
              </a:rPr>
              <a:t>Research</a:t>
            </a:r>
            <a:r>
              <a:rPr kumimoji="0" sz="1000" b="0" i="0" u="none" strike="noStrike" kern="0" cap="none" spc="-35" normalizeH="0" baseline="0" noProof="0" dirty="0">
                <a:ln>
                  <a:noFill/>
                </a:ln>
                <a:solidFill>
                  <a:srgbClr val="535758"/>
                </a:solidFill>
                <a:effectLst/>
                <a:uLnTx/>
                <a:uFillTx/>
                <a:latin typeface="Arial"/>
                <a:cs typeface="Arial"/>
              </a:rPr>
              <a:t> </a:t>
            </a:r>
            <a:r>
              <a:rPr kumimoji="0" sz="1000" b="0" i="0" u="none" strike="noStrike" kern="0" cap="none" spc="0" normalizeH="0" baseline="0" noProof="0" dirty="0">
                <a:ln>
                  <a:noFill/>
                </a:ln>
                <a:solidFill>
                  <a:srgbClr val="535758"/>
                </a:solidFill>
                <a:effectLst/>
                <a:uLnTx/>
                <a:uFillTx/>
                <a:latin typeface="Arial"/>
                <a:cs typeface="Arial"/>
              </a:rPr>
              <a:t>Use</a:t>
            </a:r>
            <a:r>
              <a:rPr kumimoji="0" sz="1000" b="0" i="0" u="none" strike="noStrike" kern="0" cap="none" spc="-30" normalizeH="0" baseline="0" noProof="0" dirty="0">
                <a:ln>
                  <a:noFill/>
                </a:ln>
                <a:solidFill>
                  <a:srgbClr val="535758"/>
                </a:solidFill>
                <a:effectLst/>
                <a:uLnTx/>
                <a:uFillTx/>
                <a:latin typeface="Arial"/>
                <a:cs typeface="Arial"/>
              </a:rPr>
              <a:t> </a:t>
            </a:r>
            <a:r>
              <a:rPr kumimoji="0" sz="1000" b="0" i="0" u="none" strike="noStrike" kern="0" cap="none" spc="0" normalizeH="0" baseline="0" noProof="0" dirty="0">
                <a:ln>
                  <a:noFill/>
                </a:ln>
                <a:solidFill>
                  <a:srgbClr val="535758"/>
                </a:solidFill>
                <a:effectLst/>
                <a:uLnTx/>
                <a:uFillTx/>
                <a:latin typeface="Arial"/>
                <a:cs typeface="Arial"/>
              </a:rPr>
              <a:t>Only.</a:t>
            </a:r>
            <a:r>
              <a:rPr kumimoji="0" sz="1000" b="0" i="0" u="none" strike="noStrike" kern="0" cap="none" spc="10" normalizeH="0" baseline="0" noProof="0" dirty="0">
                <a:ln>
                  <a:noFill/>
                </a:ln>
                <a:solidFill>
                  <a:srgbClr val="535758"/>
                </a:solidFill>
                <a:effectLst/>
                <a:uLnTx/>
                <a:uFillTx/>
                <a:latin typeface="Arial"/>
                <a:cs typeface="Arial"/>
              </a:rPr>
              <a:t> </a:t>
            </a:r>
            <a:r>
              <a:rPr kumimoji="0" sz="1000" b="0" i="0" u="none" strike="noStrike" kern="0" cap="none" spc="0" normalizeH="0" baseline="0" noProof="0" dirty="0">
                <a:ln>
                  <a:noFill/>
                </a:ln>
                <a:solidFill>
                  <a:srgbClr val="535758"/>
                </a:solidFill>
                <a:effectLst/>
                <a:uLnTx/>
                <a:uFillTx/>
                <a:latin typeface="Arial"/>
                <a:cs typeface="Arial"/>
              </a:rPr>
              <a:t>Not</a:t>
            </a:r>
            <a:r>
              <a:rPr kumimoji="0" sz="1000" b="0" i="0" u="none" strike="noStrike" kern="0" cap="none" spc="-25" normalizeH="0" baseline="0" noProof="0" dirty="0">
                <a:ln>
                  <a:noFill/>
                </a:ln>
                <a:solidFill>
                  <a:srgbClr val="535758"/>
                </a:solidFill>
                <a:effectLst/>
                <a:uLnTx/>
                <a:uFillTx/>
                <a:latin typeface="Arial"/>
                <a:cs typeface="Arial"/>
              </a:rPr>
              <a:t> </a:t>
            </a:r>
            <a:r>
              <a:rPr kumimoji="0" sz="1000" b="0" i="0" u="none" strike="noStrike" kern="0" cap="none" spc="0" normalizeH="0" baseline="0" noProof="0" dirty="0">
                <a:ln>
                  <a:noFill/>
                </a:ln>
                <a:solidFill>
                  <a:srgbClr val="535758"/>
                </a:solidFill>
                <a:effectLst/>
                <a:uLnTx/>
                <a:uFillTx/>
                <a:latin typeface="Arial"/>
                <a:cs typeface="Arial"/>
              </a:rPr>
              <a:t>for</a:t>
            </a:r>
            <a:r>
              <a:rPr kumimoji="0" sz="1000" b="0" i="0" u="none" strike="noStrike" kern="0" cap="none" spc="-45" normalizeH="0" baseline="0" noProof="0" dirty="0">
                <a:ln>
                  <a:noFill/>
                </a:ln>
                <a:solidFill>
                  <a:srgbClr val="535758"/>
                </a:solidFill>
                <a:effectLst/>
                <a:uLnTx/>
                <a:uFillTx/>
                <a:latin typeface="Arial"/>
                <a:cs typeface="Arial"/>
              </a:rPr>
              <a:t> </a:t>
            </a:r>
            <a:r>
              <a:rPr kumimoji="0" sz="1000" b="0" i="0" u="none" strike="noStrike" kern="0" cap="none" spc="0" normalizeH="0" baseline="0" noProof="0" dirty="0">
                <a:ln>
                  <a:noFill/>
                </a:ln>
                <a:solidFill>
                  <a:srgbClr val="535758"/>
                </a:solidFill>
                <a:effectLst/>
                <a:uLnTx/>
                <a:uFillTx/>
                <a:latin typeface="Arial"/>
                <a:cs typeface="Arial"/>
              </a:rPr>
              <a:t>use</a:t>
            </a:r>
            <a:r>
              <a:rPr kumimoji="0" sz="1000" b="0" i="0" u="none" strike="noStrike" kern="0" cap="none" spc="-25" normalizeH="0" baseline="0" noProof="0" dirty="0">
                <a:ln>
                  <a:noFill/>
                </a:ln>
                <a:solidFill>
                  <a:srgbClr val="535758"/>
                </a:solidFill>
                <a:effectLst/>
                <a:uLnTx/>
                <a:uFillTx/>
                <a:latin typeface="Arial"/>
                <a:cs typeface="Arial"/>
              </a:rPr>
              <a:t> </a:t>
            </a:r>
            <a:r>
              <a:rPr kumimoji="0" sz="1000" b="0" i="0" u="none" strike="noStrike" kern="0" cap="none" spc="0" normalizeH="0" baseline="0" noProof="0" dirty="0">
                <a:ln>
                  <a:noFill/>
                </a:ln>
                <a:solidFill>
                  <a:srgbClr val="535758"/>
                </a:solidFill>
                <a:effectLst/>
                <a:uLnTx/>
                <a:uFillTx/>
                <a:latin typeface="Arial"/>
                <a:cs typeface="Arial"/>
              </a:rPr>
              <a:t>in</a:t>
            </a:r>
            <a:r>
              <a:rPr kumimoji="0" sz="1000" b="0" i="0" u="none" strike="noStrike" kern="0" cap="none" spc="-25" normalizeH="0" baseline="0" noProof="0" dirty="0">
                <a:ln>
                  <a:noFill/>
                </a:ln>
                <a:solidFill>
                  <a:srgbClr val="535758"/>
                </a:solidFill>
                <a:effectLst/>
                <a:uLnTx/>
                <a:uFillTx/>
                <a:latin typeface="Arial"/>
                <a:cs typeface="Arial"/>
              </a:rPr>
              <a:t> </a:t>
            </a:r>
            <a:r>
              <a:rPr kumimoji="0" sz="1000" b="0" i="0" u="none" strike="noStrike" kern="0" cap="none" spc="-10" normalizeH="0" baseline="0" noProof="0" dirty="0">
                <a:ln>
                  <a:noFill/>
                </a:ln>
                <a:solidFill>
                  <a:srgbClr val="535758"/>
                </a:solidFill>
                <a:effectLst/>
                <a:uLnTx/>
                <a:uFillTx/>
                <a:latin typeface="Arial"/>
                <a:cs typeface="Arial"/>
              </a:rPr>
              <a:t>diagnostic</a:t>
            </a:r>
            <a:r>
              <a:rPr kumimoji="0" sz="1000" b="0" i="0" u="none" strike="noStrike" kern="0" cap="none" spc="-25" normalizeH="0" baseline="0" noProof="0" dirty="0">
                <a:ln>
                  <a:noFill/>
                </a:ln>
                <a:solidFill>
                  <a:srgbClr val="535758"/>
                </a:solidFill>
                <a:effectLst/>
                <a:uLnTx/>
                <a:uFillTx/>
                <a:latin typeface="Arial"/>
                <a:cs typeface="Arial"/>
              </a:rPr>
              <a:t> </a:t>
            </a:r>
            <a:r>
              <a:rPr kumimoji="0" sz="1000" b="0" i="0" u="none" strike="noStrike" kern="0" cap="none" spc="-10" normalizeH="0" baseline="0" noProof="0" dirty="0">
                <a:ln>
                  <a:noFill/>
                </a:ln>
                <a:solidFill>
                  <a:srgbClr val="535758"/>
                </a:solidFill>
                <a:effectLst/>
                <a:uLnTx/>
                <a:uFillTx/>
                <a:latin typeface="Arial"/>
                <a:cs typeface="Arial"/>
              </a:rPr>
              <a:t>procedures.</a:t>
            </a:r>
            <a:endParaRPr kumimoji="0" sz="1000" b="0" i="0" u="none" strike="noStrike" kern="0" cap="none" spc="0" normalizeH="0" baseline="0" noProof="0">
              <a:ln>
                <a:noFill/>
              </a:ln>
              <a:solidFill>
                <a:sysClr val="windowText" lastClr="000000"/>
              </a:solidFill>
              <a:effectLst/>
              <a:uLnTx/>
              <a:uFillTx/>
              <a:latin typeface="Arial"/>
              <a:cs typeface="Arial"/>
            </a:endParaRPr>
          </a:p>
        </p:txBody>
      </p:sp>
      <p:sp>
        <p:nvSpPr>
          <p:cNvPr id="19" name="Rectangle 18">
            <a:extLst>
              <a:ext uri="{FF2B5EF4-FFF2-40B4-BE49-F238E27FC236}">
                <a16:creationId xmlns:a16="http://schemas.microsoft.com/office/drawing/2014/main" id="{A7470C70-BD36-78BC-7672-AE8EE99B43A7}"/>
              </a:ext>
            </a:extLst>
          </p:cNvPr>
          <p:cNvSpPr/>
          <p:nvPr/>
        </p:nvSpPr>
        <p:spPr>
          <a:xfrm>
            <a:off x="9862457" y="0"/>
            <a:ext cx="2211355" cy="76511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42417" y="3387293"/>
            <a:ext cx="5680710" cy="2350135"/>
          </a:xfrm>
          <a:prstGeom prst="rect">
            <a:avLst/>
          </a:prstGeom>
        </p:spPr>
        <p:txBody>
          <a:bodyPr vert="horz" wrap="square" lIns="0" tIns="394970" rIns="0" bIns="0" rtlCol="0">
            <a:spAutoFit/>
          </a:bodyPr>
          <a:lstStyle/>
          <a:p>
            <a:pPr marL="12700" marR="0" lvl="0" indent="0" defTabSz="914400" eaLnBrk="1" fontAlgn="auto" latinLnBrk="0" hangingPunct="1">
              <a:lnSpc>
                <a:spcPct val="100000"/>
              </a:lnSpc>
              <a:spcBef>
                <a:spcPts val="3110"/>
              </a:spcBef>
              <a:spcAft>
                <a:spcPts val="0"/>
              </a:spcAft>
              <a:buClrTx/>
              <a:buSzTx/>
              <a:buFontTx/>
              <a:buNone/>
              <a:tabLst/>
              <a:defRPr/>
            </a:pPr>
            <a:r>
              <a:rPr kumimoji="0" sz="8900" b="1" i="0" u="none" strike="noStrike" kern="0" cap="none" spc="0" normalizeH="0" baseline="0" noProof="0" dirty="0">
                <a:ln>
                  <a:noFill/>
                </a:ln>
                <a:solidFill>
                  <a:srgbClr val="FFFFFF"/>
                </a:solidFill>
                <a:effectLst/>
                <a:uLnTx/>
                <a:uFillTx/>
                <a:latin typeface="Arial"/>
                <a:cs typeface="Arial"/>
              </a:rPr>
              <a:t>Thank</a:t>
            </a:r>
            <a:r>
              <a:rPr kumimoji="0" sz="8900" b="1" i="0" u="none" strike="noStrike" kern="0" cap="none" spc="-5" normalizeH="0" baseline="0" noProof="0" dirty="0">
                <a:ln>
                  <a:noFill/>
                </a:ln>
                <a:solidFill>
                  <a:srgbClr val="FFFFFF"/>
                </a:solidFill>
                <a:effectLst/>
                <a:uLnTx/>
                <a:uFillTx/>
                <a:latin typeface="Arial"/>
                <a:cs typeface="Arial"/>
              </a:rPr>
              <a:t> </a:t>
            </a:r>
            <a:r>
              <a:rPr kumimoji="0" sz="8900" b="1" i="0" u="none" strike="noStrike" kern="0" cap="none" spc="-25" normalizeH="0" baseline="0" noProof="0" dirty="0">
                <a:ln>
                  <a:noFill/>
                </a:ln>
                <a:solidFill>
                  <a:srgbClr val="FFFFFF"/>
                </a:solidFill>
                <a:effectLst/>
                <a:uLnTx/>
                <a:uFillTx/>
                <a:latin typeface="Arial"/>
                <a:cs typeface="Arial"/>
              </a:rPr>
              <a:t>you</a:t>
            </a:r>
            <a:endParaRPr kumimoji="0" sz="8900" b="0" i="0" u="none" strike="noStrike" kern="0" cap="none" spc="0" normalizeH="0" baseline="0" noProof="0">
              <a:ln>
                <a:noFill/>
              </a:ln>
              <a:solidFill>
                <a:sysClr val="windowText" lastClr="000000"/>
              </a:solidFill>
              <a:effectLst/>
              <a:uLnTx/>
              <a:uFillTx/>
              <a:latin typeface="Arial"/>
              <a:cs typeface="Arial"/>
            </a:endParaRPr>
          </a:p>
          <a:p>
            <a:pPr marL="76200" marR="0" lvl="0" indent="0" defTabSz="914400" eaLnBrk="1" fontAlgn="auto" latinLnBrk="0" hangingPunct="1">
              <a:lnSpc>
                <a:spcPct val="100000"/>
              </a:lnSpc>
              <a:spcBef>
                <a:spcPts val="1010"/>
              </a:spcBef>
              <a:spcAft>
                <a:spcPts val="0"/>
              </a:spcAft>
              <a:buClrTx/>
              <a:buSzTx/>
              <a:buFontTx/>
              <a:buNone/>
              <a:tabLst/>
              <a:defRPr/>
            </a:pPr>
            <a:r>
              <a:rPr kumimoji="0" sz="3000" b="0" i="0" u="none" strike="noStrike" kern="0" cap="none" spc="-10" normalizeH="0" baseline="0" noProof="0" dirty="0">
                <a:ln>
                  <a:noFill/>
                </a:ln>
                <a:solidFill>
                  <a:srgbClr val="FFFFFF"/>
                </a:solidFill>
                <a:effectLst/>
                <a:uLnTx/>
                <a:uFillTx/>
                <a:latin typeface="Arial"/>
                <a:cs typeface="Arial"/>
              </a:rPr>
              <a:t>Questions?</a:t>
            </a:r>
            <a:endParaRPr kumimoji="0" sz="3000" b="0" i="0" u="none" strike="noStrike" kern="0" cap="none" spc="0" normalizeH="0" baseline="0" noProof="0">
              <a:ln>
                <a:noFill/>
              </a:ln>
              <a:solidFill>
                <a:sysClr val="windowText" lastClr="000000"/>
              </a:solidFill>
              <a:effectLst/>
              <a:uLnTx/>
              <a:uFillTx/>
              <a:latin typeface="Arial"/>
              <a:cs typeface="Arial"/>
            </a:endParaRPr>
          </a:p>
        </p:txBody>
      </p:sp>
      <p:sp>
        <p:nvSpPr>
          <p:cNvPr id="4" name="object 4"/>
          <p:cNvSpPr txBox="1"/>
          <p:nvPr/>
        </p:nvSpPr>
        <p:spPr>
          <a:xfrm>
            <a:off x="78739" y="6615176"/>
            <a:ext cx="165735" cy="177800"/>
          </a:xfrm>
          <a:prstGeom prst="rect">
            <a:avLst/>
          </a:prstGeom>
        </p:spPr>
        <p:txBody>
          <a:bodyPr vert="horz" wrap="square" lIns="0" tIns="12065" rIns="0" bIns="0" rtlCol="0">
            <a:spAutoFit/>
          </a:bodyPr>
          <a:lstStyle/>
          <a:p>
            <a:pPr marL="12700" marR="0" lvl="0" indent="0" defTabSz="914400" eaLnBrk="1" fontAlgn="auto" latinLnBrk="0" hangingPunct="1">
              <a:lnSpc>
                <a:spcPct val="100000"/>
              </a:lnSpc>
              <a:spcBef>
                <a:spcPts val="95"/>
              </a:spcBef>
              <a:spcAft>
                <a:spcPts val="0"/>
              </a:spcAft>
              <a:buClrTx/>
              <a:buSzTx/>
              <a:buFontTx/>
              <a:buNone/>
              <a:tabLst/>
              <a:defRPr/>
            </a:pPr>
            <a:r>
              <a:rPr kumimoji="0" sz="1000" b="0" i="0" u="none" strike="noStrike" kern="0" cap="none" spc="-25" normalizeH="0" baseline="0" noProof="0" dirty="0">
                <a:ln>
                  <a:noFill/>
                </a:ln>
                <a:solidFill>
                  <a:srgbClr val="FFFFFF"/>
                </a:solidFill>
                <a:effectLst/>
                <a:uLnTx/>
                <a:uFillTx/>
                <a:latin typeface="Arial"/>
                <a:cs typeface="Arial"/>
              </a:rPr>
              <a:t>62</a:t>
            </a:r>
            <a:endParaRPr kumimoji="0" sz="1000" b="0" i="0" u="none" strike="noStrike" kern="0" cap="none" spc="0" normalizeH="0" baseline="0" noProof="0">
              <a:ln>
                <a:noFill/>
              </a:ln>
              <a:solidFill>
                <a:sysClr val="windowText" lastClr="000000"/>
              </a:solidFill>
              <a:effectLst/>
              <a:uLnTx/>
              <a:uFillTx/>
              <a:latin typeface="Arial"/>
              <a:cs typeface="Arial"/>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2" descr="RNA Sequencing VS Microarray - Otogenetics">
            <a:extLst>
              <a:ext uri="{FF2B5EF4-FFF2-40B4-BE49-F238E27FC236}">
                <a16:creationId xmlns:a16="http://schemas.microsoft.com/office/drawing/2014/main" id="{D2856BE8-72BC-6B9C-A91A-694BAB1D66B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22718" y="1324774"/>
            <a:ext cx="9558943" cy="4981114"/>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4766239A-4DCC-18AA-8554-A3985A880A48}"/>
              </a:ext>
            </a:extLst>
          </p:cNvPr>
          <p:cNvSpPr/>
          <p:nvPr/>
        </p:nvSpPr>
        <p:spPr bwMode="auto">
          <a:xfrm>
            <a:off x="0" y="0"/>
            <a:ext cx="12192000" cy="527177"/>
          </a:xfrm>
          <a:prstGeom prst="rect">
            <a:avLst/>
          </a:prstGeom>
          <a:solidFill>
            <a:schemeClr val="tx2"/>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1800" dirty="0">
              <a:latin typeface="Arial" pitchFamily="124" charset="0"/>
            </a:endParaRPr>
          </a:p>
        </p:txBody>
      </p:sp>
      <p:sp>
        <p:nvSpPr>
          <p:cNvPr id="6" name="TextBox 5">
            <a:extLst>
              <a:ext uri="{FF2B5EF4-FFF2-40B4-BE49-F238E27FC236}">
                <a16:creationId xmlns:a16="http://schemas.microsoft.com/office/drawing/2014/main" id="{5C68CB59-B8D4-A3AC-85AC-BBF4104404EC}"/>
              </a:ext>
            </a:extLst>
          </p:cNvPr>
          <p:cNvSpPr txBox="1"/>
          <p:nvPr/>
        </p:nvSpPr>
        <p:spPr>
          <a:xfrm>
            <a:off x="3218049" y="681134"/>
            <a:ext cx="7792074" cy="369332"/>
          </a:xfrm>
          <a:prstGeom prst="rect">
            <a:avLst/>
          </a:prstGeom>
          <a:noFill/>
        </p:spPr>
        <p:txBody>
          <a:bodyPr wrap="square" rtlCol="0">
            <a:spAutoFit/>
          </a:bodyPr>
          <a:lstStyle/>
          <a:p>
            <a:r>
              <a:rPr lang="en-US" b="1"/>
              <a:t>Ví dụ so sánh giữa Microarray và giải trình tự NGS</a:t>
            </a:r>
          </a:p>
        </p:txBody>
      </p:sp>
    </p:spTree>
    <p:extLst>
      <p:ext uri="{BB962C8B-B14F-4D97-AF65-F5344CB8AC3E}">
        <p14:creationId xmlns:p14="http://schemas.microsoft.com/office/powerpoint/2010/main" val="2471697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86EBFD-FACE-0A55-2AAC-37475F911048}"/>
              </a:ext>
            </a:extLst>
          </p:cNvPr>
          <p:cNvSpPr txBox="1">
            <a:spLocks/>
          </p:cNvSpPr>
          <p:nvPr/>
        </p:nvSpPr>
        <p:spPr>
          <a:xfrm>
            <a:off x="248817" y="399274"/>
            <a:ext cx="9753600" cy="381001"/>
          </a:xfrm>
          <a:prstGeom prst="rect">
            <a:avLst/>
          </a:prstGeom>
        </p:spPr>
        <p:txBody>
          <a:bodyPr/>
          <a:lstStyle>
            <a:lvl1pPr algn="l" defTabSz="685778" rtl="0" eaLnBrk="1" latinLnBrk="0" hangingPunct="1">
              <a:lnSpc>
                <a:spcPct val="90000"/>
              </a:lnSpc>
              <a:spcBef>
                <a:spcPct val="0"/>
              </a:spcBef>
              <a:buNone/>
              <a:defRPr sz="2100" b="1" kern="1200">
                <a:solidFill>
                  <a:schemeClr val="tx2"/>
                </a:solidFill>
                <a:latin typeface="+mj-lt"/>
                <a:ea typeface="+mj-ea"/>
                <a:cs typeface="+mj-cs"/>
              </a:defRPr>
            </a:lvl1pPr>
          </a:lstStyle>
          <a:p>
            <a:pPr marL="0" marR="0" lvl="0" indent="0" algn="l" defTabSz="685778"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a:ln>
                  <a:noFill/>
                </a:ln>
                <a:solidFill>
                  <a:srgbClr val="FF0000"/>
                </a:solidFill>
                <a:effectLst/>
                <a:uLnTx/>
                <a:uFillTx/>
                <a:latin typeface="Arial" panose="020B0604020202020204"/>
                <a:ea typeface="+mj-ea"/>
                <a:cs typeface="+mj-cs"/>
              </a:rPr>
              <a:t>Công nghệ microarray</a:t>
            </a:r>
          </a:p>
        </p:txBody>
      </p:sp>
      <p:sp>
        <p:nvSpPr>
          <p:cNvPr id="5" name="TextBox 4">
            <a:extLst>
              <a:ext uri="{FF2B5EF4-FFF2-40B4-BE49-F238E27FC236}">
                <a16:creationId xmlns:a16="http://schemas.microsoft.com/office/drawing/2014/main" id="{D95A82F6-2C06-19A9-94E0-702C7EF822E0}"/>
              </a:ext>
            </a:extLst>
          </p:cNvPr>
          <p:cNvSpPr txBox="1"/>
          <p:nvPr/>
        </p:nvSpPr>
        <p:spPr>
          <a:xfrm>
            <a:off x="638138" y="1226035"/>
            <a:ext cx="6413532" cy="1546834"/>
          </a:xfrm>
          <a:prstGeom prst="rect">
            <a:avLst/>
          </a:prstGeom>
          <a:noFill/>
        </p:spPr>
        <p:txBody>
          <a:bodyPr wrap="square">
            <a:spAutoFit/>
          </a:bodyPr>
          <a:lstStyle/>
          <a:p>
            <a:pPr marL="342900" marR="0" lvl="0" indent="-34290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0070C0"/>
                </a:solidFill>
                <a:effectLst/>
                <a:uLnTx/>
                <a:uFillTx/>
                <a:latin typeface="Tahoma" panose="020B0604030504040204" pitchFamily="34" charset="0"/>
                <a:ea typeface="Tahoma" panose="020B0604030504040204" pitchFamily="34" charset="0"/>
                <a:cs typeface="Tahoma" panose="020B0604030504040204" pitchFamily="34" charset="0"/>
              </a:rPr>
              <a:t>Photolithography technology (quang khắc)</a:t>
            </a:r>
          </a:p>
          <a:p>
            <a:pPr marL="342900" marR="0" lvl="0" indent="-34290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0070C0"/>
                </a:solidFill>
                <a:effectLst/>
                <a:uLnTx/>
                <a:uFillTx/>
                <a:latin typeface="Tahoma" panose="020B0604030504040204" pitchFamily="34" charset="0"/>
                <a:ea typeface="Tahoma" panose="020B0604030504040204" pitchFamily="34" charset="0"/>
                <a:cs typeface="Tahoma" panose="020B0604030504040204" pitchFamily="34" charset="0"/>
              </a:rPr>
              <a:t>Inkjet Printing Technology</a:t>
            </a:r>
          </a:p>
          <a:p>
            <a:pPr marL="342900" marR="0" lvl="0" indent="-34290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0070C0"/>
                </a:solidFill>
                <a:effectLst/>
                <a:uLnTx/>
                <a:uFillTx/>
                <a:latin typeface="Tahoma" panose="020B0604030504040204" pitchFamily="34" charset="0"/>
                <a:ea typeface="Tahoma" panose="020B0604030504040204" pitchFamily="34" charset="0"/>
                <a:cs typeface="Tahoma" panose="020B0604030504040204" pitchFamily="34" charset="0"/>
              </a:rPr>
              <a:t>BeadArray technology</a:t>
            </a:r>
          </a:p>
        </p:txBody>
      </p:sp>
      <p:pic>
        <p:nvPicPr>
          <p:cNvPr id="8" name="Picture 7">
            <a:extLst>
              <a:ext uri="{FF2B5EF4-FFF2-40B4-BE49-F238E27FC236}">
                <a16:creationId xmlns:a16="http://schemas.microsoft.com/office/drawing/2014/main" id="{47C1A48D-DD9E-67F6-4829-144231AFEC64}"/>
              </a:ext>
            </a:extLst>
          </p:cNvPr>
          <p:cNvPicPr>
            <a:picLocks noChangeAspect="1"/>
          </p:cNvPicPr>
          <p:nvPr/>
        </p:nvPicPr>
        <p:blipFill rotWithShape="1">
          <a:blip r:embed="rId2"/>
          <a:srcRect t="1448" r="1547"/>
          <a:stretch/>
        </p:blipFill>
        <p:spPr>
          <a:xfrm>
            <a:off x="6612295" y="0"/>
            <a:ext cx="5579706" cy="1999452"/>
          </a:xfrm>
          <a:prstGeom prst="rect">
            <a:avLst/>
          </a:prstGeom>
        </p:spPr>
      </p:pic>
      <p:pic>
        <p:nvPicPr>
          <p:cNvPr id="9" name="Picture 8">
            <a:extLst>
              <a:ext uri="{FF2B5EF4-FFF2-40B4-BE49-F238E27FC236}">
                <a16:creationId xmlns:a16="http://schemas.microsoft.com/office/drawing/2014/main" id="{15360922-3C95-6BEA-64A3-BF8DC53EBBF2}"/>
              </a:ext>
            </a:extLst>
          </p:cNvPr>
          <p:cNvPicPr>
            <a:picLocks noChangeAspect="1"/>
          </p:cNvPicPr>
          <p:nvPr/>
        </p:nvPicPr>
        <p:blipFill>
          <a:blip r:embed="rId3"/>
          <a:stretch>
            <a:fillRect/>
          </a:stretch>
        </p:blipFill>
        <p:spPr>
          <a:xfrm>
            <a:off x="7855596" y="3518377"/>
            <a:ext cx="4068148" cy="2288333"/>
          </a:xfrm>
          <a:prstGeom prst="rect">
            <a:avLst/>
          </a:prstGeom>
        </p:spPr>
      </p:pic>
      <p:pic>
        <p:nvPicPr>
          <p:cNvPr id="10" name="Picture 2" descr="Illumina Microarray Technology">
            <a:extLst>
              <a:ext uri="{FF2B5EF4-FFF2-40B4-BE49-F238E27FC236}">
                <a16:creationId xmlns:a16="http://schemas.microsoft.com/office/drawing/2014/main" id="{9E58868A-CB6E-940C-65A6-FA1B9E9D577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60661" y="3984166"/>
            <a:ext cx="3768486" cy="24321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78630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59A237B8-503D-5468-C995-758E32B5CCB9}"/>
              </a:ext>
            </a:extLst>
          </p:cNvPr>
          <p:cNvSpPr>
            <a:spLocks noGrp="1"/>
          </p:cNvSpPr>
          <p:nvPr>
            <p:ph type="title"/>
          </p:nvPr>
        </p:nvSpPr>
        <p:spPr>
          <a:xfrm>
            <a:off x="276809" y="99526"/>
            <a:ext cx="9753600" cy="381001"/>
          </a:xfrm>
        </p:spPr>
        <p:txBody>
          <a:bodyPr/>
          <a:lstStyle/>
          <a:p>
            <a:r>
              <a:rPr lang="en-US" sz="2400" b="1">
                <a:solidFill>
                  <a:srgbClr val="FF0000"/>
                </a:solidFill>
              </a:rPr>
              <a:t>Photolithography technology microarray</a:t>
            </a:r>
          </a:p>
        </p:txBody>
      </p:sp>
      <p:pic>
        <p:nvPicPr>
          <p:cNvPr id="1026" name="Picture 2" descr="Affymetrix GeneChip oligonucleotide microarray. (Top) Photolithography....  | Download Scientific Diagram">
            <a:extLst>
              <a:ext uri="{FF2B5EF4-FFF2-40B4-BE49-F238E27FC236}">
                <a16:creationId xmlns:a16="http://schemas.microsoft.com/office/drawing/2014/main" id="{CD2843B0-488F-495C-F588-44CDB464F8F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83676" y="793337"/>
            <a:ext cx="6904340" cy="588786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86404991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96D4106-3F45-D34A-4110-D1EC1B9648CD}"/>
              </a:ext>
            </a:extLst>
          </p:cNvPr>
          <p:cNvPicPr>
            <a:picLocks noChangeAspect="1"/>
          </p:cNvPicPr>
          <p:nvPr/>
        </p:nvPicPr>
        <p:blipFill rotWithShape="1">
          <a:blip r:embed="rId2"/>
          <a:srcRect b="9142"/>
          <a:stretch/>
        </p:blipFill>
        <p:spPr>
          <a:xfrm>
            <a:off x="0" y="606490"/>
            <a:ext cx="11995968" cy="6130796"/>
          </a:xfrm>
          <a:prstGeom prst="rect">
            <a:avLst/>
          </a:prstGeom>
        </p:spPr>
      </p:pic>
    </p:spTree>
    <p:extLst>
      <p:ext uri="{BB962C8B-B14F-4D97-AF65-F5344CB8AC3E}">
        <p14:creationId xmlns:p14="http://schemas.microsoft.com/office/powerpoint/2010/main" val="33176493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59A237B8-503D-5468-C995-758E32B5CCB9}"/>
              </a:ext>
            </a:extLst>
          </p:cNvPr>
          <p:cNvSpPr>
            <a:spLocks noGrp="1"/>
          </p:cNvSpPr>
          <p:nvPr>
            <p:ph type="title"/>
          </p:nvPr>
        </p:nvSpPr>
        <p:spPr>
          <a:xfrm>
            <a:off x="2453373" y="518160"/>
            <a:ext cx="6893828" cy="667184"/>
          </a:xfrm>
        </p:spPr>
        <p:txBody>
          <a:bodyPr/>
          <a:lstStyle/>
          <a:p>
            <a:pPr algn="l"/>
            <a:r>
              <a:rPr lang="en-US" b="1" i="0">
                <a:solidFill>
                  <a:srgbClr val="0F0F0F"/>
                </a:solidFill>
                <a:effectLst/>
                <a:latin typeface="YouTube Sans"/>
              </a:rPr>
              <a:t>Inkjet Printing Technology</a:t>
            </a:r>
          </a:p>
        </p:txBody>
      </p:sp>
      <p:pic>
        <p:nvPicPr>
          <p:cNvPr id="5" name="Picture 4">
            <a:extLst>
              <a:ext uri="{FF2B5EF4-FFF2-40B4-BE49-F238E27FC236}">
                <a16:creationId xmlns:a16="http://schemas.microsoft.com/office/drawing/2014/main" id="{3FC395E0-FC9F-36AB-A659-1B30C68A698C}"/>
              </a:ext>
            </a:extLst>
          </p:cNvPr>
          <p:cNvPicPr>
            <a:picLocks noChangeAspect="1"/>
          </p:cNvPicPr>
          <p:nvPr/>
        </p:nvPicPr>
        <p:blipFill>
          <a:blip r:embed="rId2"/>
          <a:stretch>
            <a:fillRect/>
          </a:stretch>
        </p:blipFill>
        <p:spPr>
          <a:xfrm>
            <a:off x="161433" y="1884680"/>
            <a:ext cx="5490914" cy="3088639"/>
          </a:xfrm>
          <a:prstGeom prst="rect">
            <a:avLst/>
          </a:prstGeom>
        </p:spPr>
      </p:pic>
      <p:pic>
        <p:nvPicPr>
          <p:cNvPr id="7" name="Picture 6">
            <a:extLst>
              <a:ext uri="{FF2B5EF4-FFF2-40B4-BE49-F238E27FC236}">
                <a16:creationId xmlns:a16="http://schemas.microsoft.com/office/drawing/2014/main" id="{D84040ED-5EE7-F692-54F7-1315B486104A}"/>
              </a:ext>
            </a:extLst>
          </p:cNvPr>
          <p:cNvPicPr>
            <a:picLocks noChangeAspect="1"/>
          </p:cNvPicPr>
          <p:nvPr/>
        </p:nvPicPr>
        <p:blipFill>
          <a:blip r:embed="rId3"/>
          <a:stretch>
            <a:fillRect/>
          </a:stretch>
        </p:blipFill>
        <p:spPr>
          <a:xfrm>
            <a:off x="6539654" y="1964056"/>
            <a:ext cx="5652345" cy="3179444"/>
          </a:xfrm>
          <a:prstGeom prst="rect">
            <a:avLst/>
          </a:prstGeom>
        </p:spPr>
      </p:pic>
    </p:spTree>
    <p:extLst>
      <p:ext uri="{BB962C8B-B14F-4D97-AF65-F5344CB8AC3E}">
        <p14:creationId xmlns:p14="http://schemas.microsoft.com/office/powerpoint/2010/main" val="3570779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S_UNIQUEID" val="6019"/>
</p:tagLst>
</file>

<file path=ppt/tags/tag11.xml><?xml version="1.0" encoding="utf-8"?>
<p:tagLst xmlns:a="http://schemas.openxmlformats.org/drawingml/2006/main" xmlns:r="http://schemas.openxmlformats.org/officeDocument/2006/relationships" xmlns:p="http://schemas.openxmlformats.org/presentationml/2006/main">
  <p:tag name="AS_UNIQUEID" val="4542"/>
</p:tagLst>
</file>

<file path=ppt/tags/tag12.xml><?xml version="1.0" encoding="utf-8"?>
<p:tagLst xmlns:a="http://schemas.openxmlformats.org/drawingml/2006/main" xmlns:r="http://schemas.openxmlformats.org/officeDocument/2006/relationships" xmlns:p="http://schemas.openxmlformats.org/presentationml/2006/main">
  <p:tag name="AS_UNIQUEID" val="4518"/>
</p:tagLst>
</file>

<file path=ppt/tags/tag13.xml><?xml version="1.0" encoding="utf-8"?>
<p:tagLst xmlns:a="http://schemas.openxmlformats.org/drawingml/2006/main" xmlns:r="http://schemas.openxmlformats.org/officeDocument/2006/relationships" xmlns:p="http://schemas.openxmlformats.org/presentationml/2006/main">
  <p:tag name="AS_UNIQUEID" val="451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WEp45g.XR9jimej75NE6dg"/>
</p:tagLst>
</file>

<file path=ppt/tags/tag3.xml><?xml version="1.0" encoding="utf-8"?>
<p:tagLst xmlns:a="http://schemas.openxmlformats.org/drawingml/2006/main" xmlns:r="http://schemas.openxmlformats.org/officeDocument/2006/relationships" xmlns:p="http://schemas.openxmlformats.org/presentationml/2006/main">
  <p:tag name="AS_UNIQUEID" val="6018"/>
</p:tagLst>
</file>

<file path=ppt/tags/tag4.xml><?xml version="1.0" encoding="utf-8"?>
<p:tagLst xmlns:a="http://schemas.openxmlformats.org/drawingml/2006/main" xmlns:r="http://schemas.openxmlformats.org/officeDocument/2006/relationships" xmlns:p="http://schemas.openxmlformats.org/presentationml/2006/main">
  <p:tag name="AS_UNIQUEID" val="6019"/>
</p:tagLst>
</file>

<file path=ppt/tags/tag5.xml><?xml version="1.0" encoding="utf-8"?>
<p:tagLst xmlns:a="http://schemas.openxmlformats.org/drawingml/2006/main" xmlns:r="http://schemas.openxmlformats.org/officeDocument/2006/relationships" xmlns:p="http://schemas.openxmlformats.org/presentationml/2006/main">
  <p:tag name="AS_UNIQUEID" val="4518"/>
</p:tagLst>
</file>

<file path=ppt/tags/tag6.xml><?xml version="1.0" encoding="utf-8"?>
<p:tagLst xmlns:a="http://schemas.openxmlformats.org/drawingml/2006/main" xmlns:r="http://schemas.openxmlformats.org/officeDocument/2006/relationships" xmlns:p="http://schemas.openxmlformats.org/presentationml/2006/main">
  <p:tag name="AS_UNIQUEID" val="4519"/>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WEp45g.XR9jimej75NE6dg"/>
</p:tagLst>
</file>

<file path=ppt/tags/tag9.xml><?xml version="1.0" encoding="utf-8"?>
<p:tagLst xmlns:a="http://schemas.openxmlformats.org/drawingml/2006/main" xmlns:r="http://schemas.openxmlformats.org/officeDocument/2006/relationships" xmlns:p="http://schemas.openxmlformats.org/presentationml/2006/main">
  <p:tag name="AS_UNIQUEID" val="6018"/>
</p:tagLst>
</file>

<file path=ppt/theme/_rels/theme2.xml.rels><?xml version="1.0" encoding="UTF-8" standalone="yes"?>
<Relationships xmlns="http://schemas.openxmlformats.org/package/2006/relationships"><Relationship Id="rId1" Type="http://schemas.openxmlformats.org/officeDocument/2006/relationships/image" Target="../media/image19.jpeg"/></Relationships>
</file>

<file path=ppt/theme/_rels/theme5.xml.rels><?xml version="1.0" encoding="UTF-8" standalone="yes"?>
<Relationships xmlns="http://schemas.openxmlformats.org/package/2006/relationships"><Relationship Id="rId1" Type="http://schemas.openxmlformats.org/officeDocument/2006/relationships/image" Target="../media/image31.jpeg"/></Relationships>
</file>

<file path=ppt/theme/_rels/theme7.xml.rels><?xml version="1.0" encoding="UTF-8" standalone="yes"?>
<Relationships xmlns="http://schemas.openxmlformats.org/package/2006/relationships"><Relationship Id="rId1" Type="http://schemas.openxmlformats.org/officeDocument/2006/relationships/image" Target="../media/image19.jpeg"/></Relationships>
</file>

<file path=ppt/theme/theme1.xml><?xml version="1.0" encoding="utf-8"?>
<a:theme xmlns:a="http://schemas.openxmlformats.org/drawingml/2006/main" name="Thermo 1">
  <a:themeElements>
    <a:clrScheme name="TFS 2020">
      <a:dk1>
        <a:srgbClr val="222222"/>
      </a:dk1>
      <a:lt1>
        <a:srgbClr val="FFFFFF"/>
      </a:lt1>
      <a:dk2>
        <a:srgbClr val="E61316"/>
      </a:dk2>
      <a:lt2>
        <a:srgbClr val="E2E3E3"/>
      </a:lt2>
      <a:accent1>
        <a:srgbClr val="262160"/>
      </a:accent1>
      <a:accent2>
        <a:srgbClr val="9AD3DC"/>
      </a:accent2>
      <a:accent3>
        <a:srgbClr val="F0B234"/>
      </a:accent3>
      <a:accent4>
        <a:srgbClr val="EA7600"/>
      </a:accent4>
      <a:accent5>
        <a:srgbClr val="545859"/>
      </a:accent5>
      <a:accent6>
        <a:srgbClr val="B4BD01"/>
      </a:accent6>
      <a:hlink>
        <a:srgbClr val="00677F"/>
      </a:hlink>
      <a:folHlink>
        <a:srgbClr val="512C6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tx2"/>
        </a:solidFill>
        <a:ln w="31750"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algn="ctr" defTabSz="914400" eaLnBrk="0" fontAlgn="base" hangingPunct="0">
          <a:spcBef>
            <a:spcPct val="0"/>
          </a:spcBef>
          <a:spcAft>
            <a:spcPct val="0"/>
          </a:spcAft>
          <a:defRPr sz="1800" dirty="0">
            <a:latin typeface="Arial" pitchFamily="124" charset="0"/>
          </a:defRPr>
        </a:defPPr>
      </a:lstStyle>
    </a:spDef>
    <a:txDef>
      <a:spPr>
        <a:noFill/>
      </a:spPr>
      <a:bodyPr wrap="square" lIns="0" tIns="0" rIns="0" bIns="0" rtlCol="0">
        <a:normAutofit/>
      </a:bodyPr>
      <a:lstStyle>
        <a:defPPr marL="287338" indent="-287338" algn="l" defTabSz="914400">
          <a:lnSpc>
            <a:spcPct val="120000"/>
          </a:lnSpc>
          <a:spcBef>
            <a:spcPts val="200"/>
          </a:spcBef>
          <a:buClr>
            <a:schemeClr val="tx2"/>
          </a:buClr>
          <a:buSzPct val="100000"/>
          <a:buFont typeface="Arial" panose="020B0604020202020204" pitchFamily="34" charset="0"/>
          <a:buChar char="•"/>
          <a:defRPr sz="2000" dirty="0" smtClean="0"/>
        </a:defPPr>
      </a:lstStyle>
    </a:txDef>
  </a:objectDefaults>
  <a:extraClrSchemeLst/>
  <a:extLst>
    <a:ext uri="{05A4C25C-085E-4340-85A3-A5531E510DB2}">
      <thm15:themeFamily xmlns:thm15="http://schemas.microsoft.com/office/thememl/2012/main" name="Presentation2" id="{0A3AF59E-B783-4B37-B4CA-8AF5E342F910}" vid="{409D2D3A-C389-43EB-946B-D7A0DE524F97}"/>
    </a:ext>
  </a:extLst>
</a:theme>
</file>

<file path=ppt/theme/theme2.xml><?xml version="1.0" encoding="utf-8"?>
<a:theme xmlns:a="http://schemas.openxmlformats.org/drawingml/2006/main" name="PerkinElmer Distributor 2016">
  <a:themeElements>
    <a:clrScheme name="Austin">
      <a:dk1>
        <a:sysClr val="windowText" lastClr="000000"/>
      </a:dk1>
      <a:lt1>
        <a:sysClr val="window" lastClr="FFFFFF"/>
      </a:lt1>
      <a:dk2>
        <a:srgbClr val="3E3D2D"/>
      </a:dk2>
      <a:lt2>
        <a:srgbClr val="CAF278"/>
      </a:lt2>
      <a:accent1>
        <a:srgbClr val="94C600"/>
      </a:accent1>
      <a:accent2>
        <a:srgbClr val="71685A"/>
      </a:accent2>
      <a:accent3>
        <a:srgbClr val="FF6700"/>
      </a:accent3>
      <a:accent4>
        <a:srgbClr val="909465"/>
      </a:accent4>
      <a:accent5>
        <a:srgbClr val="956B43"/>
      </a:accent5>
      <a:accent6>
        <a:srgbClr val="FEA022"/>
      </a:accent6>
      <a:hlink>
        <a:srgbClr val="E68200"/>
      </a:hlink>
      <a:folHlink>
        <a:srgbClr val="FFA94A"/>
      </a:folHlink>
    </a:clrScheme>
    <a:fontScheme name="Austin">
      <a:maj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Austin">
      <a:fillStyleLst>
        <a:solidFill>
          <a:schemeClr val="phClr"/>
        </a:solidFill>
        <a:gradFill rotWithShape="1">
          <a:gsLst>
            <a:gs pos="0">
              <a:schemeClr val="phClr">
                <a:tint val="20000"/>
                <a:satMod val="180000"/>
                <a:lumMod val="98000"/>
              </a:schemeClr>
            </a:gs>
            <a:gs pos="40000">
              <a:schemeClr val="phClr">
                <a:tint val="30000"/>
                <a:satMod val="260000"/>
                <a:lumMod val="84000"/>
              </a:schemeClr>
            </a:gs>
            <a:gs pos="100000">
              <a:schemeClr val="phClr">
                <a:tint val="100000"/>
                <a:satMod val="110000"/>
                <a:lumMod val="100000"/>
              </a:schemeClr>
            </a:gs>
          </a:gsLst>
          <a:lin ang="5040000" scaled="1"/>
        </a:gradFill>
        <a:gradFill rotWithShape="1">
          <a:gsLst>
            <a:gs pos="0">
              <a:schemeClr val="phClr"/>
            </a:gs>
            <a:gs pos="100000">
              <a:schemeClr val="phClr">
                <a:shade val="75000"/>
                <a:satMod val="120000"/>
                <a:lumMod val="90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outerShdw blurRad="50800" dist="25400" dir="5400000" rotWithShape="0">
              <a:srgbClr val="000000">
                <a:alpha val="28000"/>
              </a:srgbClr>
            </a:outerShdw>
          </a:effectLst>
          <a:scene3d>
            <a:camera prst="orthographicFront">
              <a:rot lat="0" lon="0" rev="0"/>
            </a:camera>
            <a:lightRig rig="threePt" dir="tl">
              <a:rot lat="0" lon="0" rev="20400000"/>
            </a:lightRig>
          </a:scene3d>
          <a:sp3d>
            <a:bevelT w="50800" h="12700" prst="softRound"/>
          </a:sp3d>
        </a:effectStyle>
        <a:effectStyle>
          <a:effectLst>
            <a:outerShdw blurRad="44450" dist="50800" dir="5400000" sx="96000" rotWithShape="0">
              <a:srgbClr val="000000">
                <a:alpha val="34000"/>
              </a:srgbClr>
            </a:outerShdw>
          </a:effectLst>
          <a:scene3d>
            <a:camera prst="orthographicFront">
              <a:rot lat="0" lon="0" rev="0"/>
            </a:camera>
            <a:lightRig rig="threePt" dir="tl">
              <a:rot lat="0" lon="0" rev="20400000"/>
            </a:lightRig>
          </a:scene3d>
          <a:sp3d contourW="15875" prstMaterial="metal">
            <a:bevelT w="101600" h="25400" prst="softRound"/>
            <a:contourClr>
              <a:schemeClr val="phClr">
                <a:shade val="30000"/>
              </a:schemeClr>
            </a:contourClr>
          </a:sp3d>
        </a:effectStyle>
      </a:effectStyleLst>
      <a:bgFillStyleLst>
        <a:solidFill>
          <a:schemeClr val="phClr"/>
        </a:solidFill>
        <a:gradFill rotWithShape="1">
          <a:gsLst>
            <a:gs pos="0">
              <a:schemeClr val="phClr">
                <a:shade val="94000"/>
                <a:satMod val="114000"/>
                <a:lumMod val="96000"/>
              </a:schemeClr>
            </a:gs>
            <a:gs pos="62000">
              <a:schemeClr val="phClr">
                <a:tint val="92000"/>
                <a:shade val="66000"/>
                <a:satMod val="110000"/>
                <a:lumMod val="80000"/>
              </a:schemeClr>
            </a:gs>
            <a:gs pos="100000">
              <a:schemeClr val="phClr">
                <a:tint val="89000"/>
                <a:shade val="62000"/>
                <a:satMod val="110000"/>
                <a:lumMod val="72000"/>
              </a:schemeClr>
            </a:gs>
          </a:gsLst>
          <a:lin ang="5400000" scaled="0"/>
        </a:gradFill>
        <a:blipFill rotWithShape="1">
          <a:blip xmlns:r="http://schemas.openxmlformats.org/officeDocument/2006/relationships" r:embed="rId1">
            <a:duotone>
              <a:schemeClr val="phClr">
                <a:tint val="80000"/>
                <a:shade val="58000"/>
              </a:schemeClr>
              <a:schemeClr val="phClr">
                <a:tint val="73000"/>
                <a:shade val="68000"/>
                <a:satMod val="150000"/>
              </a:schemeClr>
            </a:duotone>
          </a:blip>
          <a:tile tx="0" ty="0" sx="100000" sy="100000" flip="none" algn="tl"/>
        </a:blipFill>
      </a:bgFillStyleLst>
    </a:fmtScheme>
  </a:themeElements>
  <a:objectDefaults/>
  <a:extraClrSchemeLst/>
</a:theme>
</file>

<file path=ppt/theme/theme3.xml><?xml version="1.0" encoding="utf-8"?>
<a:theme xmlns:a="http://schemas.openxmlformats.org/drawingml/2006/main" name="1_Thermo 1">
  <a:themeElements>
    <a:clrScheme name="Thermo Fisher 2020">
      <a:dk1>
        <a:srgbClr val="222222"/>
      </a:dk1>
      <a:lt1>
        <a:srgbClr val="FFFFFF"/>
      </a:lt1>
      <a:dk2>
        <a:srgbClr val="E71315"/>
      </a:dk2>
      <a:lt2>
        <a:srgbClr val="E2E3E3"/>
      </a:lt2>
      <a:accent1>
        <a:srgbClr val="262160"/>
      </a:accent1>
      <a:accent2>
        <a:srgbClr val="9AD3DC"/>
      </a:accent2>
      <a:accent3>
        <a:srgbClr val="F0B234"/>
      </a:accent3>
      <a:accent4>
        <a:srgbClr val="EA7600"/>
      </a:accent4>
      <a:accent5>
        <a:srgbClr val="545859"/>
      </a:accent5>
      <a:accent6>
        <a:srgbClr val="B4BD01"/>
      </a:accent6>
      <a:hlink>
        <a:srgbClr val="00677F"/>
      </a:hlink>
      <a:folHlink>
        <a:srgbClr val="512C6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tx2"/>
        </a:solidFill>
        <a:ln w="31750"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algn="ctr" defTabSz="914400" eaLnBrk="0" fontAlgn="base" hangingPunct="0">
          <a:spcBef>
            <a:spcPct val="0"/>
          </a:spcBef>
          <a:spcAft>
            <a:spcPct val="0"/>
          </a:spcAft>
          <a:defRPr sz="1800" dirty="0">
            <a:latin typeface="Arial" pitchFamily="124" charset="0"/>
          </a:defRPr>
        </a:defPPr>
      </a:lstStyle>
    </a:spDef>
    <a:txDef>
      <a:spPr>
        <a:noFill/>
      </a:spPr>
      <a:bodyPr wrap="square" lIns="0" tIns="0" rIns="0" bIns="0" rtlCol="0">
        <a:normAutofit/>
      </a:bodyPr>
      <a:lstStyle>
        <a:defPPr marL="287338" indent="-287338" algn="l" defTabSz="914400">
          <a:lnSpc>
            <a:spcPct val="120000"/>
          </a:lnSpc>
          <a:spcBef>
            <a:spcPts val="200"/>
          </a:spcBef>
          <a:buClr>
            <a:schemeClr val="tx2"/>
          </a:buClr>
          <a:buSzPct val="100000"/>
          <a:buFont typeface="Arial" panose="020B0604020202020204" pitchFamily="34" charset="0"/>
          <a:buChar char="•"/>
          <a:defRPr sz="2000" dirty="0" smtClean="0"/>
        </a:defPPr>
      </a:lstStyle>
    </a:txDef>
  </a:objectDefaults>
  <a:extraClrSchemeLst/>
  <a:extLst>
    <a:ext uri="{05A4C25C-085E-4340-85A3-A5531E510DB2}">
      <thm15:themeFamily xmlns:thm15="http://schemas.microsoft.com/office/thememl/2012/main" name="Presentation2" id="{0A3AF59E-B783-4B37-B4CA-8AF5E342F910}" vid="{409D2D3A-C389-43EB-946B-D7A0DE524F97}"/>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Integral">
  <a:themeElements>
    <a:clrScheme name="Integral">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B9F25"/>
      </a:hlink>
      <a:folHlink>
        <a:srgbClr val="B26B02"/>
      </a:folHlink>
    </a:clrScheme>
    <a:fontScheme name="Integral">
      <a:majorFont>
        <a:latin typeface="Tw Cen MT Condensed" panose="020B0606020104020203"/>
        <a:ea typeface=""/>
        <a:cs typeface=""/>
        <a:font script="Grek" typeface="Calibri"/>
        <a:font script="Cyrl" typeface="Calibri"/>
        <a:font script="Jpan" typeface="メイリオ"/>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w Cen MT" panose="020B0602020104020603"/>
        <a:ea typeface=""/>
        <a:cs typeface=""/>
        <a:font script="Grek" typeface="Calibri"/>
        <a:font script="Cyrl" typeface="Calibri"/>
        <a:font script="Jpan" typeface="メイリオ"/>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Integral">
      <a:fillStyleLst>
        <a:solidFill>
          <a:schemeClr val="phClr"/>
        </a:solidFill>
        <a:gradFill rotWithShape="1">
          <a:gsLst>
            <a:gs pos="0">
              <a:schemeClr val="phClr">
                <a:tint val="83000"/>
                <a:satMod val="100000"/>
                <a:lumMod val="100000"/>
              </a:schemeClr>
            </a:gs>
            <a:gs pos="100000">
              <a:schemeClr val="phClr">
                <a:tint val="61000"/>
                <a:satMod val="150000"/>
                <a:lumMod val="100000"/>
              </a:schemeClr>
            </a:gs>
          </a:gsLst>
          <a:path path="circle">
            <a:fillToRect l="100000" t="100000" r="100000" b="100000"/>
          </a:path>
        </a:gradFill>
        <a:gradFill rotWithShape="1">
          <a:gsLst>
            <a:gs pos="0">
              <a:schemeClr val="phClr">
                <a:tint val="100000"/>
                <a:shade val="85000"/>
                <a:satMod val="100000"/>
                <a:lumMod val="100000"/>
              </a:schemeClr>
            </a:gs>
            <a:gs pos="100000">
              <a:schemeClr val="phClr">
                <a:tint val="90000"/>
                <a:shade val="100000"/>
                <a:satMod val="150000"/>
                <a:lumMod val="100000"/>
              </a:schemeClr>
            </a:gs>
          </a:gsLst>
          <a:path path="circle">
            <a:fillToRect l="100000" t="100000" r="100000" b="100000"/>
          </a:path>
        </a:gradFill>
      </a:fillStyleLst>
      <a:lnStyleLst>
        <a:ln w="9525" cap="flat" cmpd="sng" algn="ctr">
          <a:solidFill>
            <a:schemeClr val="phClr"/>
          </a:solidFill>
          <a:prstDash val="solid"/>
        </a:ln>
        <a:ln w="15875"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outerShdw blurRad="50800" dist="12700" dir="5400000" algn="ctr" rotWithShape="0">
              <a:srgbClr val="000000">
                <a:alpha val="50000"/>
              </a:srgbClr>
            </a:outerShdw>
          </a:effectLst>
        </a:effectStyle>
        <a:effectStyle>
          <a:effectLst>
            <a:outerShdw blurRad="76200" dist="25400" dir="5400000" algn="ctr" rotWithShape="0">
              <a:srgbClr val="000000">
                <a:alpha val="60000"/>
              </a:srgbClr>
            </a:outerShdw>
          </a:effectLst>
          <a:scene3d>
            <a:camera prst="orthographicFront">
              <a:rot lat="0" lon="0" rev="0"/>
            </a:camera>
            <a:lightRig rig="flat" dir="t">
              <a:rot lat="0" lon="0" rev="3600000"/>
            </a:lightRig>
          </a:scene3d>
          <a:sp3d contourW="12700" prstMaterial="flat">
            <a:bevelT w="38100" h="44450" prst="angle"/>
            <a:contourClr>
              <a:schemeClr val="phClr">
                <a:shade val="35000"/>
                <a:satMod val="160000"/>
              </a:schemeClr>
            </a:contourClr>
          </a:sp3d>
        </a:effectStyle>
      </a:effectStyleLst>
      <a:bgFillStyleLst>
        <a:solidFill>
          <a:schemeClr val="phClr"/>
        </a:solidFill>
        <a:solidFill>
          <a:schemeClr val="phClr">
            <a:tint val="95000"/>
            <a:shade val="85000"/>
            <a:satMod val="125000"/>
          </a:schemeClr>
        </a:solidFill>
        <a:blipFill rotWithShape="1">
          <a:blip xmlns:r="http://schemas.openxmlformats.org/officeDocument/2006/relationships" r:embed="rId1">
            <a:duotone>
              <a:schemeClr val="phClr">
                <a:tint val="95000"/>
                <a:shade val="74000"/>
                <a:satMod val="230000"/>
              </a:schemeClr>
              <a:schemeClr val="phClr">
                <a:tint val="92000"/>
                <a:shade val="69000"/>
                <a:satMod val="250000"/>
              </a:schemeClr>
            </a:duotone>
          </a:blip>
          <a:tile tx="0" ty="0" sx="40000" sy="40000" flip="none" algn="tl"/>
        </a:blipFill>
      </a:bgFillStyleLst>
    </a:fmtScheme>
  </a:themeElements>
  <a:objectDefaults/>
  <a:extraClrSchemeLst/>
  <a:extLst>
    <a:ext uri="{05A4C25C-085E-4340-85A3-A5531E510DB2}">
      <thm15:themeFamily xmlns:thm15="http://schemas.microsoft.com/office/thememl/2012/main" name="Integral" id="{3577F8C9-A904-41D8-97D2-FD898F53F20E}" vid="{682D6EBE-8D36-4FF2-9DB3-F3D8D7B6715D}"/>
    </a:ext>
  </a:extLst>
</a:theme>
</file>

<file path=ppt/theme/theme6.xml><?xml version="1.0" encoding="utf-8"?>
<a:theme xmlns:a="http://schemas.openxmlformats.org/drawingml/2006/main" name="2_Thermo 1">
  <a:themeElements>
    <a:clrScheme name="TFS 2020">
      <a:dk1>
        <a:srgbClr val="222222"/>
      </a:dk1>
      <a:lt1>
        <a:srgbClr val="FFFFFF"/>
      </a:lt1>
      <a:dk2>
        <a:srgbClr val="E61316"/>
      </a:dk2>
      <a:lt2>
        <a:srgbClr val="E2E3E3"/>
      </a:lt2>
      <a:accent1>
        <a:srgbClr val="262160"/>
      </a:accent1>
      <a:accent2>
        <a:srgbClr val="9AD3DC"/>
      </a:accent2>
      <a:accent3>
        <a:srgbClr val="F0B234"/>
      </a:accent3>
      <a:accent4>
        <a:srgbClr val="EA7600"/>
      </a:accent4>
      <a:accent5>
        <a:srgbClr val="545859"/>
      </a:accent5>
      <a:accent6>
        <a:srgbClr val="B4BD01"/>
      </a:accent6>
      <a:hlink>
        <a:srgbClr val="00677F"/>
      </a:hlink>
      <a:folHlink>
        <a:srgbClr val="512C6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tx2"/>
        </a:solidFill>
        <a:ln w="31750"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algn="ctr" defTabSz="914400" eaLnBrk="0" fontAlgn="base" hangingPunct="0">
          <a:spcBef>
            <a:spcPct val="0"/>
          </a:spcBef>
          <a:spcAft>
            <a:spcPct val="0"/>
          </a:spcAft>
          <a:defRPr sz="1800" dirty="0">
            <a:latin typeface="Arial" pitchFamily="124" charset="0"/>
          </a:defRPr>
        </a:defPPr>
      </a:lstStyle>
    </a:spDef>
    <a:txDef>
      <a:spPr>
        <a:noFill/>
      </a:spPr>
      <a:bodyPr wrap="square" lIns="0" tIns="0" rIns="0" bIns="0" rtlCol="0">
        <a:normAutofit/>
      </a:bodyPr>
      <a:lstStyle>
        <a:defPPr marL="287338" indent="-287338" algn="l" defTabSz="914400">
          <a:lnSpc>
            <a:spcPct val="120000"/>
          </a:lnSpc>
          <a:spcBef>
            <a:spcPts val="200"/>
          </a:spcBef>
          <a:buClr>
            <a:schemeClr val="tx2"/>
          </a:buClr>
          <a:buSzPct val="100000"/>
          <a:buFont typeface="Arial" panose="020B0604020202020204" pitchFamily="34" charset="0"/>
          <a:buChar char="•"/>
          <a:defRPr sz="2000" dirty="0" smtClean="0"/>
        </a:defPPr>
      </a:lstStyle>
    </a:txDef>
  </a:objectDefaults>
  <a:extraClrSchemeLst/>
  <a:extLst>
    <a:ext uri="{05A4C25C-085E-4340-85A3-A5531E510DB2}">
      <thm15:themeFamily xmlns:thm15="http://schemas.microsoft.com/office/thememl/2012/main" name="Presentation2" id="{0A3AF59E-B783-4B37-B4CA-8AF5E342F910}" vid="{409D2D3A-C389-43EB-946B-D7A0DE524F97}"/>
    </a:ext>
  </a:extLst>
</a:theme>
</file>

<file path=ppt/theme/theme7.xml><?xml version="1.0" encoding="utf-8"?>
<a:theme xmlns:a="http://schemas.openxmlformats.org/drawingml/2006/main" name="1_PerkinElmer Distributor 2016">
  <a:themeElements>
    <a:clrScheme name="Austin">
      <a:dk1>
        <a:sysClr val="windowText" lastClr="000000"/>
      </a:dk1>
      <a:lt1>
        <a:sysClr val="window" lastClr="FFFFFF"/>
      </a:lt1>
      <a:dk2>
        <a:srgbClr val="3E3D2D"/>
      </a:dk2>
      <a:lt2>
        <a:srgbClr val="CAF278"/>
      </a:lt2>
      <a:accent1>
        <a:srgbClr val="94C600"/>
      </a:accent1>
      <a:accent2>
        <a:srgbClr val="71685A"/>
      </a:accent2>
      <a:accent3>
        <a:srgbClr val="FF6700"/>
      </a:accent3>
      <a:accent4>
        <a:srgbClr val="909465"/>
      </a:accent4>
      <a:accent5>
        <a:srgbClr val="956B43"/>
      </a:accent5>
      <a:accent6>
        <a:srgbClr val="FEA022"/>
      </a:accent6>
      <a:hlink>
        <a:srgbClr val="E68200"/>
      </a:hlink>
      <a:folHlink>
        <a:srgbClr val="FFA94A"/>
      </a:folHlink>
    </a:clrScheme>
    <a:fontScheme name="Austin">
      <a:maj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Austin">
      <a:fillStyleLst>
        <a:solidFill>
          <a:schemeClr val="phClr"/>
        </a:solidFill>
        <a:gradFill rotWithShape="1">
          <a:gsLst>
            <a:gs pos="0">
              <a:schemeClr val="phClr">
                <a:tint val="20000"/>
                <a:satMod val="180000"/>
                <a:lumMod val="98000"/>
              </a:schemeClr>
            </a:gs>
            <a:gs pos="40000">
              <a:schemeClr val="phClr">
                <a:tint val="30000"/>
                <a:satMod val="260000"/>
                <a:lumMod val="84000"/>
              </a:schemeClr>
            </a:gs>
            <a:gs pos="100000">
              <a:schemeClr val="phClr">
                <a:tint val="100000"/>
                <a:satMod val="110000"/>
                <a:lumMod val="100000"/>
              </a:schemeClr>
            </a:gs>
          </a:gsLst>
          <a:lin ang="5040000" scaled="1"/>
        </a:gradFill>
        <a:gradFill rotWithShape="1">
          <a:gsLst>
            <a:gs pos="0">
              <a:schemeClr val="phClr"/>
            </a:gs>
            <a:gs pos="100000">
              <a:schemeClr val="phClr">
                <a:shade val="75000"/>
                <a:satMod val="120000"/>
                <a:lumMod val="90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outerShdw blurRad="50800" dist="25400" dir="5400000" rotWithShape="0">
              <a:srgbClr val="000000">
                <a:alpha val="28000"/>
              </a:srgbClr>
            </a:outerShdw>
          </a:effectLst>
          <a:scene3d>
            <a:camera prst="orthographicFront">
              <a:rot lat="0" lon="0" rev="0"/>
            </a:camera>
            <a:lightRig rig="threePt" dir="tl">
              <a:rot lat="0" lon="0" rev="20400000"/>
            </a:lightRig>
          </a:scene3d>
          <a:sp3d>
            <a:bevelT w="50800" h="12700" prst="softRound"/>
          </a:sp3d>
        </a:effectStyle>
        <a:effectStyle>
          <a:effectLst>
            <a:outerShdw blurRad="44450" dist="50800" dir="5400000" sx="96000" rotWithShape="0">
              <a:srgbClr val="000000">
                <a:alpha val="34000"/>
              </a:srgbClr>
            </a:outerShdw>
          </a:effectLst>
          <a:scene3d>
            <a:camera prst="orthographicFront">
              <a:rot lat="0" lon="0" rev="0"/>
            </a:camera>
            <a:lightRig rig="threePt" dir="tl">
              <a:rot lat="0" lon="0" rev="20400000"/>
            </a:lightRig>
          </a:scene3d>
          <a:sp3d contourW="15875" prstMaterial="metal">
            <a:bevelT w="101600" h="25400" prst="softRound"/>
            <a:contourClr>
              <a:schemeClr val="phClr">
                <a:shade val="30000"/>
              </a:schemeClr>
            </a:contourClr>
          </a:sp3d>
        </a:effectStyle>
      </a:effectStyleLst>
      <a:bgFillStyleLst>
        <a:solidFill>
          <a:schemeClr val="phClr"/>
        </a:solidFill>
        <a:gradFill rotWithShape="1">
          <a:gsLst>
            <a:gs pos="0">
              <a:schemeClr val="phClr">
                <a:shade val="94000"/>
                <a:satMod val="114000"/>
                <a:lumMod val="96000"/>
              </a:schemeClr>
            </a:gs>
            <a:gs pos="62000">
              <a:schemeClr val="phClr">
                <a:tint val="92000"/>
                <a:shade val="66000"/>
                <a:satMod val="110000"/>
                <a:lumMod val="80000"/>
              </a:schemeClr>
            </a:gs>
            <a:gs pos="100000">
              <a:schemeClr val="phClr">
                <a:tint val="89000"/>
                <a:shade val="62000"/>
                <a:satMod val="110000"/>
                <a:lumMod val="72000"/>
              </a:schemeClr>
            </a:gs>
          </a:gsLst>
          <a:lin ang="5400000" scaled="0"/>
        </a:gradFill>
        <a:blipFill rotWithShape="1">
          <a:blip xmlns:r="http://schemas.openxmlformats.org/officeDocument/2006/relationships" r:embed="rId1">
            <a:duotone>
              <a:schemeClr val="phClr">
                <a:tint val="80000"/>
                <a:shade val="58000"/>
              </a:schemeClr>
              <a:schemeClr val="phClr">
                <a:tint val="73000"/>
                <a:shade val="68000"/>
                <a:satMod val="150000"/>
              </a:schemeClr>
            </a:duotone>
          </a:blip>
          <a:tile tx="0" ty="0" sx="100000" sy="100000" flip="none" algn="tl"/>
        </a:blipFill>
      </a:bgFillStyleLst>
    </a:fmtScheme>
  </a:themeElements>
  <a:objectDefaults/>
  <a:extraClrSchemeLst/>
</a:theme>
</file>

<file path=ppt/theme/theme8.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9985</TotalTime>
  <Words>1466</Words>
  <Application>Microsoft Office PowerPoint</Application>
  <PresentationFormat>Widescreen</PresentationFormat>
  <Paragraphs>403</Paragraphs>
  <Slides>45</Slides>
  <Notes>0</Notes>
  <HiddenSlides>0</HiddenSlides>
  <MMClips>0</MMClips>
  <ScaleCrop>false</ScaleCrop>
  <HeadingPairs>
    <vt:vector size="8" baseType="variant">
      <vt:variant>
        <vt:lpstr>Fonts Used</vt:lpstr>
      </vt:variant>
      <vt:variant>
        <vt:i4>12</vt:i4>
      </vt:variant>
      <vt:variant>
        <vt:lpstr>Theme</vt:lpstr>
      </vt:variant>
      <vt:variant>
        <vt:i4>8</vt:i4>
      </vt:variant>
      <vt:variant>
        <vt:lpstr>Embedded OLE Servers</vt:lpstr>
      </vt:variant>
      <vt:variant>
        <vt:i4>1</vt:i4>
      </vt:variant>
      <vt:variant>
        <vt:lpstr>Slide Titles</vt:lpstr>
      </vt:variant>
      <vt:variant>
        <vt:i4>45</vt:i4>
      </vt:variant>
    </vt:vector>
  </HeadingPairs>
  <TitlesOfParts>
    <vt:vector size="66" baseType="lpstr">
      <vt:lpstr>Arial</vt:lpstr>
      <vt:lpstr>Calibri</vt:lpstr>
      <vt:lpstr>Century Gothic</vt:lpstr>
      <vt:lpstr>Tahoma</vt:lpstr>
      <vt:lpstr>Times New Roman</vt:lpstr>
      <vt:lpstr>Tw Cen MT</vt:lpstr>
      <vt:lpstr>Tw Cen MT Condensed</vt:lpstr>
      <vt:lpstr>Verdana</vt:lpstr>
      <vt:lpstr>Wingdings</vt:lpstr>
      <vt:lpstr>Wingdings 2</vt:lpstr>
      <vt:lpstr>Wingdings 3</vt:lpstr>
      <vt:lpstr>YouTube Sans</vt:lpstr>
      <vt:lpstr>Thermo 1</vt:lpstr>
      <vt:lpstr>PerkinElmer Distributor 2016</vt:lpstr>
      <vt:lpstr>1_Thermo 1</vt:lpstr>
      <vt:lpstr>1_Office Theme</vt:lpstr>
      <vt:lpstr>Integral</vt:lpstr>
      <vt:lpstr>2_Thermo 1</vt:lpstr>
      <vt:lpstr>1_PerkinElmer Distributor 2016</vt:lpstr>
      <vt:lpstr>2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hotolithography technology microarray</vt:lpstr>
      <vt:lpstr>PowerPoint Presentation</vt:lpstr>
      <vt:lpstr>Inkjet Printing Technology</vt:lpstr>
      <vt:lpstr>BeadArray technology</vt:lpstr>
      <vt:lpstr>PowerPoint Presentation</vt:lpstr>
      <vt:lpstr>PowerPoint Presentation</vt:lpstr>
      <vt:lpstr> </vt:lpstr>
      <vt:lpstr> </vt:lpstr>
      <vt:lpstr> </vt:lpstr>
      <vt:lpstr>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hân tích trên toàn genome</vt:lpstr>
      <vt:lpstr>Whole Genome View (WGV)</vt:lpstr>
      <vt:lpstr>Copy number variant</vt:lpstr>
      <vt:lpstr>CN and SNP track patterns…</vt:lpstr>
      <vt:lpstr>CN and SNP track patterns…</vt:lpstr>
      <vt:lpstr>Example of a Gain</vt:lpstr>
      <vt:lpstr>Example of a Loss</vt:lpstr>
      <vt:lpstr>Example of cnLOH / AOH / ROH (e.g., consanguinity)</vt:lpstr>
      <vt:lpstr>Example of cnLOH / AOH / ROH (e.g., isoUPD)</vt:lpstr>
      <vt:lpstr>Example of Mosaicism</vt:lpstr>
      <vt:lpstr>Chromosome Analysis Suit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altime PCR</dc:title>
  <dc:creator>Dinh Thanh Phuoc</dc:creator>
  <cp:lastModifiedBy>Dinh Thanh Phuoc</cp:lastModifiedBy>
  <cp:revision>345</cp:revision>
  <dcterms:created xsi:type="dcterms:W3CDTF">2022-07-06T10:23:32Z</dcterms:created>
  <dcterms:modified xsi:type="dcterms:W3CDTF">2023-08-17T14:17:04Z</dcterms:modified>
</cp:coreProperties>
</file>